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54" r:id="rId6"/>
    <p:sldMasterId id="2147484663" r:id="rId7"/>
    <p:sldMasterId id="2147484674" r:id="rId8"/>
    <p:sldMasterId id="2147484684" r:id="rId9"/>
  </p:sldMasterIdLst>
  <p:notesMasterIdLst>
    <p:notesMasterId r:id="rId55"/>
  </p:notesMasterIdLst>
  <p:handoutMasterIdLst>
    <p:handoutMasterId r:id="rId56"/>
  </p:handoutMasterIdLst>
  <p:sldIdLst>
    <p:sldId id="620" r:id="rId10"/>
    <p:sldId id="2141411267" r:id="rId11"/>
    <p:sldId id="2141411262" r:id="rId12"/>
    <p:sldId id="2141411263" r:id="rId13"/>
    <p:sldId id="642" r:id="rId14"/>
    <p:sldId id="341" r:id="rId15"/>
    <p:sldId id="654" r:id="rId16"/>
    <p:sldId id="658" r:id="rId17"/>
    <p:sldId id="675" r:id="rId18"/>
    <p:sldId id="674" r:id="rId19"/>
    <p:sldId id="659" r:id="rId20"/>
    <p:sldId id="647" r:id="rId21"/>
    <p:sldId id="665" r:id="rId22"/>
    <p:sldId id="638" r:id="rId23"/>
    <p:sldId id="667" r:id="rId24"/>
    <p:sldId id="644" r:id="rId25"/>
    <p:sldId id="631" r:id="rId26"/>
    <p:sldId id="660" r:id="rId27"/>
    <p:sldId id="623" r:id="rId28"/>
    <p:sldId id="676" r:id="rId29"/>
    <p:sldId id="668" r:id="rId30"/>
    <p:sldId id="334" r:id="rId31"/>
    <p:sldId id="669" r:id="rId32"/>
    <p:sldId id="645" r:id="rId33"/>
    <p:sldId id="633" r:id="rId34"/>
    <p:sldId id="635" r:id="rId35"/>
    <p:sldId id="448" r:id="rId36"/>
    <p:sldId id="648" r:id="rId37"/>
    <p:sldId id="636" r:id="rId38"/>
    <p:sldId id="646" r:id="rId39"/>
    <p:sldId id="649" r:id="rId40"/>
    <p:sldId id="2141411268" r:id="rId41"/>
    <p:sldId id="1747256656" r:id="rId42"/>
    <p:sldId id="1747256665" r:id="rId43"/>
    <p:sldId id="1747256594" r:id="rId44"/>
    <p:sldId id="2141411269" r:id="rId45"/>
    <p:sldId id="2141411261" r:id="rId46"/>
    <p:sldId id="2571" r:id="rId47"/>
    <p:sldId id="2141411248" r:id="rId48"/>
    <p:sldId id="1747256666" r:id="rId49"/>
    <p:sldId id="2141411266" r:id="rId50"/>
    <p:sldId id="6102" r:id="rId51"/>
    <p:sldId id="1096" r:id="rId52"/>
    <p:sldId id="2141411265" r:id="rId53"/>
    <p:sldId id="2141411264" r:id="rId54"/>
  </p:sldIdLst>
  <p:sldSz cx="12192000" cy="6858000"/>
  <p:notesSz cx="7315200" cy="9601200"/>
  <p:custDataLst>
    <p:tags r:id="rId5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28" userDrawn="1">
          <p15:clr>
            <a:srgbClr val="A4A3A4"/>
          </p15:clr>
        </p15:guide>
        <p15:guide id="2" orient="horz" pos="1008" userDrawn="1">
          <p15:clr>
            <a:srgbClr val="A4A3A4"/>
          </p15:clr>
        </p15:guide>
        <p15:guide id="3" orient="horz" pos="4032" userDrawn="1">
          <p15:clr>
            <a:srgbClr val="A4A3A4"/>
          </p15:clr>
        </p15:guide>
        <p15:guide id="4" orient="horz" pos="151" userDrawn="1">
          <p15:clr>
            <a:srgbClr val="A4A3A4"/>
          </p15:clr>
        </p15:guide>
        <p15:guide id="5" orient="horz" pos="258" userDrawn="1">
          <p15:clr>
            <a:srgbClr val="A4A3A4"/>
          </p15:clr>
        </p15:guide>
        <p15:guide id="6" orient="horz" pos="3894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29" userDrawn="1">
          <p15:clr>
            <a:srgbClr val="A4A3A4"/>
          </p15:clr>
        </p15:guide>
        <p15:guide id="9" pos="7407" userDrawn="1">
          <p15:clr>
            <a:srgbClr val="A4A3A4"/>
          </p15:clr>
        </p15:guide>
        <p15:guide id="10" pos="3843" userDrawn="1">
          <p15:clr>
            <a:srgbClr val="A4A3A4"/>
          </p15:clr>
        </p15:guide>
        <p15:guide id="11" pos="453" userDrawn="1">
          <p15:clr>
            <a:srgbClr val="A4A3A4"/>
          </p15:clr>
        </p15:guide>
        <p15:guide id="12" pos="5112" userDrawn="1">
          <p15:clr>
            <a:srgbClr val="A4A3A4"/>
          </p15:clr>
        </p15:guide>
        <p15:guide id="13" pos="7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ryn Gross" initials="TG" lastIdx="2" clrIdx="6"/>
  <p:cmAuthor id="2" name="Melanie Couton" initials="MAC" lastIdx="4" clrIdx="3"/>
  <p:cmAuthor id="3" name="ralfieri" initials="ra" lastIdx="2" clrIdx="8"/>
  <p:cmAuthor id="4" name="Megan Capel" initials="MC" lastIdx="11" clrIdx="0"/>
  <p:cmAuthor id="5" name="Andrew Bowser" initials="AB" lastIdx="8" clrIdx="2"/>
  <p:cmAuthor id="6" name="mcalloway" initials="mc" lastIdx="1" clrIdx="4"/>
  <p:cmAuthor id="7" name="agoldman" initials="a" lastIdx="4" clrIdx="9"/>
  <p:cmAuthor id="8" name="Devin Overbey" initials="DO" lastIdx="6" clrIdx="7"/>
  <p:cmAuthor id="9" name="Erik Brady" initials="EB" lastIdx="2" clrIdx="5"/>
  <p:cmAuthor id="10" name=" " initials="MAC" lastIdx="21" clrIdx="1"/>
  <p:cmAuthor id="11" name="alison.heintz@gmail.com" initials="a" lastIdx="3" clrIdx="10">
    <p:extLst>
      <p:ext uri="{19B8F6BF-5375-455C-9EA6-DF929625EA0E}">
        <p15:presenceInfo xmlns:p15="http://schemas.microsoft.com/office/powerpoint/2012/main" userId="1e1cc34837a9f52c" providerId="Windows Live"/>
      </p:ext>
    </p:extLst>
  </p:cmAuthor>
  <p:cmAuthor id="12" name="Tara Cunningham" initials="TC" lastIdx="1" clrIdx="11">
    <p:extLst>
      <p:ext uri="{19B8F6BF-5375-455C-9EA6-DF929625EA0E}">
        <p15:presenceInfo xmlns:p15="http://schemas.microsoft.com/office/powerpoint/2012/main" userId="S::tcunningham@clinicaloptions.com::9a6ac462-c5fc-4c6b-a4a7-aa9b486daad0" providerId="AD"/>
      </p:ext>
    </p:extLst>
  </p:cmAuthor>
  <p:cmAuthor id="13" name="Rachael Andrie" initials="RA" lastIdx="773" clrIdx="12">
    <p:extLst>
      <p:ext uri="{19B8F6BF-5375-455C-9EA6-DF929625EA0E}">
        <p15:presenceInfo xmlns:p15="http://schemas.microsoft.com/office/powerpoint/2012/main" userId="S::randrie@clinicaloptions.com::311027c1-cf79-416d-b346-5f38dcd95c11" providerId="AD"/>
      </p:ext>
    </p:extLst>
  </p:cmAuthor>
  <p:cmAuthor id="14" name="Timothy Quill" initials="TQ" lastIdx="15" clrIdx="13">
    <p:extLst>
      <p:ext uri="{19B8F6BF-5375-455C-9EA6-DF929625EA0E}">
        <p15:presenceInfo xmlns:p15="http://schemas.microsoft.com/office/powerpoint/2012/main" userId="S::tquill@clinicaloptions.com::b1dc6efb-2995-45e7-a306-57a2c67aa886" providerId="AD"/>
      </p:ext>
    </p:extLst>
  </p:cmAuthor>
  <p:cmAuthor id="15" name="Krista V. Marcello" initials="KVM" lastIdx="176" clrIdx="14">
    <p:extLst>
      <p:ext uri="{19B8F6BF-5375-455C-9EA6-DF929625EA0E}">
        <p15:presenceInfo xmlns:p15="http://schemas.microsoft.com/office/powerpoint/2012/main" userId="Krista V. Marcello" providerId="None"/>
      </p:ext>
    </p:extLst>
  </p:cmAuthor>
  <p:cmAuthor id="16" name="Andrea Boecler" initials="AB" lastIdx="4" clrIdx="15">
    <p:extLst>
      <p:ext uri="{19B8F6BF-5375-455C-9EA6-DF929625EA0E}">
        <p15:presenceInfo xmlns:p15="http://schemas.microsoft.com/office/powerpoint/2012/main" userId="Andrea Boecler" providerId="None"/>
      </p:ext>
    </p:extLst>
  </p:cmAuthor>
  <p:cmAuthor id="17" name="kobholz@clinicaloptions.com" initials="k" lastIdx="8" clrIdx="16">
    <p:extLst>
      <p:ext uri="{19B8F6BF-5375-455C-9EA6-DF929625EA0E}">
        <p15:presenceInfo xmlns:p15="http://schemas.microsoft.com/office/powerpoint/2012/main" userId="kobholz@clinicaloptions.com" providerId="None"/>
      </p:ext>
    </p:extLst>
  </p:cmAuthor>
  <p:cmAuthor id="18" name="Jennifer Eimers" initials="JE" lastIdx="2" clrIdx="17">
    <p:extLst>
      <p:ext uri="{19B8F6BF-5375-455C-9EA6-DF929625EA0E}">
        <p15:presenceInfo xmlns:p15="http://schemas.microsoft.com/office/powerpoint/2012/main" userId="S::jeimers@clinicaloptions.com::e496f3f7-6a48-4339-9b0c-9f426a43f9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471D"/>
    <a:srgbClr val="015873"/>
    <a:srgbClr val="00823B"/>
    <a:srgbClr val="046376"/>
    <a:srgbClr val="013763"/>
    <a:srgbClr val="033453"/>
    <a:srgbClr val="006264"/>
    <a:srgbClr val="FDB338"/>
    <a:srgbClr val="682E74"/>
    <a:srgbClr val="0527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3296810-A885-4BE3-A3E7-6D5BEEA58F3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12" autoAdjust="0"/>
    <p:restoredTop sz="92369" autoAdjust="0"/>
  </p:normalViewPr>
  <p:slideViewPr>
    <p:cSldViewPr snapToGrid="0" showGuides="1">
      <p:cViewPr varScale="1">
        <p:scale>
          <a:sx n="100" d="100"/>
          <a:sy n="100" d="100"/>
        </p:scale>
        <p:origin x="776" y="160"/>
      </p:cViewPr>
      <p:guideLst>
        <p:guide orient="horz" pos="4128"/>
        <p:guide orient="horz" pos="1008"/>
        <p:guide orient="horz" pos="4032"/>
        <p:guide orient="horz" pos="151"/>
        <p:guide orient="horz" pos="258"/>
        <p:guide orient="horz" pos="3894"/>
        <p:guide orient="horz"/>
        <p:guide pos="329"/>
        <p:guide pos="7407"/>
        <p:guide pos="3843"/>
        <p:guide pos="453"/>
        <p:guide pos="5112"/>
        <p:guide pos="72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750" y="-12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61" Type="http://schemas.openxmlformats.org/officeDocument/2006/relationships/theme" Target="theme/theme1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handoutMaster" Target="handoutMasters/handoutMaster1.xml"/><Relationship Id="rId8" Type="http://schemas.openxmlformats.org/officeDocument/2006/relationships/slideMaster" Target="slideMasters/slideMaster3.xml"/><Relationship Id="rId51" Type="http://schemas.openxmlformats.org/officeDocument/2006/relationships/slide" Target="slides/slide42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presProps" Target="pres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tags" Target="tags/tag1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7" name="Rectangle 5">
            <a:extLst>
              <a:ext uri="{FF2B5EF4-FFF2-40B4-BE49-F238E27FC236}">
                <a16:creationId xmlns:a16="http://schemas.microsoft.com/office/drawing/2014/main" id="{E716B656-43AE-41BF-A9E6-BDC9338EEE72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/>
            </a:lvl1pPr>
          </a:lstStyle>
          <a:p>
            <a:pPr>
              <a:defRPr/>
            </a:pPr>
            <a:fld id="{A101DA4B-1035-4FD7-BAE8-D36163A25DF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>
            <a:extLst>
              <a:ext uri="{FF2B5EF4-FFF2-40B4-BE49-F238E27FC236}">
                <a16:creationId xmlns:a16="http://schemas.microsoft.com/office/drawing/2014/main" id="{FCE45961-8EBC-4ABB-A06F-A2AB0FB7282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69A9B635-F3A6-4A6C-A2A7-3BE84F317E1C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143375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3F91814F-6E8B-4495-875C-BBC65746A25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5" name="Rectangle 5">
            <a:extLst>
              <a:ext uri="{FF2B5EF4-FFF2-40B4-BE49-F238E27FC236}">
                <a16:creationId xmlns:a16="http://schemas.microsoft.com/office/drawing/2014/main" id="{3575FA76-5996-41B2-807C-74C521B1881C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838" y="4560888"/>
            <a:ext cx="5851525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966" name="Rectangle 6">
            <a:extLst>
              <a:ext uri="{FF2B5EF4-FFF2-40B4-BE49-F238E27FC236}">
                <a16:creationId xmlns:a16="http://schemas.microsoft.com/office/drawing/2014/main" id="{EE30801C-5D2D-4989-97AF-1BB6980EDA5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503613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0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©2012 Clinical Care Options, LLC. All rights reserved</a:t>
            </a:r>
          </a:p>
        </p:txBody>
      </p:sp>
      <p:sp>
        <p:nvSpPr>
          <p:cNvPr id="40967" name="Rectangle 7">
            <a:extLst>
              <a:ext uri="{FF2B5EF4-FFF2-40B4-BE49-F238E27FC236}">
                <a16:creationId xmlns:a16="http://schemas.microsoft.com/office/drawing/2014/main" id="{83D8BBC4-4244-4B4D-899A-EE5002DAC7C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6" tIns="48328" rIns="96656" bIns="4832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/>
            </a:lvl1pPr>
          </a:lstStyle>
          <a:p>
            <a:pPr>
              <a:defRPr/>
            </a:pPr>
            <a:fld id="{2FB72F01-6714-4A31-8C22-8E0F1B091B5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6510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i="1" dirty="0"/>
              <a:t>ssDNA, single-stranded DNA.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93035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ssDNA, single-stranded DN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984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HR, homologous recombination; HRR, homologous recombination repair; </a:t>
            </a:r>
            <a:r>
              <a:rPr lang="en-US" i="1" dirty="0" err="1"/>
              <a:t>PARPi</a:t>
            </a:r>
            <a:r>
              <a:rPr lang="en-US" i="1" dirty="0"/>
              <a:t>, PARP inhibition; ssDNA, single-stranded DN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1590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HR, homologous recombination; HRR, homologous recombination repair; NHEJ, nonhomologous end join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8333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HRR, homologous recombination repair; NHEJ, nonhomologous end join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762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HRR, homologous recombination repai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43150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025F57E9-2312-43DC-9134-186D3965C6E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6122CACE-37FB-4AC5-9304-7C3F9F113EC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i="1" dirty="0">
                <a:ea typeface="ヒラギノ角ゴ Pro W3" pitchFamily="-65" charset="-128"/>
              </a:rPr>
              <a:t>HRD, homologous recombination deficient; </a:t>
            </a:r>
            <a:r>
              <a:rPr lang="en-US" altLang="en-US" i="1" dirty="0" err="1">
                <a:ea typeface="ヒラギノ角ゴ Pro W3" pitchFamily="-65" charset="-128"/>
              </a:rPr>
              <a:t>mCRPC</a:t>
            </a:r>
            <a:r>
              <a:rPr lang="en-US" altLang="en-US" i="1" dirty="0">
                <a:ea typeface="ヒラギノ角ゴ Pro W3" pitchFamily="-65" charset="-128"/>
              </a:rPr>
              <a:t>, metastatic castration-resistant prostate cancer.</a:t>
            </a: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1845FE71-EFDE-4E96-B8CD-66FD07897B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ヒラギノ角ゴ Pro W3" pitchFamily="-65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D58E79-3FEE-40F2-A49E-DC7246BF8241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ヒラギノ角ゴ Pro W3" pitchFamily="-65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ヒラギノ角ゴ Pro W3" pitchFamily="-65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0232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DDR, DNA damage repair; HRR, homologous recombination repair; PARPi, PARP inhibi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09733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 err="1"/>
              <a:t>mCRPC</a:t>
            </a:r>
            <a:r>
              <a:rPr lang="en-US" i="1" dirty="0"/>
              <a:t>, metastatic castration-resistant prostate canc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65322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HRR, homologous recombination repair; mCRPC, metastatic castration-resistant prostate canc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1147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21883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i="1" dirty="0"/>
              <a:t>BICR, blinded independent central review; HRR, homologous recombination repair; mCRPC, metastatic castration-resistant prostate cancer; NHA, new hormonal agent; ORR, overall response rate; OS, overall survival; PCWG3, Prostate Cancer Working Group 3; PD, progressive disease; RECIST, Response Evaluation Criteria in Solid Tumors; rPFS, radiographic progression-free surviva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6112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i="1" dirty="0"/>
              <a:t>AR, androgen receptor; BICR, blinded independent central review; PFS, progression-free survival; rPFS, radiographic progression-free survival.</a:t>
            </a:r>
          </a:p>
          <a:p>
            <a:endParaRPr lang="en-US" sz="1200" i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B72F01-6714-4A31-8C22-8E0F1B091B56}" type="slidenum">
              <a:rPr lang="en-US" altLang="en-US" smtClean="0"/>
              <a:pPr>
                <a:defRPr/>
              </a:pPr>
              <a:t>3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29295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24973" y="4334176"/>
            <a:ext cx="4808054" cy="2680252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AR, androgen receptor; OS, overall survival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7970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PSA, prostate-specific antig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B72F01-6714-4A31-8C22-8E0F1B091B56}" type="slidenum">
              <a:rPr lang="en-US" altLang="en-US" smtClean="0"/>
              <a:pPr>
                <a:defRPr/>
              </a:pPr>
              <a:t>3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363814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i="1" dirty="0"/>
              <a:t>ORR, overall response rate; </a:t>
            </a:r>
            <a:r>
              <a:rPr lang="en-US" i="1" dirty="0"/>
              <a:t>RECIST, Response Evaluation Criteria in Solid Tumors.</a:t>
            </a:r>
          </a:p>
          <a:p>
            <a:endParaRPr lang="en-US" i="1" dirty="0"/>
          </a:p>
          <a:p>
            <a:endParaRPr lang="en-US" i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B3444B1-158A-4BF6-99BF-61DE2EB2E352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4125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i="1" dirty="0"/>
              <a:t>AR, androgen receptor; BICR, blinded independent central review; OS, overall survival; PFS, progression-free survival; rPFS, radiographic progression-free survival.</a:t>
            </a:r>
          </a:p>
          <a:p>
            <a:endParaRPr lang="en-US" sz="1200" i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B72F01-6714-4A31-8C22-8E0F1B091B56}" type="slidenum">
              <a:rPr lang="en-US" altLang="en-US" smtClean="0"/>
              <a:pPr>
                <a:defRPr/>
              </a:pPr>
              <a:t>3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585727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B78EA49-FCBA-4D47-A30B-3BBA0BDABDF4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C84A2F-DB0C-8048-9557-44B78563BB32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37CE9449-B2C4-C04A-A063-696592F99997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423863" y="704850"/>
            <a:ext cx="6186487" cy="34813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3F1D84ED-D429-FF49-AA8C-39D05C81D115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03263" y="4410075"/>
            <a:ext cx="5627687" cy="41783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8820" rIns="0" bIns="0"/>
          <a:lstStyle/>
          <a:p>
            <a:pPr eaLnBrk="1">
              <a:lnSpc>
                <a:spcPct val="93000"/>
              </a:lnSpc>
              <a:spcBef>
                <a:spcPct val="0"/>
              </a:spcBef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</a:pPr>
            <a:r>
              <a:rPr lang="en-US" altLang="en-US" sz="1000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COG PS, Eastern Cooperative Oncology Group performance status; </a:t>
            </a:r>
            <a:r>
              <a:rPr lang="en-US" sz="1000" i="1" dirty="0"/>
              <a:t>NR, not reached; </a:t>
            </a:r>
            <a:r>
              <a:rPr lang="en-US" altLang="en-US" sz="1000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FS, progression-free survival; PSA, prostate-specific antigen.</a:t>
            </a:r>
          </a:p>
        </p:txBody>
      </p:sp>
    </p:spTree>
    <p:extLst>
      <p:ext uri="{BB962C8B-B14F-4D97-AF65-F5344CB8AC3E}">
        <p14:creationId xmlns:p14="http://schemas.microsoft.com/office/powerpoint/2010/main" val="37018531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AR, androgen receptor; CT, chemotherapy; DoR, duration of response; ECOG PS, Eastern Cooperative Oncology Group performance status; HRR, homologous recombination repair; IRR, independent radiology review; mCRPC, metastatic castration-resistant prostate cancer; ORR, objective response rate; OS, overall survival; PARPi, PARP inhibitor; PC, prostate cancer; PCCTWG, Prostate Cancer Clinical Trials Working Group; PD, progressive disease; RECIST, Response Evaluation Criteria in Solid Tumors; rPFS, radiographic profession-free survival; tx, treatment.</a:t>
            </a:r>
          </a:p>
          <a:p>
            <a:endParaRPr lang="en-US" i="1" dirty="0"/>
          </a:p>
          <a:p>
            <a:endParaRPr lang="en-US" i="1" dirty="0"/>
          </a:p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8829F-E004-4170-9A68-4A5240B877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96364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PSA, prostate-specific antige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B72F01-6714-4A31-8C22-8E0F1B091B56}" type="slidenum">
              <a:rPr lang="en-US" altLang="en-US" smtClean="0"/>
              <a:pPr>
                <a:defRPr/>
              </a:pPr>
              <a:t>4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217306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AR, androgen receptor; DDR, DNA damage repair; HR, </a:t>
            </a:r>
            <a:r>
              <a:rPr lang="en-US" b="0" i="1" dirty="0">
                <a:solidFill>
                  <a:srgbClr val="373A3C"/>
                </a:solidFill>
                <a:effectLst/>
                <a:latin typeface="Segoe UI" panose="020B0502040204020203" pitchFamily="34" charset="0"/>
              </a:rPr>
              <a:t>homologous recombination; </a:t>
            </a:r>
            <a:r>
              <a:rPr lang="en-US" i="1" dirty="0"/>
              <a:t>HRD, </a:t>
            </a:r>
            <a:r>
              <a:rPr lang="en-US" b="0" i="1" dirty="0">
                <a:solidFill>
                  <a:srgbClr val="373A3C"/>
                </a:solidFill>
                <a:effectLst/>
                <a:latin typeface="Segoe UI" panose="020B0502040204020203" pitchFamily="34" charset="0"/>
              </a:rPr>
              <a:t>homologous recombination deficiency; </a:t>
            </a:r>
            <a:r>
              <a:rPr lang="en-US" i="1" dirty="0"/>
              <a:t>PARPi, PARP inhibito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341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79BB8F-0104-B94D-8011-38F92D1C02D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9174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365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051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5734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473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26F39-71F6-5741-ABC5-C5DF5F8FF1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765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id="{157D37A0-E1A5-409C-9D62-9D7CFBE5330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2B2928-DEC8-4974-B052-9E8419278506}" type="slidenum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435" name="Rectangle 7">
            <a:extLst>
              <a:ext uri="{FF2B5EF4-FFF2-40B4-BE49-F238E27FC236}">
                <a16:creationId xmlns:a16="http://schemas.microsoft.com/office/drawing/2014/main" id="{58A1256F-C6E0-40AF-BAC2-21E348EC034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144964" y="9121777"/>
            <a:ext cx="3170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17" tIns="48709" rIns="97417" bIns="48709" anchor="b"/>
          <a:lstStyle>
            <a:lvl1pPr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715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EC8AD5-9354-42AD-9E3B-BD252FDA9476}" type="slidenum">
              <a:rPr kumimoji="0" lang="en-GB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MS PGothic" panose="020B0600070205080204" pitchFamily="34" charset="-128"/>
                <a:cs typeface="+mn-cs"/>
              </a:rPr>
              <a:pPr marL="0" marR="0" lvl="0" indent="0" algn="r" defTabSz="9715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436" name="Rectangle 7">
            <a:extLst>
              <a:ext uri="{FF2B5EF4-FFF2-40B4-BE49-F238E27FC236}">
                <a16:creationId xmlns:a16="http://schemas.microsoft.com/office/drawing/2014/main" id="{E6AFE837-A2EA-4F39-8508-01661899B2A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144964" y="9121777"/>
            <a:ext cx="3170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17" tIns="48709" rIns="97417" bIns="48709" anchor="b"/>
          <a:lstStyle>
            <a:lvl1pPr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715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715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715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45D526-B968-4946-B97E-0193A4422596}" type="slidenum">
              <a:rPr kumimoji="0" lang="en-GB" alt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MS PGothic" panose="020B0600070205080204" pitchFamily="34" charset="-128"/>
                <a:cs typeface="+mn-cs"/>
              </a:rPr>
              <a:pPr marL="0" marR="0" lvl="0" indent="0" algn="r" defTabSz="9715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437" name="Rectangle 2">
            <a:extLst>
              <a:ext uri="{FF2B5EF4-FFF2-40B4-BE49-F238E27FC236}">
                <a16:creationId xmlns:a16="http://schemas.microsoft.com/office/drawing/2014/main" id="{4CDA1488-B893-4AF5-8F69-DF1C5365B8A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55613" y="717550"/>
            <a:ext cx="6407150" cy="36052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8" name="Rectangle 3">
            <a:extLst>
              <a:ext uri="{FF2B5EF4-FFF2-40B4-BE49-F238E27FC236}">
                <a16:creationId xmlns:a16="http://schemas.microsoft.com/office/drawing/2014/main" id="{C88ADF0B-0B7E-43DC-8A83-C965CB37E0A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74725" y="4560888"/>
            <a:ext cx="5365750" cy="43211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marL="0" indent="0">
              <a:buNone/>
            </a:pPr>
            <a:r>
              <a:rPr lang="en-US" sz="1200" i="1" dirty="0"/>
              <a:t>BER, base excision repair; </a:t>
            </a:r>
            <a:r>
              <a:rPr lang="en-US" altLang="en-US" i="1" dirty="0"/>
              <a:t>ssDNA, single-stranded DNA.</a:t>
            </a:r>
            <a:endParaRPr lang="en-US" altLang="en-US" dirty="0"/>
          </a:p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382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jp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A66A9F5-09EF-41DA-9109-8000D4A9FF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1289" y="328613"/>
            <a:ext cx="1740838" cy="9386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40718DC-6A00-4F6B-978F-89327D008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525" y="3666226"/>
            <a:ext cx="6086475" cy="32004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901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30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8"/>
            <a:ext cx="10877530" cy="4650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9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3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3999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2" y="6590271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2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02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30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1" y="1510730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1"/>
            <a:ext cx="5229571" cy="46794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12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1" cy="4665747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2199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30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1" y="1510730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50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30"/>
            <a:ext cx="1114105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44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521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6"/>
            <a:ext cx="11283951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399" b="1">
                <a:solidFill>
                  <a:srgbClr val="8B3D9A"/>
                </a:solidFill>
              </a:defRPr>
            </a:lvl1pPr>
            <a:lvl2pPr>
              <a:buFontTx/>
              <a:buNone/>
              <a:defRPr sz="2399"/>
            </a:lvl2pPr>
            <a:lvl3pPr>
              <a:buFontTx/>
              <a:buNone/>
              <a:defRPr sz="2399"/>
            </a:lvl3pPr>
            <a:lvl4pPr>
              <a:buFontTx/>
              <a:buNone/>
              <a:defRPr sz="2399"/>
            </a:lvl4pPr>
            <a:lvl5pPr>
              <a:buFontTx/>
              <a:buNone/>
              <a:defRPr sz="2399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7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899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9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DCE80E-A528-4F84-999C-167B7BD877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1406" y="3355526"/>
            <a:ext cx="3827419" cy="124741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0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>
            <a:extLst>
              <a:ext uri="{FF2B5EF4-FFF2-40B4-BE49-F238E27FC236}">
                <a16:creationId xmlns:a16="http://schemas.microsoft.com/office/drawing/2014/main" id="{A8FCC512-B9D6-45E5-83A8-5B1B4BEE14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0225" y="5876927"/>
            <a:ext cx="3673475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1938" y="89097"/>
            <a:ext cx="11394276" cy="685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2018" y="6356352"/>
            <a:ext cx="3860800" cy="366183"/>
          </a:xfrm>
          <a:prstGeom prst="rect">
            <a:avLst/>
          </a:prstGeo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orbel" charset="0"/>
                <a:ea typeface="ＭＳ Ｐゴシック" charset="0"/>
                <a:cs typeface="Corbel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900084" y="6356352"/>
            <a:ext cx="2844800" cy="3661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837A89B-64C8-494D-94D8-51B302132E8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72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8B98D-5B85-48E5-BA53-FE9A7B816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DAF97C-9A74-430F-8FED-10DBF9646E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576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2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999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2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99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0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1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899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2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99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0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A66A9F5-09EF-41DA-9109-8000D4A9FF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1290" y="328615"/>
            <a:ext cx="1740838" cy="9386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2750DE-04BE-435E-9423-51336778F6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071" y="3666146"/>
            <a:ext cx="6086475" cy="32004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42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09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44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3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3999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2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2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71157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9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19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19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45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2199"/>
            </a:lvl3pPr>
            <a:lvl4pPr>
              <a:defRPr sz="19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19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0198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9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1035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3217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6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399" b="1">
                <a:solidFill>
                  <a:srgbClr val="8B3D9A"/>
                </a:solidFill>
              </a:defRPr>
            </a:lvl1pPr>
            <a:lvl2pPr>
              <a:buFontTx/>
              <a:buNone/>
              <a:defRPr sz="2399"/>
            </a:lvl2pPr>
            <a:lvl3pPr>
              <a:buFontTx/>
              <a:buNone/>
              <a:defRPr sz="2399"/>
            </a:lvl3pPr>
            <a:lvl4pPr>
              <a:buFontTx/>
              <a:buNone/>
              <a:defRPr sz="2399"/>
            </a:lvl4pPr>
            <a:lvl5pPr>
              <a:buFontTx/>
              <a:buNone/>
              <a:defRPr sz="2399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7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899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9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999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DCE80E-A528-4F84-999C-167B7BD87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>
            <a:extLst>
              <a:ext uri="{FF2B5EF4-FFF2-40B4-BE49-F238E27FC236}">
                <a16:creationId xmlns:a16="http://schemas.microsoft.com/office/drawing/2014/main" id="{A8FCC512-B9D6-45E5-83A8-5B1B4BEE14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12775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5B679-7194-4714-A5C6-EA83C0E7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80F6E6-29EA-4294-82CF-A061247EB5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551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A66A9F5-09EF-41DA-9109-8000D4A9FF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1289" y="328613"/>
            <a:ext cx="1740838" cy="9386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40718DC-6A00-4F6B-978F-89327D008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525" y="3666226"/>
            <a:ext cx="6086475" cy="32004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49488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896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7007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1919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955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295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429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2968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28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672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54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637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DCE80E-A528-4F84-999C-167B7BD87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>
            <a:extLst>
              <a:ext uri="{FF2B5EF4-FFF2-40B4-BE49-F238E27FC236}">
                <a16:creationId xmlns:a16="http://schemas.microsoft.com/office/drawing/2014/main" id="{A8FCC512-B9D6-45E5-83A8-5B1B4BEE14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0580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3465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2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2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7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0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2" cy="2057400"/>
          </a:xfrm>
          <a:prstGeom prst="rect">
            <a:avLst/>
          </a:prstGeom>
        </p:spPr>
        <p:txBody>
          <a:bodyPr/>
          <a:lstStyle>
            <a:lvl1pPr>
              <a:defRPr sz="3899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2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7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0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C9595C9F-F22D-4BED-A356-5C998A6209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1291" y="328615"/>
            <a:ext cx="1740838" cy="9386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1A22417-B63B-4FC1-A377-20A72FBFA2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525" y="3657600"/>
            <a:ext cx="6086475" cy="32004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870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71233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2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04585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5pPr>
      <a:lvl6pPr marL="457086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6pPr>
      <a:lvl7pPr marL="914171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7pPr>
      <a:lvl8pPr marL="1371257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8pPr>
      <a:lvl9pPr marL="1828343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9pPr>
    </p:titleStyle>
    <p:bodyStyle>
      <a:lvl1pPr marL="342814" indent="-34281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799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765" indent="-285679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599">
          <a:solidFill>
            <a:schemeClr val="bg1"/>
          </a:solidFill>
          <a:latin typeface="Calibri" panose="020F0502020204030204" pitchFamily="34" charset="0"/>
        </a:defRPr>
      </a:lvl2pPr>
      <a:lvl3pPr marL="1142714" indent="-228543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399">
          <a:solidFill>
            <a:schemeClr val="bg1"/>
          </a:solidFill>
          <a:latin typeface="Calibri" panose="020F0502020204030204" pitchFamily="34" charset="0"/>
        </a:defRPr>
      </a:lvl3pPr>
      <a:lvl4pPr marL="1599800" indent="-228543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199">
          <a:solidFill>
            <a:schemeClr val="bg1"/>
          </a:solidFill>
          <a:latin typeface="Calibri" panose="020F0502020204030204" pitchFamily="34" charset="0"/>
        </a:defRPr>
      </a:lvl4pPr>
      <a:lvl5pPr marL="2056886" indent="-228543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3971" indent="-228543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057" indent="-228543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8143" indent="-228543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5228" indent="-228543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2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130311068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75" r:id="rId1"/>
    <p:sldLayoutId id="2147484676" r:id="rId2"/>
    <p:sldLayoutId id="2147484677" r:id="rId3"/>
    <p:sldLayoutId id="2147484678" r:id="rId4"/>
    <p:sldLayoutId id="2147484679" r:id="rId5"/>
    <p:sldLayoutId id="2147484680" r:id="rId6"/>
    <p:sldLayoutId id="2147484681" r:id="rId7"/>
    <p:sldLayoutId id="2147484682" r:id="rId8"/>
    <p:sldLayoutId id="2147484683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599" b="1">
          <a:solidFill>
            <a:schemeClr val="tx2"/>
          </a:solidFill>
          <a:latin typeface="Arial" charset="0"/>
        </a:defRPr>
      </a:lvl5pPr>
      <a:lvl6pPr marL="457063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6pPr>
      <a:lvl7pPr marL="914126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7pPr>
      <a:lvl8pPr marL="1371189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8pPr>
      <a:lvl9pPr marL="1828251" algn="l" rtl="0" eaLnBrk="1" fontAlgn="base" hangingPunct="1">
        <a:spcBef>
          <a:spcPct val="0"/>
        </a:spcBef>
        <a:spcAft>
          <a:spcPct val="0"/>
        </a:spcAft>
        <a:defRPr sz="3499" b="1">
          <a:solidFill>
            <a:schemeClr val="tx2"/>
          </a:solidFill>
          <a:latin typeface="Arial" charset="0"/>
        </a:defRPr>
      </a:lvl9pPr>
    </p:titleStyle>
    <p:bodyStyle>
      <a:lvl1pPr marL="342797" indent="-342797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799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727" indent="-28566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599">
          <a:solidFill>
            <a:schemeClr val="bg1"/>
          </a:solidFill>
          <a:latin typeface="Calibri" panose="020F0502020204030204" pitchFamily="34" charset="0"/>
        </a:defRPr>
      </a:lvl2pPr>
      <a:lvl3pPr marL="1142657" indent="-228531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399">
          <a:solidFill>
            <a:schemeClr val="bg1"/>
          </a:solidFill>
          <a:latin typeface="Calibri" panose="020F0502020204030204" pitchFamily="34" charset="0"/>
        </a:defRPr>
      </a:lvl3pPr>
      <a:lvl4pPr marL="1599720" indent="-228531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199">
          <a:solidFill>
            <a:schemeClr val="bg1"/>
          </a:solidFill>
          <a:latin typeface="Calibri" panose="020F0502020204030204" pitchFamily="34" charset="0"/>
        </a:defRPr>
      </a:lvl4pPr>
      <a:lvl5pPr marL="2056783" indent="-228531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1999">
          <a:solidFill>
            <a:schemeClr val="bg1"/>
          </a:solidFill>
          <a:latin typeface="Calibri" panose="020F0502020204030204" pitchFamily="34" charset="0"/>
        </a:defRPr>
      </a:lvl5pPr>
      <a:lvl6pPr marL="2513846" indent="-228531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0908" indent="-228531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7971" indent="-228531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5034" indent="-228531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28478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685" r:id="rId1"/>
    <p:sldLayoutId id="2147484686" r:id="rId2"/>
    <p:sldLayoutId id="2147484687" r:id="rId3"/>
    <p:sldLayoutId id="2147484688" r:id="rId4"/>
    <p:sldLayoutId id="2147484689" r:id="rId5"/>
    <p:sldLayoutId id="2147484690" r:id="rId6"/>
    <p:sldLayoutId id="2147484691" r:id="rId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Relationship Id="rId5" Type="http://schemas.openxmlformats.org/officeDocument/2006/relationships/hyperlink" Target="http://www.clinicaloptions.com/" TargetMode="External"/><Relationship Id="rId4" Type="http://schemas.openxmlformats.org/officeDocument/2006/relationships/image" Target="../media/image4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0.png"/><Relationship Id="rId4" Type="http://schemas.openxmlformats.org/officeDocument/2006/relationships/hyperlink" Target="http://www.clinicaloptions.com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Relationship Id="rId5" Type="http://schemas.openxmlformats.org/officeDocument/2006/relationships/hyperlink" Target="http://www.clinicaloptions.com/" TargetMode="External"/><Relationship Id="rId4" Type="http://schemas.openxmlformats.org/officeDocument/2006/relationships/image" Target="../media/image4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hyperlink" Target="http://www.clinicaloptions.com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4" Type="http://schemas.openxmlformats.org/officeDocument/2006/relationships/hyperlink" Target="http://www.clinicaloptions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6" Type="http://schemas.openxmlformats.org/officeDocument/2006/relationships/hyperlink" Target="http://www.clinicaloptions.com/" TargetMode="External"/><Relationship Id="rId5" Type="http://schemas.openxmlformats.org/officeDocument/2006/relationships/image" Target="../media/image4.jpg"/><Relationship Id="rId4" Type="http://schemas.openxmlformats.org/officeDocument/2006/relationships/image" Target="../media/image1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image" Target="../media/image1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9.xml"/><Relationship Id="rId9" Type="http://schemas.openxmlformats.org/officeDocument/2006/relationships/hyperlink" Target="http://www.clinicaloptions.com/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clinicaloptions.com/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://www.clinicaloptions.com/" TargetMode="Externa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0.png"/><Relationship Id="rId4" Type="http://schemas.openxmlformats.org/officeDocument/2006/relationships/hyperlink" Target="http://www.clinicaloptions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13FAB-E82D-4B2A-8032-B335CE411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778" y="1033663"/>
            <a:ext cx="10872444" cy="110331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arp Inhibitors in Prostate Canc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FCCA89-0277-4502-B1C3-38CF36805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94555" y="3789186"/>
            <a:ext cx="7268550" cy="2721399"/>
          </a:xfrm>
        </p:spPr>
        <p:txBody>
          <a:bodyPr/>
          <a:lstStyle/>
          <a:p>
            <a:pPr marL="0" indent="0" algn="ctr">
              <a:buNone/>
            </a:pPr>
            <a:r>
              <a:rPr lang="en-US" sz="1800" b="1"/>
              <a:t>Charles J. Ryan, M.D.</a:t>
            </a:r>
          </a:p>
          <a:p>
            <a:pPr marL="0" indent="0" algn="ctr">
              <a:buNone/>
            </a:pPr>
            <a:r>
              <a:rPr lang="en-US" sz="1800" b="1"/>
              <a:t>Professor of Medicine</a:t>
            </a:r>
            <a:br>
              <a:rPr lang="en-US" sz="1800" b="1"/>
            </a:br>
            <a:r>
              <a:rPr lang="en-US" sz="1800" b="1"/>
              <a:t>B.J. Kennedy Chair in Clinical Medical Oncology</a:t>
            </a:r>
          </a:p>
          <a:p>
            <a:pPr marL="0" indent="0" algn="ctr">
              <a:buNone/>
            </a:pPr>
            <a:r>
              <a:rPr lang="en-US" sz="1800" b="1"/>
              <a:t>Director, Division of Hematology, Oncology and Transplantation</a:t>
            </a:r>
            <a:br>
              <a:rPr lang="en-US" sz="1800" b="1"/>
            </a:br>
            <a:endParaRPr lang="en-US" sz="1800" b="1"/>
          </a:p>
          <a:p>
            <a:pPr marL="0" indent="0" algn="ctr">
              <a:buNone/>
            </a:pPr>
            <a:r>
              <a:rPr lang="en-US" sz="1800" b="1"/>
              <a:t>University of Minnesota</a:t>
            </a:r>
          </a:p>
          <a:p>
            <a:endParaRPr lang="en-US" dirty="0"/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ACD137B-8A29-4A7D-A8A0-93C197B350B5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>
              <a:extLst>
                <a:ext uri="{FF2B5EF4-FFF2-40B4-BE49-F238E27FC236}">
                  <a16:creationId xmlns:a16="http://schemas.microsoft.com/office/drawing/2014/main" id="{333FCBC5-EB46-401A-9E88-91AE70C283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3743D6F6-AFB0-4118-AABF-6DEF12981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C5D9A94-6573-344F-9C5C-0B533E06D744}"/>
              </a:ext>
            </a:extLst>
          </p:cNvPr>
          <p:cNvSpPr/>
          <p:nvPr/>
        </p:nvSpPr>
        <p:spPr bwMode="auto">
          <a:xfrm>
            <a:off x="8662086" y="5625236"/>
            <a:ext cx="3323968" cy="1039238"/>
          </a:xfrm>
          <a:prstGeom prst="round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3894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>
            <a:extLst>
              <a:ext uri="{FF2B5EF4-FFF2-40B4-BE49-F238E27FC236}">
                <a16:creationId xmlns:a16="http://schemas.microsoft.com/office/drawing/2014/main" id="{437FDFCB-D461-4728-B7AF-6365DC7C36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0872444" cy="1103313"/>
          </a:xfrm>
        </p:spPr>
        <p:txBody>
          <a:bodyPr/>
          <a:lstStyle/>
          <a:p>
            <a:r>
              <a:rPr lang="en-US" altLang="en-US" dirty="0"/>
              <a:t>Somatic Mutations Persist and Accumulate in Cells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27C855FD-9E90-42A1-B67C-B5DE8B101AD2}"/>
              </a:ext>
            </a:extLst>
          </p:cNvPr>
          <p:cNvSpPr/>
          <p:nvPr/>
        </p:nvSpPr>
        <p:spPr>
          <a:xfrm>
            <a:off x="450614" y="6378239"/>
            <a:ext cx="41542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  <p:cxnSp>
        <p:nvCxnSpPr>
          <p:cNvPr id="323" name="Straight Arrow Connector 322">
            <a:extLst>
              <a:ext uri="{FF2B5EF4-FFF2-40B4-BE49-F238E27FC236}">
                <a16:creationId xmlns:a16="http://schemas.microsoft.com/office/drawing/2014/main" id="{262E69A6-9BD2-43AE-8F30-11512C6F92E6}"/>
              </a:ext>
            </a:extLst>
          </p:cNvPr>
          <p:cNvCxnSpPr/>
          <p:nvPr/>
        </p:nvCxnSpPr>
        <p:spPr>
          <a:xfrm>
            <a:off x="2392522" y="4866018"/>
            <a:ext cx="0" cy="26670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07089E8C-B5A1-43CF-B6FA-DF7B9227B278}"/>
              </a:ext>
            </a:extLst>
          </p:cNvPr>
          <p:cNvCxnSpPr>
            <a:cxnSpLocks/>
            <a:endCxn id="241" idx="0"/>
          </p:cNvCxnSpPr>
          <p:nvPr/>
        </p:nvCxnSpPr>
        <p:spPr>
          <a:xfrm>
            <a:off x="2552844" y="2512459"/>
            <a:ext cx="380510" cy="27317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95E6709D-8897-4F7A-9C91-0B8BE81EB534}"/>
              </a:ext>
            </a:extLst>
          </p:cNvPr>
          <p:cNvCxnSpPr/>
          <p:nvPr/>
        </p:nvCxnSpPr>
        <p:spPr>
          <a:xfrm>
            <a:off x="2392522" y="2535785"/>
            <a:ext cx="0" cy="26670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217230" y="1261119"/>
            <a:ext cx="11785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m Cell</a:t>
            </a:r>
          </a:p>
        </p:txBody>
      </p:sp>
      <p:cxnSp>
        <p:nvCxnSpPr>
          <p:cNvPr id="144" name="Straight Arrow Connector 143"/>
          <p:cNvCxnSpPr/>
          <p:nvPr/>
        </p:nvCxnSpPr>
        <p:spPr>
          <a:xfrm>
            <a:off x="1007443" y="1815725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/>
          <p:nvPr/>
        </p:nvCxnSpPr>
        <p:spPr>
          <a:xfrm>
            <a:off x="2401758" y="1819021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007443" y="1815725"/>
            <a:ext cx="1409930" cy="0"/>
          </a:xfrm>
          <a:prstGeom prst="line">
            <a:avLst/>
          </a:prstGeom>
          <a:ln w="3810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BC3835C-50B5-1142-B6F0-B64372F4DB81}"/>
              </a:ext>
            </a:extLst>
          </p:cNvPr>
          <p:cNvSpPr/>
          <p:nvPr/>
        </p:nvSpPr>
        <p:spPr>
          <a:xfrm>
            <a:off x="5493286" y="2315222"/>
            <a:ext cx="318052" cy="776997"/>
          </a:xfrm>
          <a:prstGeom prst="roundRect">
            <a:avLst/>
          </a:prstGeom>
          <a:noFill/>
          <a:ln w="508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055841-7081-384A-A70C-A3A53C557306}"/>
              </a:ext>
            </a:extLst>
          </p:cNvPr>
          <p:cNvSpPr txBox="1"/>
          <p:nvPr/>
        </p:nvSpPr>
        <p:spPr>
          <a:xfrm>
            <a:off x="5006643" y="1929451"/>
            <a:ext cx="15332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 Change</a:t>
            </a:r>
          </a:p>
        </p:txBody>
      </p:sp>
      <p:grpSp>
        <p:nvGrpSpPr>
          <p:cNvPr id="19" name="Group 7">
            <a:extLst>
              <a:ext uri="{FF2B5EF4-FFF2-40B4-BE49-F238E27FC236}">
                <a16:creationId xmlns:a16="http://schemas.microsoft.com/office/drawing/2014/main" id="{5D4CA64E-8A78-44E6-BACB-A11E065D088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20" name="Picture 9">
              <a:extLst>
                <a:ext uri="{FF2B5EF4-FFF2-40B4-BE49-F238E27FC236}">
                  <a16:creationId xmlns:a16="http://schemas.microsoft.com/office/drawing/2014/main" id="{AFBEE43D-F620-4B3F-9E06-1CAD9C99CD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54D7193F-2934-4698-9C6D-0CCDB885B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6D8696BA-9960-4440-AA1F-86D24FEF5A15}"/>
              </a:ext>
            </a:extLst>
          </p:cNvPr>
          <p:cNvSpPr txBox="1"/>
          <p:nvPr/>
        </p:nvSpPr>
        <p:spPr>
          <a:xfrm>
            <a:off x="4105032" y="2424258"/>
            <a:ext cx="74911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GGAAGTTGCGAAAGCTCAAGA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CCTTCAACGCTTTCGAGTTCTTCGCCT</a:t>
            </a:r>
          </a:p>
        </p:txBody>
      </p:sp>
      <p:sp>
        <p:nvSpPr>
          <p:cNvPr id="25" name="Rounded Rectangle 1">
            <a:extLst>
              <a:ext uri="{FF2B5EF4-FFF2-40B4-BE49-F238E27FC236}">
                <a16:creationId xmlns:a16="http://schemas.microsoft.com/office/drawing/2014/main" id="{6C81BCBB-1DB8-45AD-AE71-B9F341D7BB5F}"/>
              </a:ext>
            </a:extLst>
          </p:cNvPr>
          <p:cNvSpPr/>
          <p:nvPr/>
        </p:nvSpPr>
        <p:spPr>
          <a:xfrm>
            <a:off x="5485952" y="2372726"/>
            <a:ext cx="318052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0E0284A-AB60-4532-8D07-CF8B51AD28B6}"/>
              </a:ext>
            </a:extLst>
          </p:cNvPr>
          <p:cNvGrpSpPr/>
          <p:nvPr/>
        </p:nvGrpSpPr>
        <p:grpSpPr>
          <a:xfrm>
            <a:off x="2134085" y="2094467"/>
            <a:ext cx="516875" cy="444225"/>
            <a:chOff x="2705575" y="1674438"/>
            <a:chExt cx="582072" cy="500258"/>
          </a:xfrm>
        </p:grpSpPr>
        <p:grpSp>
          <p:nvGrpSpPr>
            <p:cNvPr id="32" name="Group 17">
              <a:extLst>
                <a:ext uri="{FF2B5EF4-FFF2-40B4-BE49-F238E27FC236}">
                  <a16:creationId xmlns:a16="http://schemas.microsoft.com/office/drawing/2014/main" id="{086BABED-5533-41A0-A671-38482CED53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3" name="Oval 42">
                <a:extLst>
                  <a:ext uri="{FF2B5EF4-FFF2-40B4-BE49-F238E27FC236}">
                    <a16:creationId xmlns:a16="http://schemas.microsoft.com/office/drawing/2014/main" id="{3B302100-040C-407F-AD67-FCCA004BA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4" name="Oval 44">
                <a:extLst>
                  <a:ext uri="{FF2B5EF4-FFF2-40B4-BE49-F238E27FC236}">
                    <a16:creationId xmlns:a16="http://schemas.microsoft.com/office/drawing/2014/main" id="{0A062E2A-99EE-4E8B-8198-E58B629AB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5" name="Star: 5 Points 34">
              <a:extLst>
                <a:ext uri="{FF2B5EF4-FFF2-40B4-BE49-F238E27FC236}">
                  <a16:creationId xmlns:a16="http://schemas.microsoft.com/office/drawing/2014/main" id="{5D4CC304-5402-4B89-9D8D-026E5E9640AE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23CDF52-DBDB-4984-BCEC-857935FED01F}"/>
              </a:ext>
            </a:extLst>
          </p:cNvPr>
          <p:cNvSpPr txBox="1"/>
          <p:nvPr/>
        </p:nvSpPr>
        <p:spPr>
          <a:xfrm>
            <a:off x="4067123" y="3909375"/>
            <a:ext cx="74911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GGAAGTTGCGAAAGCTCAAG 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CCTTCAACGCTTTCGAGTTC TCGCCT</a:t>
            </a:r>
          </a:p>
        </p:txBody>
      </p:sp>
      <p:sp>
        <p:nvSpPr>
          <p:cNvPr id="77" name="Rounded Rectangle 1">
            <a:extLst>
              <a:ext uri="{FF2B5EF4-FFF2-40B4-BE49-F238E27FC236}">
                <a16:creationId xmlns:a16="http://schemas.microsoft.com/office/drawing/2014/main" id="{AA6150C9-4A69-4B82-9C7C-6ECAE5B2D57E}"/>
              </a:ext>
            </a:extLst>
          </p:cNvPr>
          <p:cNvSpPr/>
          <p:nvPr/>
        </p:nvSpPr>
        <p:spPr>
          <a:xfrm>
            <a:off x="10344355" y="3864985"/>
            <a:ext cx="318052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E79B5B3-FA3C-42CB-BC8F-5B822C7788F6}"/>
              </a:ext>
            </a:extLst>
          </p:cNvPr>
          <p:cNvSpPr txBox="1"/>
          <p:nvPr/>
        </p:nvSpPr>
        <p:spPr>
          <a:xfrm>
            <a:off x="9951797" y="3422989"/>
            <a:ext cx="10934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etion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853A6BD-A590-4A70-A904-4419ACEB1204}"/>
              </a:ext>
            </a:extLst>
          </p:cNvPr>
          <p:cNvSpPr txBox="1"/>
          <p:nvPr/>
        </p:nvSpPr>
        <p:spPr>
          <a:xfrm>
            <a:off x="4067123" y="5269125"/>
            <a:ext cx="80425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GAAGGA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TTGCGAAAGCTCAAG 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CTTCCT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AACGCTTTCGAGTTC TCGCC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"/>
              <a:ea typeface="+mn-ea"/>
              <a:cs typeface="Courier"/>
            </a:endParaRPr>
          </a:p>
        </p:txBody>
      </p:sp>
      <p:sp>
        <p:nvSpPr>
          <p:cNvPr id="81" name="Rounded Rectangle 1">
            <a:extLst>
              <a:ext uri="{FF2B5EF4-FFF2-40B4-BE49-F238E27FC236}">
                <a16:creationId xmlns:a16="http://schemas.microsoft.com/office/drawing/2014/main" id="{7E8BC59A-82EE-4C28-B616-9A3C418D4871}"/>
              </a:ext>
            </a:extLst>
          </p:cNvPr>
          <p:cNvSpPr/>
          <p:nvPr/>
        </p:nvSpPr>
        <p:spPr>
          <a:xfrm>
            <a:off x="7691582" y="5203791"/>
            <a:ext cx="1123944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DE673EB-DA43-4A35-A6A7-1C03015A0106}"/>
              </a:ext>
            </a:extLst>
          </p:cNvPr>
          <p:cNvSpPr txBox="1"/>
          <p:nvPr/>
        </p:nvSpPr>
        <p:spPr>
          <a:xfrm>
            <a:off x="7540660" y="4782739"/>
            <a:ext cx="14039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plication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EBDF391-3142-4EE9-9264-1B7A87A328B6}"/>
              </a:ext>
            </a:extLst>
          </p:cNvPr>
          <p:cNvGrpSpPr/>
          <p:nvPr/>
        </p:nvGrpSpPr>
        <p:grpSpPr>
          <a:xfrm>
            <a:off x="10413855" y="3897640"/>
            <a:ext cx="169324" cy="89700"/>
            <a:chOff x="11130734" y="5603556"/>
            <a:chExt cx="169324" cy="89700"/>
          </a:xfrm>
        </p:grpSpPr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9E3E87E-F347-466D-8A8B-2153676CFD52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44EFB94-06B2-483C-8B13-8FD3C52500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5246466-6D03-4EB1-92ED-C2D909919B5E}"/>
              </a:ext>
            </a:extLst>
          </p:cNvPr>
          <p:cNvGrpSpPr/>
          <p:nvPr/>
        </p:nvGrpSpPr>
        <p:grpSpPr>
          <a:xfrm>
            <a:off x="10978332" y="5224275"/>
            <a:ext cx="169324" cy="89700"/>
            <a:chOff x="11130734" y="5603556"/>
            <a:chExt cx="169324" cy="89700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7490EB43-C7A0-4049-BC5B-F8775F463DAA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C22D8F3F-D758-4B99-B40E-0C1BB20C52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C6F3395-AF2B-4981-9EE6-CABE9CA82F14}"/>
              </a:ext>
            </a:extLst>
          </p:cNvPr>
          <p:cNvGrpSpPr/>
          <p:nvPr/>
        </p:nvGrpSpPr>
        <p:grpSpPr>
          <a:xfrm flipV="1">
            <a:off x="10418520" y="4473109"/>
            <a:ext cx="169324" cy="89700"/>
            <a:chOff x="11130734" y="5603556"/>
            <a:chExt cx="169324" cy="89700"/>
          </a:xfrm>
        </p:grpSpPr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97B9701B-F6E7-4769-9F4F-7C5A3ECC1A7D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B6B6C708-8320-430A-82B9-0CA594B1E5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5EE509C-2E82-4706-A678-B93CADF6A5CC}"/>
              </a:ext>
            </a:extLst>
          </p:cNvPr>
          <p:cNvGrpSpPr/>
          <p:nvPr/>
        </p:nvGrpSpPr>
        <p:grpSpPr>
          <a:xfrm flipV="1">
            <a:off x="10978332" y="5849757"/>
            <a:ext cx="169324" cy="89700"/>
            <a:chOff x="11130734" y="5603556"/>
            <a:chExt cx="169324" cy="89700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A1FA5B48-0E25-4253-AD22-F00598B39A58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49193F37-EE91-40C6-8ADF-72FEC751D6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1" name="Group 17">
            <a:extLst>
              <a:ext uri="{FF2B5EF4-FFF2-40B4-BE49-F238E27FC236}">
                <a16:creationId xmlns:a16="http://schemas.microsoft.com/office/drawing/2014/main" id="{79E1EB1A-4DBF-4B58-9197-92953365F42B}"/>
              </a:ext>
            </a:extLst>
          </p:cNvPr>
          <p:cNvGrpSpPr>
            <a:grpSpLocks/>
          </p:cNvGrpSpPr>
          <p:nvPr/>
        </p:nvGrpSpPr>
        <p:grpSpPr bwMode="auto">
          <a:xfrm>
            <a:off x="1454949" y="128253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92" name="Oval 42">
              <a:extLst>
                <a:ext uri="{FF2B5EF4-FFF2-40B4-BE49-F238E27FC236}">
                  <a16:creationId xmlns:a16="http://schemas.microsoft.com/office/drawing/2014/main" id="{28F5F1A2-7013-4BAD-8C6F-68E4AEB1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3" name="Oval 44">
              <a:extLst>
                <a:ext uri="{FF2B5EF4-FFF2-40B4-BE49-F238E27FC236}">
                  <a16:creationId xmlns:a16="http://schemas.microsoft.com/office/drawing/2014/main" id="{912D039C-2F2F-49DF-AF69-393D4AC9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61E4D03A-BE61-43D1-BAB6-9CB3F231D625}"/>
              </a:ext>
            </a:extLst>
          </p:cNvPr>
          <p:cNvCxnSpPr/>
          <p:nvPr/>
        </p:nvCxnSpPr>
        <p:spPr>
          <a:xfrm>
            <a:off x="1007443" y="2521836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21EF3738-612A-413B-8617-D4D3A16EB525}"/>
              </a:ext>
            </a:extLst>
          </p:cNvPr>
          <p:cNvCxnSpPr/>
          <p:nvPr/>
        </p:nvCxnSpPr>
        <p:spPr>
          <a:xfrm>
            <a:off x="1007443" y="3227947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6C1536F0-17CB-45BB-A31D-7E1DF0B114DE}"/>
              </a:ext>
            </a:extLst>
          </p:cNvPr>
          <p:cNvCxnSpPr/>
          <p:nvPr/>
        </p:nvCxnSpPr>
        <p:spPr>
          <a:xfrm>
            <a:off x="1007443" y="3934058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B2E1C93E-C097-43E6-BFE0-7A4D2040C0A1}"/>
              </a:ext>
            </a:extLst>
          </p:cNvPr>
          <p:cNvCxnSpPr/>
          <p:nvPr/>
        </p:nvCxnSpPr>
        <p:spPr>
          <a:xfrm>
            <a:off x="1007443" y="4640169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17">
            <a:extLst>
              <a:ext uri="{FF2B5EF4-FFF2-40B4-BE49-F238E27FC236}">
                <a16:creationId xmlns:a16="http://schemas.microsoft.com/office/drawing/2014/main" id="{67B06659-7F5A-4D00-8E67-7373005604BE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4903961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9" name="Oval 42">
              <a:extLst>
                <a:ext uri="{FF2B5EF4-FFF2-40B4-BE49-F238E27FC236}">
                  <a16:creationId xmlns:a16="http://schemas.microsoft.com/office/drawing/2014/main" id="{3E671A43-21CE-4677-BA1A-188ED6633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" name="Oval 44">
              <a:extLst>
                <a:ext uri="{FF2B5EF4-FFF2-40B4-BE49-F238E27FC236}">
                  <a16:creationId xmlns:a16="http://schemas.microsoft.com/office/drawing/2014/main" id="{741A0609-AFD1-4977-87EE-D579A5B2B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32" name="Group 17">
            <a:extLst>
              <a:ext uri="{FF2B5EF4-FFF2-40B4-BE49-F238E27FC236}">
                <a16:creationId xmlns:a16="http://schemas.microsoft.com/office/drawing/2014/main" id="{5DF5B896-A602-400A-92B3-CA80CEBDF766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3491740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0" name="Oval 42">
              <a:extLst>
                <a:ext uri="{FF2B5EF4-FFF2-40B4-BE49-F238E27FC236}">
                  <a16:creationId xmlns:a16="http://schemas.microsoft.com/office/drawing/2014/main" id="{2508131C-BF53-4121-9379-8DE447CE6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1" name="Oval 44">
              <a:extLst>
                <a:ext uri="{FF2B5EF4-FFF2-40B4-BE49-F238E27FC236}">
                  <a16:creationId xmlns:a16="http://schemas.microsoft.com/office/drawing/2014/main" id="{4E14E528-B2B9-4F8D-8729-309FC35C37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2" name="Group 17">
            <a:extLst>
              <a:ext uri="{FF2B5EF4-FFF2-40B4-BE49-F238E27FC236}">
                <a16:creationId xmlns:a16="http://schemas.microsoft.com/office/drawing/2014/main" id="{16C20B58-2EDC-4D42-9CCB-6DCC8C5A8C76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4197851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3" name="Oval 42">
              <a:extLst>
                <a:ext uri="{FF2B5EF4-FFF2-40B4-BE49-F238E27FC236}">
                  <a16:creationId xmlns:a16="http://schemas.microsoft.com/office/drawing/2014/main" id="{A6EA6FD2-3A43-42A2-9A1F-7C72B791F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4" name="Oval 44">
              <a:extLst>
                <a:ext uri="{FF2B5EF4-FFF2-40B4-BE49-F238E27FC236}">
                  <a16:creationId xmlns:a16="http://schemas.microsoft.com/office/drawing/2014/main" id="{2C02F472-2B9B-401F-99C2-451EA821E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5" name="Group 17">
            <a:extLst>
              <a:ext uri="{FF2B5EF4-FFF2-40B4-BE49-F238E27FC236}">
                <a16:creationId xmlns:a16="http://schemas.microsoft.com/office/drawing/2014/main" id="{E93511DE-7E8D-4266-83C9-8B03AA5EA428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278562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6" name="Oval 42">
              <a:extLst>
                <a:ext uri="{FF2B5EF4-FFF2-40B4-BE49-F238E27FC236}">
                  <a16:creationId xmlns:a16="http://schemas.microsoft.com/office/drawing/2014/main" id="{A01E4615-5989-4154-97B5-5DF1888B4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7" name="Oval 44">
              <a:extLst>
                <a:ext uri="{FF2B5EF4-FFF2-40B4-BE49-F238E27FC236}">
                  <a16:creationId xmlns:a16="http://schemas.microsoft.com/office/drawing/2014/main" id="{1E7CC6D7-9298-4FE8-B590-617015B7D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8" name="Group 17">
            <a:extLst>
              <a:ext uri="{FF2B5EF4-FFF2-40B4-BE49-F238E27FC236}">
                <a16:creationId xmlns:a16="http://schemas.microsoft.com/office/drawing/2014/main" id="{48BDB109-C67F-4238-80B5-89D38B45C8DF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2079518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9" name="Oval 42">
              <a:extLst>
                <a:ext uri="{FF2B5EF4-FFF2-40B4-BE49-F238E27FC236}">
                  <a16:creationId xmlns:a16="http://schemas.microsoft.com/office/drawing/2014/main" id="{F81FDF85-91DA-4D4C-9C42-F08C82385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0" name="Oval 44">
              <a:extLst>
                <a:ext uri="{FF2B5EF4-FFF2-40B4-BE49-F238E27FC236}">
                  <a16:creationId xmlns:a16="http://schemas.microsoft.com/office/drawing/2014/main" id="{E9A76368-1577-4D5F-A7AB-5236020CA3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093827B7-2DB8-4C37-822A-6F1BF0E2BEEA}"/>
              </a:ext>
            </a:extLst>
          </p:cNvPr>
          <p:cNvCxnSpPr/>
          <p:nvPr/>
        </p:nvCxnSpPr>
        <p:spPr>
          <a:xfrm>
            <a:off x="1706606" y="1829674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E01B0F1B-EE22-4573-9B8B-081B5E180390}"/>
              </a:ext>
            </a:extLst>
          </p:cNvPr>
          <p:cNvCxnSpPr/>
          <p:nvPr/>
        </p:nvCxnSpPr>
        <p:spPr>
          <a:xfrm>
            <a:off x="1706606" y="2535785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E3C9A1C7-32B1-46AE-903A-CD7A3E929F66}"/>
              </a:ext>
            </a:extLst>
          </p:cNvPr>
          <p:cNvCxnSpPr/>
          <p:nvPr/>
        </p:nvCxnSpPr>
        <p:spPr>
          <a:xfrm>
            <a:off x="1706606" y="3241896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36DD814D-C2A8-469C-97F2-C31F975AAE82}"/>
              </a:ext>
            </a:extLst>
          </p:cNvPr>
          <p:cNvCxnSpPr/>
          <p:nvPr/>
        </p:nvCxnSpPr>
        <p:spPr>
          <a:xfrm>
            <a:off x="1706606" y="3948007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4" name="Group 17">
            <a:extLst>
              <a:ext uri="{FF2B5EF4-FFF2-40B4-BE49-F238E27FC236}">
                <a16:creationId xmlns:a16="http://schemas.microsoft.com/office/drawing/2014/main" id="{FA95EC5F-810C-4CB8-BA17-34B26896E077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350568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15" name="Oval 42">
              <a:extLst>
                <a:ext uri="{FF2B5EF4-FFF2-40B4-BE49-F238E27FC236}">
                  <a16:creationId xmlns:a16="http://schemas.microsoft.com/office/drawing/2014/main" id="{5020D5BE-2E5A-4C39-9128-EE762775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6" name="Oval 44">
              <a:extLst>
                <a:ext uri="{FF2B5EF4-FFF2-40B4-BE49-F238E27FC236}">
                  <a16:creationId xmlns:a16="http://schemas.microsoft.com/office/drawing/2014/main" id="{F357E00F-CA22-4DC7-9565-2035731096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17" name="Group 17">
            <a:extLst>
              <a:ext uri="{FF2B5EF4-FFF2-40B4-BE49-F238E27FC236}">
                <a16:creationId xmlns:a16="http://schemas.microsoft.com/office/drawing/2014/main" id="{7A8B9231-85F3-4404-A753-698E11DE38BF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4211800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18" name="Oval 42">
              <a:extLst>
                <a:ext uri="{FF2B5EF4-FFF2-40B4-BE49-F238E27FC236}">
                  <a16:creationId xmlns:a16="http://schemas.microsoft.com/office/drawing/2014/main" id="{C3CA3BE0-A0D7-4CEA-B5EC-913DA385E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9" name="Oval 44">
              <a:extLst>
                <a:ext uri="{FF2B5EF4-FFF2-40B4-BE49-F238E27FC236}">
                  <a16:creationId xmlns:a16="http://schemas.microsoft.com/office/drawing/2014/main" id="{5A21F2D5-DF0A-41F6-8CD2-2DD70CF16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0" name="Group 17">
            <a:extLst>
              <a:ext uri="{FF2B5EF4-FFF2-40B4-BE49-F238E27FC236}">
                <a16:creationId xmlns:a16="http://schemas.microsoft.com/office/drawing/2014/main" id="{59AE1931-0960-4674-B47B-FED28E539ACA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278562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21" name="Oval 42">
              <a:extLst>
                <a:ext uri="{FF2B5EF4-FFF2-40B4-BE49-F238E27FC236}">
                  <a16:creationId xmlns:a16="http://schemas.microsoft.com/office/drawing/2014/main" id="{2BC85BB1-3BD2-4324-ACC5-24E10CB2F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2" name="Oval 44">
              <a:extLst>
                <a:ext uri="{FF2B5EF4-FFF2-40B4-BE49-F238E27FC236}">
                  <a16:creationId xmlns:a16="http://schemas.microsoft.com/office/drawing/2014/main" id="{91045A44-76D0-4800-8628-F19CE9940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3" name="Group 17">
            <a:extLst>
              <a:ext uri="{FF2B5EF4-FFF2-40B4-BE49-F238E27FC236}">
                <a16:creationId xmlns:a16="http://schemas.microsoft.com/office/drawing/2014/main" id="{946B4F07-6548-465D-85FE-837B4FBA3852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2093467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24" name="Oval 42">
              <a:extLst>
                <a:ext uri="{FF2B5EF4-FFF2-40B4-BE49-F238E27FC236}">
                  <a16:creationId xmlns:a16="http://schemas.microsoft.com/office/drawing/2014/main" id="{FC4DE875-80BB-40F3-B7A6-4C8FF9C47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5" name="Oval 44">
              <a:extLst>
                <a:ext uri="{FF2B5EF4-FFF2-40B4-BE49-F238E27FC236}">
                  <a16:creationId xmlns:a16="http://schemas.microsoft.com/office/drawing/2014/main" id="{5B19A861-D605-4D1B-B925-4A6A78A68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7C0612B5-18EC-4498-AA43-79D6285F1EE7}"/>
              </a:ext>
            </a:extLst>
          </p:cNvPr>
          <p:cNvGrpSpPr/>
          <p:nvPr/>
        </p:nvGrpSpPr>
        <p:grpSpPr>
          <a:xfrm>
            <a:off x="2134085" y="3247691"/>
            <a:ext cx="516875" cy="444225"/>
            <a:chOff x="2705575" y="1674438"/>
            <a:chExt cx="582072" cy="500258"/>
          </a:xfrm>
        </p:grpSpPr>
        <p:grpSp>
          <p:nvGrpSpPr>
            <p:cNvPr id="229" name="Group 17">
              <a:extLst>
                <a:ext uri="{FF2B5EF4-FFF2-40B4-BE49-F238E27FC236}">
                  <a16:creationId xmlns:a16="http://schemas.microsoft.com/office/drawing/2014/main" id="{F83D07CD-D11F-4A2C-A661-B46CF59E47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31" name="Oval 42">
                <a:extLst>
                  <a:ext uri="{FF2B5EF4-FFF2-40B4-BE49-F238E27FC236}">
                    <a16:creationId xmlns:a16="http://schemas.microsoft.com/office/drawing/2014/main" id="{99FF5BA4-4434-429F-A642-C4B6920F8A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32" name="Oval 44">
                <a:extLst>
                  <a:ext uri="{FF2B5EF4-FFF2-40B4-BE49-F238E27FC236}">
                    <a16:creationId xmlns:a16="http://schemas.microsoft.com/office/drawing/2014/main" id="{EB3EBFFC-435E-4C6D-8523-6E894A22EB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30" name="Star: 5 Points 229">
              <a:extLst>
                <a:ext uri="{FF2B5EF4-FFF2-40B4-BE49-F238E27FC236}">
                  <a16:creationId xmlns:a16="http://schemas.microsoft.com/office/drawing/2014/main" id="{9FF76A29-EC23-4AE7-9523-4552EF864325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0C3D8DEC-40F1-420E-A159-D0C95991189F}"/>
              </a:ext>
            </a:extLst>
          </p:cNvPr>
          <p:cNvGrpSpPr/>
          <p:nvPr/>
        </p:nvGrpSpPr>
        <p:grpSpPr>
          <a:xfrm>
            <a:off x="2134085" y="2785629"/>
            <a:ext cx="516875" cy="444225"/>
            <a:chOff x="2705575" y="1674438"/>
            <a:chExt cx="582072" cy="500258"/>
          </a:xfrm>
        </p:grpSpPr>
        <p:grpSp>
          <p:nvGrpSpPr>
            <p:cNvPr id="234" name="Group 17">
              <a:extLst>
                <a:ext uri="{FF2B5EF4-FFF2-40B4-BE49-F238E27FC236}">
                  <a16:creationId xmlns:a16="http://schemas.microsoft.com/office/drawing/2014/main" id="{60B38887-2BAF-4C9A-BA98-CC01A6D6EB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36" name="Oval 42">
                <a:extLst>
                  <a:ext uri="{FF2B5EF4-FFF2-40B4-BE49-F238E27FC236}">
                    <a16:creationId xmlns:a16="http://schemas.microsoft.com/office/drawing/2014/main" id="{5A6423EC-26F8-4FD9-AF02-D0F920CD6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37" name="Oval 44">
                <a:extLst>
                  <a:ext uri="{FF2B5EF4-FFF2-40B4-BE49-F238E27FC236}">
                    <a16:creationId xmlns:a16="http://schemas.microsoft.com/office/drawing/2014/main" id="{9FB64DDD-65A5-4614-86F8-1799F6EC9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35" name="Star: 5 Points 234">
              <a:extLst>
                <a:ext uri="{FF2B5EF4-FFF2-40B4-BE49-F238E27FC236}">
                  <a16:creationId xmlns:a16="http://schemas.microsoft.com/office/drawing/2014/main" id="{C42E0DAD-40AC-40F4-9765-3EF7630326A3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B2256B22-B6D0-43FC-9F4E-95EF16C76983}"/>
              </a:ext>
            </a:extLst>
          </p:cNvPr>
          <p:cNvGrpSpPr/>
          <p:nvPr/>
        </p:nvGrpSpPr>
        <p:grpSpPr>
          <a:xfrm>
            <a:off x="2674916" y="2785629"/>
            <a:ext cx="516875" cy="444225"/>
            <a:chOff x="2705575" y="1674438"/>
            <a:chExt cx="582072" cy="500258"/>
          </a:xfrm>
        </p:grpSpPr>
        <p:grpSp>
          <p:nvGrpSpPr>
            <p:cNvPr id="239" name="Group 17">
              <a:extLst>
                <a:ext uri="{FF2B5EF4-FFF2-40B4-BE49-F238E27FC236}">
                  <a16:creationId xmlns:a16="http://schemas.microsoft.com/office/drawing/2014/main" id="{4FCAF233-184B-4EF6-AC04-D7A36BE56F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41" name="Oval 42">
                <a:extLst>
                  <a:ext uri="{FF2B5EF4-FFF2-40B4-BE49-F238E27FC236}">
                    <a16:creationId xmlns:a16="http://schemas.microsoft.com/office/drawing/2014/main" id="{59085279-9EC4-4D63-97D4-F344D5B10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42" name="Oval 44">
                <a:extLst>
                  <a:ext uri="{FF2B5EF4-FFF2-40B4-BE49-F238E27FC236}">
                    <a16:creationId xmlns:a16="http://schemas.microsoft.com/office/drawing/2014/main" id="{2D7A0338-A2DF-43E2-8146-FC4976CDF4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40" name="Star: 5 Points 239">
              <a:extLst>
                <a:ext uri="{FF2B5EF4-FFF2-40B4-BE49-F238E27FC236}">
                  <a16:creationId xmlns:a16="http://schemas.microsoft.com/office/drawing/2014/main" id="{4192C560-E525-47B8-B4CA-92A40D2A009E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723A5A24-5E47-462E-996C-A6AB65302A65}"/>
              </a:ext>
            </a:extLst>
          </p:cNvPr>
          <p:cNvCxnSpPr/>
          <p:nvPr/>
        </p:nvCxnSpPr>
        <p:spPr>
          <a:xfrm>
            <a:off x="2950449" y="3241896"/>
            <a:ext cx="0" cy="26670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D39254-0924-4B34-8EAA-05DE5D167C75}"/>
              </a:ext>
            </a:extLst>
          </p:cNvPr>
          <p:cNvGrpSpPr/>
          <p:nvPr/>
        </p:nvGrpSpPr>
        <p:grpSpPr>
          <a:xfrm>
            <a:off x="2674916" y="3506689"/>
            <a:ext cx="516875" cy="444225"/>
            <a:chOff x="3924241" y="3035653"/>
            <a:chExt cx="516875" cy="444225"/>
          </a:xfrm>
        </p:grpSpPr>
        <p:grpSp>
          <p:nvGrpSpPr>
            <p:cNvPr id="245" name="Group 17">
              <a:extLst>
                <a:ext uri="{FF2B5EF4-FFF2-40B4-BE49-F238E27FC236}">
                  <a16:creationId xmlns:a16="http://schemas.microsoft.com/office/drawing/2014/main" id="{CFEE643B-A8C1-44EE-86DB-26B932293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47" name="Oval 42">
                <a:extLst>
                  <a:ext uri="{FF2B5EF4-FFF2-40B4-BE49-F238E27FC236}">
                    <a16:creationId xmlns:a16="http://schemas.microsoft.com/office/drawing/2014/main" id="{773E810E-6348-4235-BB0D-8379721C90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48" name="Oval 44">
                <a:extLst>
                  <a:ext uri="{FF2B5EF4-FFF2-40B4-BE49-F238E27FC236}">
                    <a16:creationId xmlns:a16="http://schemas.microsoft.com/office/drawing/2014/main" id="{D8C9C74F-EB91-4AEE-BB26-563B01F19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46" name="Star: 5 Points 245">
              <a:extLst>
                <a:ext uri="{FF2B5EF4-FFF2-40B4-BE49-F238E27FC236}">
                  <a16:creationId xmlns:a16="http://schemas.microsoft.com/office/drawing/2014/main" id="{A0BC45C1-BFBC-4003-9E09-DBA6ABFDD089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Star: 5 Points 248">
              <a:extLst>
                <a:ext uri="{FF2B5EF4-FFF2-40B4-BE49-F238E27FC236}">
                  <a16:creationId xmlns:a16="http://schemas.microsoft.com/office/drawing/2014/main" id="{962DDF0D-7EC5-4EEF-9DF1-C7FAA0945827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CCAC127B-F124-45D0-BD18-4C21E0B8A044}"/>
              </a:ext>
            </a:extLst>
          </p:cNvPr>
          <p:cNvGrpSpPr/>
          <p:nvPr/>
        </p:nvGrpSpPr>
        <p:grpSpPr>
          <a:xfrm>
            <a:off x="3224314" y="3963361"/>
            <a:ext cx="516875" cy="444225"/>
            <a:chOff x="3924241" y="3035653"/>
            <a:chExt cx="516875" cy="444225"/>
          </a:xfrm>
        </p:grpSpPr>
        <p:grpSp>
          <p:nvGrpSpPr>
            <p:cNvPr id="318" name="Group 17">
              <a:extLst>
                <a:ext uri="{FF2B5EF4-FFF2-40B4-BE49-F238E27FC236}">
                  <a16:creationId xmlns:a16="http://schemas.microsoft.com/office/drawing/2014/main" id="{DA5954C7-578A-4444-A87D-6C26E976EFA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21" name="Oval 42">
                <a:extLst>
                  <a:ext uri="{FF2B5EF4-FFF2-40B4-BE49-F238E27FC236}">
                    <a16:creationId xmlns:a16="http://schemas.microsoft.com/office/drawing/2014/main" id="{D6D24CBE-54A0-407C-8E37-26C76FACC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22" name="Oval 44">
                <a:extLst>
                  <a:ext uri="{FF2B5EF4-FFF2-40B4-BE49-F238E27FC236}">
                    <a16:creationId xmlns:a16="http://schemas.microsoft.com/office/drawing/2014/main" id="{A029A610-7C38-470A-A011-BCC7B8690B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19" name="Star: 5 Points 318">
              <a:extLst>
                <a:ext uri="{FF2B5EF4-FFF2-40B4-BE49-F238E27FC236}">
                  <a16:creationId xmlns:a16="http://schemas.microsoft.com/office/drawing/2014/main" id="{E05F68A6-9EE6-4C76-B8EA-DCB68F57B3CF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Star: 5 Points 319">
              <a:extLst>
                <a:ext uri="{FF2B5EF4-FFF2-40B4-BE49-F238E27FC236}">
                  <a16:creationId xmlns:a16="http://schemas.microsoft.com/office/drawing/2014/main" id="{B1FB9776-6BFE-4C7C-8B71-3D60315339B1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67186441-7AC1-49AF-8D16-6E478E8F66E6}"/>
              </a:ext>
            </a:extLst>
          </p:cNvPr>
          <p:cNvGrpSpPr/>
          <p:nvPr/>
        </p:nvGrpSpPr>
        <p:grpSpPr>
          <a:xfrm>
            <a:off x="3230253" y="4421793"/>
            <a:ext cx="516875" cy="444225"/>
            <a:chOff x="3924241" y="3035653"/>
            <a:chExt cx="516875" cy="444225"/>
          </a:xfrm>
        </p:grpSpPr>
        <p:grpSp>
          <p:nvGrpSpPr>
            <p:cNvPr id="313" name="Group 17">
              <a:extLst>
                <a:ext uri="{FF2B5EF4-FFF2-40B4-BE49-F238E27FC236}">
                  <a16:creationId xmlns:a16="http://schemas.microsoft.com/office/drawing/2014/main" id="{BEC6F2FA-CA15-4F1E-9118-F16906B81E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16" name="Oval 42">
                <a:extLst>
                  <a:ext uri="{FF2B5EF4-FFF2-40B4-BE49-F238E27FC236}">
                    <a16:creationId xmlns:a16="http://schemas.microsoft.com/office/drawing/2014/main" id="{0957E92D-BFA8-4941-9769-CBF02DFD6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17" name="Oval 44">
                <a:extLst>
                  <a:ext uri="{FF2B5EF4-FFF2-40B4-BE49-F238E27FC236}">
                    <a16:creationId xmlns:a16="http://schemas.microsoft.com/office/drawing/2014/main" id="{EB698664-7F5F-402F-9195-F564A61B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14" name="Star: 5 Points 313">
              <a:extLst>
                <a:ext uri="{FF2B5EF4-FFF2-40B4-BE49-F238E27FC236}">
                  <a16:creationId xmlns:a16="http://schemas.microsoft.com/office/drawing/2014/main" id="{DF8473F6-0826-4D7B-AEB8-EB0B45AC2BA5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Star: 5 Points 314">
              <a:extLst>
                <a:ext uri="{FF2B5EF4-FFF2-40B4-BE49-F238E27FC236}">
                  <a16:creationId xmlns:a16="http://schemas.microsoft.com/office/drawing/2014/main" id="{A78957FC-BC39-4D4D-96D5-6969C4605932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7F6BF8F1-6ABF-4316-9F1B-F61497EDFB41}"/>
              </a:ext>
            </a:extLst>
          </p:cNvPr>
          <p:cNvGrpSpPr/>
          <p:nvPr/>
        </p:nvGrpSpPr>
        <p:grpSpPr>
          <a:xfrm>
            <a:off x="2674916" y="3963361"/>
            <a:ext cx="516875" cy="444225"/>
            <a:chOff x="3924241" y="3035653"/>
            <a:chExt cx="516875" cy="444225"/>
          </a:xfrm>
        </p:grpSpPr>
        <p:grpSp>
          <p:nvGrpSpPr>
            <p:cNvPr id="308" name="Group 17">
              <a:extLst>
                <a:ext uri="{FF2B5EF4-FFF2-40B4-BE49-F238E27FC236}">
                  <a16:creationId xmlns:a16="http://schemas.microsoft.com/office/drawing/2014/main" id="{C0F350A3-986B-4591-AC9A-2E5B15981C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11" name="Oval 42">
                <a:extLst>
                  <a:ext uri="{FF2B5EF4-FFF2-40B4-BE49-F238E27FC236}">
                    <a16:creationId xmlns:a16="http://schemas.microsoft.com/office/drawing/2014/main" id="{AA916CC6-9F75-44B4-AF68-FDF513ACE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12" name="Oval 44">
                <a:extLst>
                  <a:ext uri="{FF2B5EF4-FFF2-40B4-BE49-F238E27FC236}">
                    <a16:creationId xmlns:a16="http://schemas.microsoft.com/office/drawing/2014/main" id="{F9DBDBEB-B812-4A07-9BEC-89E78A762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09" name="Star: 5 Points 308">
              <a:extLst>
                <a:ext uri="{FF2B5EF4-FFF2-40B4-BE49-F238E27FC236}">
                  <a16:creationId xmlns:a16="http://schemas.microsoft.com/office/drawing/2014/main" id="{0FB321D1-0F04-416C-A724-5D93A31332CD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Star: 5 Points 309">
              <a:extLst>
                <a:ext uri="{FF2B5EF4-FFF2-40B4-BE49-F238E27FC236}">
                  <a16:creationId xmlns:a16="http://schemas.microsoft.com/office/drawing/2014/main" id="{BD110FDE-8DB7-409F-AC76-8A2D3F7E22E7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A6F831BC-EBEA-49DF-8495-E5ED3D042220}"/>
              </a:ext>
            </a:extLst>
          </p:cNvPr>
          <p:cNvGrpSpPr/>
          <p:nvPr/>
        </p:nvGrpSpPr>
        <p:grpSpPr>
          <a:xfrm>
            <a:off x="2134085" y="3963361"/>
            <a:ext cx="516875" cy="444225"/>
            <a:chOff x="3924241" y="3035653"/>
            <a:chExt cx="516875" cy="444225"/>
          </a:xfrm>
        </p:grpSpPr>
        <p:grpSp>
          <p:nvGrpSpPr>
            <p:cNvPr id="303" name="Group 17">
              <a:extLst>
                <a:ext uri="{FF2B5EF4-FFF2-40B4-BE49-F238E27FC236}">
                  <a16:creationId xmlns:a16="http://schemas.microsoft.com/office/drawing/2014/main" id="{B52FC94F-FD41-41CF-A9C9-476BF97DD3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06" name="Oval 42">
                <a:extLst>
                  <a:ext uri="{FF2B5EF4-FFF2-40B4-BE49-F238E27FC236}">
                    <a16:creationId xmlns:a16="http://schemas.microsoft.com/office/drawing/2014/main" id="{F5B0F2E2-B298-40A4-AC34-42149FD1ED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07" name="Oval 44">
                <a:extLst>
                  <a:ext uri="{FF2B5EF4-FFF2-40B4-BE49-F238E27FC236}">
                    <a16:creationId xmlns:a16="http://schemas.microsoft.com/office/drawing/2014/main" id="{C0DF25AA-3618-4FA7-AC1C-DC39505BE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04" name="Star: 5 Points 303">
              <a:extLst>
                <a:ext uri="{FF2B5EF4-FFF2-40B4-BE49-F238E27FC236}">
                  <a16:creationId xmlns:a16="http://schemas.microsoft.com/office/drawing/2014/main" id="{FFC0DE4C-C679-4586-BA26-2AE1007630EE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Star: 5 Points 304">
              <a:extLst>
                <a:ext uri="{FF2B5EF4-FFF2-40B4-BE49-F238E27FC236}">
                  <a16:creationId xmlns:a16="http://schemas.microsoft.com/office/drawing/2014/main" id="{E60E7BD8-6013-469D-81BF-D8A9A8380B1B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2BB3C9AE-7E6B-41E6-8B38-15B37D1A13EB}"/>
              </a:ext>
            </a:extLst>
          </p:cNvPr>
          <p:cNvGrpSpPr/>
          <p:nvPr/>
        </p:nvGrpSpPr>
        <p:grpSpPr>
          <a:xfrm>
            <a:off x="2134085" y="4421793"/>
            <a:ext cx="516875" cy="444225"/>
            <a:chOff x="3924241" y="3035653"/>
            <a:chExt cx="516875" cy="444225"/>
          </a:xfrm>
        </p:grpSpPr>
        <p:grpSp>
          <p:nvGrpSpPr>
            <p:cNvPr id="298" name="Group 17">
              <a:extLst>
                <a:ext uri="{FF2B5EF4-FFF2-40B4-BE49-F238E27FC236}">
                  <a16:creationId xmlns:a16="http://schemas.microsoft.com/office/drawing/2014/main" id="{1F76A36F-6C8A-4E1A-B278-363B8035E19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01" name="Oval 42">
                <a:extLst>
                  <a:ext uri="{FF2B5EF4-FFF2-40B4-BE49-F238E27FC236}">
                    <a16:creationId xmlns:a16="http://schemas.microsoft.com/office/drawing/2014/main" id="{1CB8BFEB-8F41-46AB-85F8-36E6B884CD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02" name="Oval 44">
                <a:extLst>
                  <a:ext uri="{FF2B5EF4-FFF2-40B4-BE49-F238E27FC236}">
                    <a16:creationId xmlns:a16="http://schemas.microsoft.com/office/drawing/2014/main" id="{C4507D43-0A22-4337-98F5-D738DD8BA3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99" name="Star: 5 Points 298">
              <a:extLst>
                <a:ext uri="{FF2B5EF4-FFF2-40B4-BE49-F238E27FC236}">
                  <a16:creationId xmlns:a16="http://schemas.microsoft.com/office/drawing/2014/main" id="{43473A96-A103-4911-8811-DEF779C4A134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Star: 5 Points 299">
              <a:extLst>
                <a:ext uri="{FF2B5EF4-FFF2-40B4-BE49-F238E27FC236}">
                  <a16:creationId xmlns:a16="http://schemas.microsoft.com/office/drawing/2014/main" id="{7680D3FD-47CF-47AB-B178-44E46E565A1B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EBE9FD28-7FE0-445C-A4D7-5203B8629143}"/>
              </a:ext>
            </a:extLst>
          </p:cNvPr>
          <p:cNvGrpSpPr/>
          <p:nvPr/>
        </p:nvGrpSpPr>
        <p:grpSpPr>
          <a:xfrm>
            <a:off x="2674916" y="4421793"/>
            <a:ext cx="516875" cy="444225"/>
            <a:chOff x="3924241" y="3035653"/>
            <a:chExt cx="516875" cy="444225"/>
          </a:xfrm>
        </p:grpSpPr>
        <p:grpSp>
          <p:nvGrpSpPr>
            <p:cNvPr id="293" name="Group 17">
              <a:extLst>
                <a:ext uri="{FF2B5EF4-FFF2-40B4-BE49-F238E27FC236}">
                  <a16:creationId xmlns:a16="http://schemas.microsoft.com/office/drawing/2014/main" id="{321CF0B7-261A-4155-B483-9D05E17176C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96" name="Oval 42">
                <a:extLst>
                  <a:ext uri="{FF2B5EF4-FFF2-40B4-BE49-F238E27FC236}">
                    <a16:creationId xmlns:a16="http://schemas.microsoft.com/office/drawing/2014/main" id="{E32351D0-40BE-4B68-BD0E-0425D085F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97" name="Oval 44">
                <a:extLst>
                  <a:ext uri="{FF2B5EF4-FFF2-40B4-BE49-F238E27FC236}">
                    <a16:creationId xmlns:a16="http://schemas.microsoft.com/office/drawing/2014/main" id="{2F160CA4-9303-4DDA-BA18-E63D7069C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94" name="Star: 5 Points 293">
              <a:extLst>
                <a:ext uri="{FF2B5EF4-FFF2-40B4-BE49-F238E27FC236}">
                  <a16:creationId xmlns:a16="http://schemas.microsoft.com/office/drawing/2014/main" id="{1D90C984-F182-4E4A-BDDC-0AA4459121ED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Star: 5 Points 294">
              <a:extLst>
                <a:ext uri="{FF2B5EF4-FFF2-40B4-BE49-F238E27FC236}">
                  <a16:creationId xmlns:a16="http://schemas.microsoft.com/office/drawing/2014/main" id="{3A206C28-96AB-4422-B139-920EACE7EA92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9A1A6AAA-BF9C-48D0-AC06-59B2CD47A62E}"/>
              </a:ext>
            </a:extLst>
          </p:cNvPr>
          <p:cNvGrpSpPr/>
          <p:nvPr/>
        </p:nvGrpSpPr>
        <p:grpSpPr>
          <a:xfrm>
            <a:off x="2142298" y="5124577"/>
            <a:ext cx="516875" cy="444225"/>
            <a:chOff x="4835" y="5428107"/>
            <a:chExt cx="516875" cy="444225"/>
          </a:xfrm>
        </p:grpSpPr>
        <p:grpSp>
          <p:nvGrpSpPr>
            <p:cNvPr id="388" name="Group 387">
              <a:extLst>
                <a:ext uri="{FF2B5EF4-FFF2-40B4-BE49-F238E27FC236}">
                  <a16:creationId xmlns:a16="http://schemas.microsoft.com/office/drawing/2014/main" id="{712ADE7D-9F06-49F9-9BBF-FC59FD618E42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390" name="Group 17">
                <a:extLst>
                  <a:ext uri="{FF2B5EF4-FFF2-40B4-BE49-F238E27FC236}">
                    <a16:creationId xmlns:a16="http://schemas.microsoft.com/office/drawing/2014/main" id="{5870F996-6423-44D2-8CD3-807FA7A3B99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393" name="Oval 42">
                  <a:extLst>
                    <a:ext uri="{FF2B5EF4-FFF2-40B4-BE49-F238E27FC236}">
                      <a16:creationId xmlns:a16="http://schemas.microsoft.com/office/drawing/2014/main" id="{6FE88257-FB2D-4806-A23D-8A2E31E63A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94" name="Oval 44">
                  <a:extLst>
                    <a:ext uri="{FF2B5EF4-FFF2-40B4-BE49-F238E27FC236}">
                      <a16:creationId xmlns:a16="http://schemas.microsoft.com/office/drawing/2014/main" id="{A2730861-C5B2-486B-95C6-D7292C51D1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391" name="Star: 5 Points 390">
                <a:extLst>
                  <a:ext uri="{FF2B5EF4-FFF2-40B4-BE49-F238E27FC236}">
                    <a16:creationId xmlns:a16="http://schemas.microsoft.com/office/drawing/2014/main" id="{CF50853E-2F1E-448B-AEEE-207CBD3F0DA7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2" name="Star: 5 Points 391">
                <a:extLst>
                  <a:ext uri="{FF2B5EF4-FFF2-40B4-BE49-F238E27FC236}">
                    <a16:creationId xmlns:a16="http://schemas.microsoft.com/office/drawing/2014/main" id="{3A4C3A8C-C190-4E1A-BAAE-0A6BEBEEDF1C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89" name="Star: 5 Points 388">
              <a:extLst>
                <a:ext uri="{FF2B5EF4-FFF2-40B4-BE49-F238E27FC236}">
                  <a16:creationId xmlns:a16="http://schemas.microsoft.com/office/drawing/2014/main" id="{1B7D042F-F0AE-4104-8B04-55DC974581B3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B634891C-DA76-4F67-8D31-1DFFF078B84E}"/>
              </a:ext>
            </a:extLst>
          </p:cNvPr>
          <p:cNvGrpSpPr/>
          <p:nvPr/>
        </p:nvGrpSpPr>
        <p:grpSpPr>
          <a:xfrm>
            <a:off x="2175144" y="5891605"/>
            <a:ext cx="516875" cy="444225"/>
            <a:chOff x="4835" y="5428107"/>
            <a:chExt cx="516875" cy="444225"/>
          </a:xfrm>
        </p:grpSpPr>
        <p:grpSp>
          <p:nvGrpSpPr>
            <p:cNvPr id="396" name="Group 395">
              <a:extLst>
                <a:ext uri="{FF2B5EF4-FFF2-40B4-BE49-F238E27FC236}">
                  <a16:creationId xmlns:a16="http://schemas.microsoft.com/office/drawing/2014/main" id="{51B41CD7-C0B4-430F-82DE-B6ABCEBB5EC5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398" name="Group 17">
                <a:extLst>
                  <a:ext uri="{FF2B5EF4-FFF2-40B4-BE49-F238E27FC236}">
                    <a16:creationId xmlns:a16="http://schemas.microsoft.com/office/drawing/2014/main" id="{CC80F8E5-F412-49F5-89C2-39BE1CAACB5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01" name="Oval 42">
                  <a:extLst>
                    <a:ext uri="{FF2B5EF4-FFF2-40B4-BE49-F238E27FC236}">
                      <a16:creationId xmlns:a16="http://schemas.microsoft.com/office/drawing/2014/main" id="{0DBDCA03-BEE8-4F56-974D-B56FEBC7B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02" name="Oval 44">
                  <a:extLst>
                    <a:ext uri="{FF2B5EF4-FFF2-40B4-BE49-F238E27FC236}">
                      <a16:creationId xmlns:a16="http://schemas.microsoft.com/office/drawing/2014/main" id="{2A768D19-3DB1-40D3-AD9A-46FC712A38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399" name="Star: 5 Points 398">
                <a:extLst>
                  <a:ext uri="{FF2B5EF4-FFF2-40B4-BE49-F238E27FC236}">
                    <a16:creationId xmlns:a16="http://schemas.microsoft.com/office/drawing/2014/main" id="{76EA20CE-4A29-41BD-BD1A-4A3DC5E819F6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0" name="Star: 5 Points 399">
                <a:extLst>
                  <a:ext uri="{FF2B5EF4-FFF2-40B4-BE49-F238E27FC236}">
                    <a16:creationId xmlns:a16="http://schemas.microsoft.com/office/drawing/2014/main" id="{F61D91D0-F513-4F77-A517-6BFAA2E8E9FB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7" name="Star: 5 Points 396">
              <a:extLst>
                <a:ext uri="{FF2B5EF4-FFF2-40B4-BE49-F238E27FC236}">
                  <a16:creationId xmlns:a16="http://schemas.microsoft.com/office/drawing/2014/main" id="{9AEBA826-BC71-4BB3-B5E5-D29F8437C5D6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C3CCA02C-5903-4591-8273-315FCA349F90}"/>
              </a:ext>
            </a:extLst>
          </p:cNvPr>
          <p:cNvGrpSpPr/>
          <p:nvPr/>
        </p:nvGrpSpPr>
        <p:grpSpPr>
          <a:xfrm>
            <a:off x="2762155" y="5891605"/>
            <a:ext cx="516875" cy="444225"/>
            <a:chOff x="4835" y="5428107"/>
            <a:chExt cx="516875" cy="444225"/>
          </a:xfrm>
        </p:grpSpPr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F66BA2A7-D1AB-4F84-9416-ABFDEB3C718B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06" name="Group 17">
                <a:extLst>
                  <a:ext uri="{FF2B5EF4-FFF2-40B4-BE49-F238E27FC236}">
                    <a16:creationId xmlns:a16="http://schemas.microsoft.com/office/drawing/2014/main" id="{33547FCB-2A05-460C-821D-66DF7E0B32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09" name="Oval 42">
                  <a:extLst>
                    <a:ext uri="{FF2B5EF4-FFF2-40B4-BE49-F238E27FC236}">
                      <a16:creationId xmlns:a16="http://schemas.microsoft.com/office/drawing/2014/main" id="{EE53EFD7-1D1F-4FB5-8C94-1467239588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10" name="Oval 44">
                  <a:extLst>
                    <a:ext uri="{FF2B5EF4-FFF2-40B4-BE49-F238E27FC236}">
                      <a16:creationId xmlns:a16="http://schemas.microsoft.com/office/drawing/2014/main" id="{7EBF9874-55E3-4CCE-8BEA-C5C06E8BE5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07" name="Star: 5 Points 406">
                <a:extLst>
                  <a:ext uri="{FF2B5EF4-FFF2-40B4-BE49-F238E27FC236}">
                    <a16:creationId xmlns:a16="http://schemas.microsoft.com/office/drawing/2014/main" id="{A6256C96-0A8B-461C-AE6C-D3CFEC93DD81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8" name="Star: 5 Points 407">
                <a:extLst>
                  <a:ext uri="{FF2B5EF4-FFF2-40B4-BE49-F238E27FC236}">
                    <a16:creationId xmlns:a16="http://schemas.microsoft.com/office/drawing/2014/main" id="{BD48F32E-60F0-46A0-8688-A643A6388D49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05" name="Star: 5 Points 404">
              <a:extLst>
                <a:ext uri="{FF2B5EF4-FFF2-40B4-BE49-F238E27FC236}">
                  <a16:creationId xmlns:a16="http://schemas.microsoft.com/office/drawing/2014/main" id="{204B3C9B-2B1F-4586-BBF7-D97274A1FD01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97AE6AF8-6709-4964-AC87-3633D8D9F0E6}"/>
              </a:ext>
            </a:extLst>
          </p:cNvPr>
          <p:cNvGrpSpPr/>
          <p:nvPr/>
        </p:nvGrpSpPr>
        <p:grpSpPr>
          <a:xfrm>
            <a:off x="3313017" y="5775531"/>
            <a:ext cx="516875" cy="444225"/>
            <a:chOff x="4835" y="5428107"/>
            <a:chExt cx="516875" cy="444225"/>
          </a:xfrm>
        </p:grpSpPr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id="{71F3B6A7-6974-42BB-809F-F0F30242F2D8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14" name="Group 17">
                <a:extLst>
                  <a:ext uri="{FF2B5EF4-FFF2-40B4-BE49-F238E27FC236}">
                    <a16:creationId xmlns:a16="http://schemas.microsoft.com/office/drawing/2014/main" id="{8385B10B-F841-4EC3-8B44-EEE67D59AF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17" name="Oval 42">
                  <a:extLst>
                    <a:ext uri="{FF2B5EF4-FFF2-40B4-BE49-F238E27FC236}">
                      <a16:creationId xmlns:a16="http://schemas.microsoft.com/office/drawing/2014/main" id="{F910E902-D710-448C-8187-C6693281A2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18" name="Oval 44">
                  <a:extLst>
                    <a:ext uri="{FF2B5EF4-FFF2-40B4-BE49-F238E27FC236}">
                      <a16:creationId xmlns:a16="http://schemas.microsoft.com/office/drawing/2014/main" id="{0D03B367-76B7-4D01-9812-82CAE0152D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15" name="Star: 5 Points 414">
                <a:extLst>
                  <a:ext uri="{FF2B5EF4-FFF2-40B4-BE49-F238E27FC236}">
                    <a16:creationId xmlns:a16="http://schemas.microsoft.com/office/drawing/2014/main" id="{68B506AB-DD81-422D-86A4-9A321054B72E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6" name="Star: 5 Points 415">
                <a:extLst>
                  <a:ext uri="{FF2B5EF4-FFF2-40B4-BE49-F238E27FC236}">
                    <a16:creationId xmlns:a16="http://schemas.microsoft.com/office/drawing/2014/main" id="{5C6BAE2A-FCDD-4147-B046-8E19F7321655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13" name="Star: 5 Points 412">
              <a:extLst>
                <a:ext uri="{FF2B5EF4-FFF2-40B4-BE49-F238E27FC236}">
                  <a16:creationId xmlns:a16="http://schemas.microsoft.com/office/drawing/2014/main" id="{CAA3BEA8-E914-4832-A2CE-FF0DAF4137A9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94E27156-022B-4992-876B-8AE745C4CCBE}"/>
              </a:ext>
            </a:extLst>
          </p:cNvPr>
          <p:cNvGrpSpPr/>
          <p:nvPr/>
        </p:nvGrpSpPr>
        <p:grpSpPr>
          <a:xfrm>
            <a:off x="3001308" y="5402671"/>
            <a:ext cx="516875" cy="444225"/>
            <a:chOff x="4835" y="5428107"/>
            <a:chExt cx="516875" cy="444225"/>
          </a:xfrm>
        </p:grpSpPr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E135B88A-2E6B-42FC-81F2-FB6A6AAFA4A2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22" name="Group 17">
                <a:extLst>
                  <a:ext uri="{FF2B5EF4-FFF2-40B4-BE49-F238E27FC236}">
                    <a16:creationId xmlns:a16="http://schemas.microsoft.com/office/drawing/2014/main" id="{5773DB6B-34E2-4787-A89C-8813605DAF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25" name="Oval 42">
                  <a:extLst>
                    <a:ext uri="{FF2B5EF4-FFF2-40B4-BE49-F238E27FC236}">
                      <a16:creationId xmlns:a16="http://schemas.microsoft.com/office/drawing/2014/main" id="{B3D62F77-5DDF-427C-8050-6FDD0ACF0E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26" name="Oval 44">
                  <a:extLst>
                    <a:ext uri="{FF2B5EF4-FFF2-40B4-BE49-F238E27FC236}">
                      <a16:creationId xmlns:a16="http://schemas.microsoft.com/office/drawing/2014/main" id="{E3DA2F6B-CDCC-4E95-B535-7F65CAD2D1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23" name="Star: 5 Points 422">
                <a:extLst>
                  <a:ext uri="{FF2B5EF4-FFF2-40B4-BE49-F238E27FC236}">
                    <a16:creationId xmlns:a16="http://schemas.microsoft.com/office/drawing/2014/main" id="{67F4EEA6-C4C8-4101-A393-CDC9784A947B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4" name="Star: 5 Points 423">
                <a:extLst>
                  <a:ext uri="{FF2B5EF4-FFF2-40B4-BE49-F238E27FC236}">
                    <a16:creationId xmlns:a16="http://schemas.microsoft.com/office/drawing/2014/main" id="{AD7282AE-F181-4C87-AAC0-CF0070B0DFD5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21" name="Star: 5 Points 420">
              <a:extLst>
                <a:ext uri="{FF2B5EF4-FFF2-40B4-BE49-F238E27FC236}">
                  <a16:creationId xmlns:a16="http://schemas.microsoft.com/office/drawing/2014/main" id="{B83EF796-1BA2-4C62-AD32-892A4A8E9FD3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C29BB6A5-92AD-4907-9077-01F1462FBE69}"/>
              </a:ext>
            </a:extLst>
          </p:cNvPr>
          <p:cNvGrpSpPr/>
          <p:nvPr/>
        </p:nvGrpSpPr>
        <p:grpSpPr>
          <a:xfrm>
            <a:off x="1540768" y="5891605"/>
            <a:ext cx="516875" cy="444225"/>
            <a:chOff x="4835" y="5428107"/>
            <a:chExt cx="516875" cy="444225"/>
          </a:xfrm>
        </p:grpSpPr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72CBAC40-6F5B-4EF7-93AD-E5284CD7A6D5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30" name="Group 17">
                <a:extLst>
                  <a:ext uri="{FF2B5EF4-FFF2-40B4-BE49-F238E27FC236}">
                    <a16:creationId xmlns:a16="http://schemas.microsoft.com/office/drawing/2014/main" id="{6B8A182E-86F5-44A6-BB35-153F5189505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33" name="Oval 42">
                  <a:extLst>
                    <a:ext uri="{FF2B5EF4-FFF2-40B4-BE49-F238E27FC236}">
                      <a16:creationId xmlns:a16="http://schemas.microsoft.com/office/drawing/2014/main" id="{FB368FFF-C41F-47F0-B857-91FAA3F6CA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34" name="Oval 44">
                  <a:extLst>
                    <a:ext uri="{FF2B5EF4-FFF2-40B4-BE49-F238E27FC236}">
                      <a16:creationId xmlns:a16="http://schemas.microsoft.com/office/drawing/2014/main" id="{BF68E19B-E9C7-4171-94C7-B90CEE2D90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31" name="Star: 5 Points 430">
                <a:extLst>
                  <a:ext uri="{FF2B5EF4-FFF2-40B4-BE49-F238E27FC236}">
                    <a16:creationId xmlns:a16="http://schemas.microsoft.com/office/drawing/2014/main" id="{74E8FBA1-143A-454C-9800-A70FFCEDDF0C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2" name="Star: 5 Points 431">
                <a:extLst>
                  <a:ext uri="{FF2B5EF4-FFF2-40B4-BE49-F238E27FC236}">
                    <a16:creationId xmlns:a16="http://schemas.microsoft.com/office/drawing/2014/main" id="{3F019C24-38DE-420A-BB8E-D0EE0108CEDA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29" name="Star: 5 Points 428">
              <a:extLst>
                <a:ext uri="{FF2B5EF4-FFF2-40B4-BE49-F238E27FC236}">
                  <a16:creationId xmlns:a16="http://schemas.microsoft.com/office/drawing/2014/main" id="{02307DE8-9201-4428-B1A0-02915625AB57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2C06A910-A753-4513-A981-9344214B92FC}"/>
              </a:ext>
            </a:extLst>
          </p:cNvPr>
          <p:cNvGrpSpPr/>
          <p:nvPr/>
        </p:nvGrpSpPr>
        <p:grpSpPr>
          <a:xfrm>
            <a:off x="1848815" y="5511873"/>
            <a:ext cx="516875" cy="444225"/>
            <a:chOff x="4835" y="5428107"/>
            <a:chExt cx="516875" cy="444225"/>
          </a:xfrm>
        </p:grpSpPr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6973F3E7-31C7-4124-840E-643B152A39B0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38" name="Group 17">
                <a:extLst>
                  <a:ext uri="{FF2B5EF4-FFF2-40B4-BE49-F238E27FC236}">
                    <a16:creationId xmlns:a16="http://schemas.microsoft.com/office/drawing/2014/main" id="{44E4FBAC-FC7A-487D-B2B8-0D678B66D67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41" name="Oval 42">
                  <a:extLst>
                    <a:ext uri="{FF2B5EF4-FFF2-40B4-BE49-F238E27FC236}">
                      <a16:creationId xmlns:a16="http://schemas.microsoft.com/office/drawing/2014/main" id="{E84B12B3-3CF7-493C-8F1B-05018D9D3F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42" name="Oval 44">
                  <a:extLst>
                    <a:ext uri="{FF2B5EF4-FFF2-40B4-BE49-F238E27FC236}">
                      <a16:creationId xmlns:a16="http://schemas.microsoft.com/office/drawing/2014/main" id="{1AC6EC4D-84EA-470B-8F41-EB49D5EA72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39" name="Star: 5 Points 438">
                <a:extLst>
                  <a:ext uri="{FF2B5EF4-FFF2-40B4-BE49-F238E27FC236}">
                    <a16:creationId xmlns:a16="http://schemas.microsoft.com/office/drawing/2014/main" id="{9204EB61-D877-4DCA-A43E-095EFDBBD326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0" name="Star: 5 Points 439">
                <a:extLst>
                  <a:ext uri="{FF2B5EF4-FFF2-40B4-BE49-F238E27FC236}">
                    <a16:creationId xmlns:a16="http://schemas.microsoft.com/office/drawing/2014/main" id="{38926C17-A853-4D29-84AC-F4F8ECE6951A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37" name="Star: 5 Points 436">
              <a:extLst>
                <a:ext uri="{FF2B5EF4-FFF2-40B4-BE49-F238E27FC236}">
                  <a16:creationId xmlns:a16="http://schemas.microsoft.com/office/drawing/2014/main" id="{C8E7B2BA-0671-4F4A-8820-FF0569683EFE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9F75D7CD-C721-4BDA-9E0B-C018A41C77F2}"/>
              </a:ext>
            </a:extLst>
          </p:cNvPr>
          <p:cNvGrpSpPr/>
          <p:nvPr/>
        </p:nvGrpSpPr>
        <p:grpSpPr>
          <a:xfrm>
            <a:off x="2464909" y="5491404"/>
            <a:ext cx="516875" cy="444225"/>
            <a:chOff x="4835" y="5428107"/>
            <a:chExt cx="516875" cy="444225"/>
          </a:xfrm>
        </p:grpSpPr>
        <p:grpSp>
          <p:nvGrpSpPr>
            <p:cNvPr id="444" name="Group 443">
              <a:extLst>
                <a:ext uri="{FF2B5EF4-FFF2-40B4-BE49-F238E27FC236}">
                  <a16:creationId xmlns:a16="http://schemas.microsoft.com/office/drawing/2014/main" id="{7BB6F5C7-C99D-4ADA-97A1-B830E9AF443C}"/>
                </a:ext>
              </a:extLst>
            </p:cNvPr>
            <p:cNvGrpSpPr/>
            <p:nvPr/>
          </p:nvGrpSpPr>
          <p:grpSpPr>
            <a:xfrm>
              <a:off x="4835" y="5428107"/>
              <a:ext cx="516875" cy="444225"/>
              <a:chOff x="3924241" y="3035653"/>
              <a:chExt cx="516875" cy="444225"/>
            </a:xfrm>
          </p:grpSpPr>
          <p:grpSp>
            <p:nvGrpSpPr>
              <p:cNvPr id="446" name="Group 17">
                <a:extLst>
                  <a:ext uri="{FF2B5EF4-FFF2-40B4-BE49-F238E27FC236}">
                    <a16:creationId xmlns:a16="http://schemas.microsoft.com/office/drawing/2014/main" id="{4F8326EC-9185-4EC0-B98B-62B0188AC3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241" y="3035653"/>
                <a:ext cx="516875" cy="444225"/>
                <a:chOff x="3353974" y="2066386"/>
                <a:chExt cx="623081" cy="442993"/>
              </a:xfrm>
              <a:solidFill>
                <a:schemeClr val="accent1"/>
              </a:solidFill>
            </p:grpSpPr>
            <p:sp>
              <p:nvSpPr>
                <p:cNvPr id="449" name="Oval 42">
                  <a:extLst>
                    <a:ext uri="{FF2B5EF4-FFF2-40B4-BE49-F238E27FC236}">
                      <a16:creationId xmlns:a16="http://schemas.microsoft.com/office/drawing/2014/main" id="{E0E47991-F57D-4C52-8177-ADE8C0500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3974" y="2066386"/>
                  <a:ext cx="623081" cy="442993"/>
                </a:xfrm>
                <a:prstGeom prst="ellipse">
                  <a:avLst/>
                </a:prstGeom>
                <a:grpFill/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50" name="Oval 44">
                  <a:extLst>
                    <a:ext uri="{FF2B5EF4-FFF2-40B4-BE49-F238E27FC236}">
                      <a16:creationId xmlns:a16="http://schemas.microsoft.com/office/drawing/2014/main" id="{1B79C907-3A96-45C9-82E4-FB607A37B1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4531" y="2169119"/>
                  <a:ext cx="358355" cy="23683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solidFill>
                    <a:srgbClr val="CDCDCF">
                      <a:lumMod val="10000"/>
                    </a:srgb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200">
                      <a:solidFill>
                        <a:srgbClr val="FEFDDE"/>
                      </a:solidFill>
                      <a:latin typeface="Arial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2000">
                      <a:solidFill>
                        <a:srgbClr val="FEFDDE"/>
                      </a:solidFill>
                      <a:latin typeface="Arial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>
                      <a:solidFill>
                        <a:srgbClr val="FEFDDE"/>
                      </a:solidFill>
                      <a:latin typeface="Arial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charset="0"/>
                    <a:buChar char="–"/>
                    <a:defRPr sz="1600">
                      <a:solidFill>
                        <a:srgbClr val="FEFDDE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1600" b="0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sp>
            <p:nvSpPr>
              <p:cNvPr id="447" name="Star: 5 Points 446">
                <a:extLst>
                  <a:ext uri="{FF2B5EF4-FFF2-40B4-BE49-F238E27FC236}">
                    <a16:creationId xmlns:a16="http://schemas.microsoft.com/office/drawing/2014/main" id="{298C90EB-A8B7-4865-9226-A50D41202EA8}"/>
                  </a:ext>
                </a:extLst>
              </p:cNvPr>
              <p:cNvSpPr/>
              <p:nvPr/>
            </p:nvSpPr>
            <p:spPr>
              <a:xfrm>
                <a:off x="4041266" y="3179533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8" name="Star: 5 Points 447">
                <a:extLst>
                  <a:ext uri="{FF2B5EF4-FFF2-40B4-BE49-F238E27FC236}">
                    <a16:creationId xmlns:a16="http://schemas.microsoft.com/office/drawing/2014/main" id="{E3EBAD58-A89A-46D3-AB77-90B189027EA0}"/>
                  </a:ext>
                </a:extLst>
              </p:cNvPr>
              <p:cNvSpPr/>
              <p:nvPr/>
            </p:nvSpPr>
            <p:spPr>
              <a:xfrm rot="19471896">
                <a:off x="4147998" y="3179534"/>
                <a:ext cx="105257" cy="97739"/>
              </a:xfrm>
              <a:prstGeom prst="star5">
                <a:avLst/>
              </a:prstGeom>
              <a:solidFill>
                <a:srgbClr val="FF0000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45" name="Star: 5 Points 444">
              <a:extLst>
                <a:ext uri="{FF2B5EF4-FFF2-40B4-BE49-F238E27FC236}">
                  <a16:creationId xmlns:a16="http://schemas.microsoft.com/office/drawing/2014/main" id="{60EDBF06-FE75-4B87-AD0E-49A035595AC6}"/>
                </a:ext>
              </a:extLst>
            </p:cNvPr>
            <p:cNvSpPr/>
            <p:nvPr/>
          </p:nvSpPr>
          <p:spPr>
            <a:xfrm rot="21001088">
              <a:off x="175483" y="5643439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1D0EE7A-8242-E543-8A16-B6C3C02BC5DC}"/>
              </a:ext>
            </a:extLst>
          </p:cNvPr>
          <p:cNvCxnSpPr>
            <a:cxnSpLocks/>
            <a:stCxn id="35" idx="4"/>
            <a:endCxn id="3" idx="1"/>
          </p:cNvCxnSpPr>
          <p:nvPr/>
        </p:nvCxnSpPr>
        <p:spPr>
          <a:xfrm flipV="1">
            <a:off x="2365603" y="2129506"/>
            <a:ext cx="2641040" cy="159584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E4F87490-D3FA-4D7B-B650-E2FE00DFADE2}"/>
              </a:ext>
            </a:extLst>
          </p:cNvPr>
          <p:cNvCxnSpPr>
            <a:cxnSpLocks/>
            <a:stCxn id="249" idx="4"/>
            <a:endCxn id="79" idx="1"/>
          </p:cNvCxnSpPr>
          <p:nvPr/>
        </p:nvCxnSpPr>
        <p:spPr>
          <a:xfrm flipV="1">
            <a:off x="2999861" y="3623044"/>
            <a:ext cx="6951936" cy="8072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FD8B93EE-7E35-41CE-A2DE-A88371DAABDC}"/>
              </a:ext>
            </a:extLst>
          </p:cNvPr>
          <p:cNvCxnSpPr>
            <a:cxnSpLocks/>
            <a:stCxn id="392" idx="3"/>
            <a:endCxn id="82" idx="1"/>
          </p:cNvCxnSpPr>
          <p:nvPr/>
        </p:nvCxnSpPr>
        <p:spPr>
          <a:xfrm flipV="1">
            <a:off x="2473531" y="4982794"/>
            <a:ext cx="5067129" cy="355461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58204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6B691-A628-4062-B5A9-2C288AEDA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640" y="238127"/>
            <a:ext cx="11582241" cy="1103313"/>
          </a:xfrm>
        </p:spPr>
        <p:txBody>
          <a:bodyPr/>
          <a:lstStyle/>
          <a:p>
            <a:r>
              <a:rPr lang="en-US" sz="3350" dirty="0"/>
              <a:t>Different Types of Damage Trigger Distinct Repair Mechanism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183E0E-895D-479F-9F57-70E7384395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1820" y="3519054"/>
            <a:ext cx="5309278" cy="2670413"/>
          </a:xfrm>
        </p:spPr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Single-stranded DNA damage</a:t>
            </a:r>
          </a:p>
          <a:p>
            <a:pPr lvl="1"/>
            <a:r>
              <a:rPr lang="en-US" dirty="0"/>
              <a:t>Usually less severe</a:t>
            </a:r>
          </a:p>
          <a:p>
            <a:pPr lvl="1"/>
            <a:r>
              <a:rPr lang="en-US" dirty="0"/>
              <a:t>Opposite strand is repair templa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54C274B-D65A-40EE-9802-12F98A0C24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2634" y="3519366"/>
            <a:ext cx="5229570" cy="2670826"/>
          </a:xfrm>
        </p:spPr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Double-stranded DNA break</a:t>
            </a:r>
          </a:p>
          <a:p>
            <a:pPr lvl="1"/>
            <a:r>
              <a:rPr lang="en-US" dirty="0"/>
              <a:t>More severe</a:t>
            </a:r>
          </a:p>
          <a:p>
            <a:pPr lvl="1"/>
            <a:r>
              <a:rPr lang="en-US" dirty="0"/>
              <a:t>Perfect repair requires copying from other chromosome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FFF179F-696F-40CC-8613-B6A3E781353A}"/>
              </a:ext>
            </a:extLst>
          </p:cNvPr>
          <p:cNvGrpSpPr/>
          <p:nvPr/>
        </p:nvGrpSpPr>
        <p:grpSpPr>
          <a:xfrm>
            <a:off x="1229046" y="2381352"/>
            <a:ext cx="3260885" cy="540769"/>
            <a:chOff x="927294" y="2381352"/>
            <a:chExt cx="3260885" cy="540769"/>
          </a:xfrm>
        </p:grpSpPr>
        <p:sp>
          <p:nvSpPr>
            <p:cNvPr id="7" name="AutoShape 76">
              <a:extLst>
                <a:ext uri="{FF2B5EF4-FFF2-40B4-BE49-F238E27FC236}">
                  <a16:creationId xmlns:a16="http://schemas.microsoft.com/office/drawing/2014/main" id="{CC3EF26C-21B2-4A96-8F71-DD5ED9614B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27294" y="2381352"/>
              <a:ext cx="3260885" cy="540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" name="Freeform 78">
              <a:extLst>
                <a:ext uri="{FF2B5EF4-FFF2-40B4-BE49-F238E27FC236}">
                  <a16:creationId xmlns:a16="http://schemas.microsoft.com/office/drawing/2014/main" id="{22C99227-2D41-44C3-9055-D2EF3834B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280" y="2384368"/>
              <a:ext cx="1264556" cy="527947"/>
            </a:xfrm>
            <a:custGeom>
              <a:avLst/>
              <a:gdLst>
                <a:gd name="T0" fmla="*/ 815 w 1182"/>
                <a:gd name="T1" fmla="*/ 681 h 700"/>
                <a:gd name="T2" fmla="*/ 852 w 1182"/>
                <a:gd name="T3" fmla="*/ 670 h 700"/>
                <a:gd name="T4" fmla="*/ 884 w 1182"/>
                <a:gd name="T5" fmla="*/ 647 h 700"/>
                <a:gd name="T6" fmla="*/ 916 w 1182"/>
                <a:gd name="T7" fmla="*/ 613 h 700"/>
                <a:gd name="T8" fmla="*/ 955 w 1182"/>
                <a:gd name="T9" fmla="*/ 555 h 700"/>
                <a:gd name="T10" fmla="*/ 1011 w 1182"/>
                <a:gd name="T11" fmla="*/ 449 h 700"/>
                <a:gd name="T12" fmla="*/ 1090 w 1182"/>
                <a:gd name="T13" fmla="*/ 290 h 700"/>
                <a:gd name="T14" fmla="*/ 1134 w 1182"/>
                <a:gd name="T15" fmla="*/ 213 h 700"/>
                <a:gd name="T16" fmla="*/ 1182 w 1182"/>
                <a:gd name="T17" fmla="*/ 316 h 700"/>
                <a:gd name="T18" fmla="*/ 1112 w 1182"/>
                <a:gd name="T19" fmla="*/ 454 h 700"/>
                <a:gd name="T20" fmla="*/ 1053 w 1182"/>
                <a:gd name="T21" fmla="*/ 549 h 700"/>
                <a:gd name="T22" fmla="*/ 994 w 1182"/>
                <a:gd name="T23" fmla="*/ 617 h 700"/>
                <a:gd name="T24" fmla="*/ 956 w 1182"/>
                <a:gd name="T25" fmla="*/ 649 h 700"/>
                <a:gd name="T26" fmla="*/ 915 w 1182"/>
                <a:gd name="T27" fmla="*/ 674 h 700"/>
                <a:gd name="T28" fmla="*/ 868 w 1182"/>
                <a:gd name="T29" fmla="*/ 692 h 700"/>
                <a:gd name="T30" fmla="*/ 819 w 1182"/>
                <a:gd name="T31" fmla="*/ 700 h 700"/>
                <a:gd name="T32" fmla="*/ 785 w 1182"/>
                <a:gd name="T33" fmla="*/ 700 h 700"/>
                <a:gd name="T34" fmla="*/ 740 w 1182"/>
                <a:gd name="T35" fmla="*/ 692 h 700"/>
                <a:gd name="T36" fmla="*/ 699 w 1182"/>
                <a:gd name="T37" fmla="*/ 676 h 700"/>
                <a:gd name="T38" fmla="*/ 661 w 1182"/>
                <a:gd name="T39" fmla="*/ 654 h 700"/>
                <a:gd name="T40" fmla="*/ 613 w 1182"/>
                <a:gd name="T41" fmla="*/ 616 h 700"/>
                <a:gd name="T42" fmla="*/ 553 w 1182"/>
                <a:gd name="T43" fmla="*/ 540 h 700"/>
                <a:gd name="T44" fmla="*/ 500 w 1182"/>
                <a:gd name="T45" fmla="*/ 453 h 700"/>
                <a:gd name="T46" fmla="*/ 453 w 1182"/>
                <a:gd name="T47" fmla="*/ 359 h 700"/>
                <a:gd name="T48" fmla="*/ 351 w 1182"/>
                <a:gd name="T49" fmla="*/ 151 h 700"/>
                <a:gd name="T50" fmla="*/ 307 w 1182"/>
                <a:gd name="T51" fmla="*/ 82 h 700"/>
                <a:gd name="T52" fmla="*/ 266 w 1182"/>
                <a:gd name="T53" fmla="*/ 42 h 700"/>
                <a:gd name="T54" fmla="*/ 239 w 1182"/>
                <a:gd name="T55" fmla="*/ 26 h 700"/>
                <a:gd name="T56" fmla="*/ 210 w 1182"/>
                <a:gd name="T57" fmla="*/ 20 h 700"/>
                <a:gd name="T58" fmla="*/ 189 w 1182"/>
                <a:gd name="T59" fmla="*/ 18 h 700"/>
                <a:gd name="T60" fmla="*/ 156 w 1182"/>
                <a:gd name="T61" fmla="*/ 27 h 700"/>
                <a:gd name="T62" fmla="*/ 127 w 1182"/>
                <a:gd name="T63" fmla="*/ 46 h 700"/>
                <a:gd name="T64" fmla="*/ 97 w 1182"/>
                <a:gd name="T65" fmla="*/ 74 h 700"/>
                <a:gd name="T66" fmla="*/ 45 w 1182"/>
                <a:gd name="T67" fmla="*/ 151 h 700"/>
                <a:gd name="T68" fmla="*/ 22 w 1182"/>
                <a:gd name="T69" fmla="*/ 119 h 700"/>
                <a:gd name="T70" fmla="*/ 21 w 1182"/>
                <a:gd name="T71" fmla="*/ 71 h 700"/>
                <a:gd name="T72" fmla="*/ 77 w 1182"/>
                <a:gd name="T73" fmla="*/ 31 h 700"/>
                <a:gd name="T74" fmla="*/ 115 w 1182"/>
                <a:gd name="T75" fmla="*/ 14 h 700"/>
                <a:gd name="T76" fmla="*/ 156 w 1182"/>
                <a:gd name="T77" fmla="*/ 4 h 700"/>
                <a:gd name="T78" fmla="*/ 201 w 1182"/>
                <a:gd name="T79" fmla="*/ 0 h 700"/>
                <a:gd name="T80" fmla="*/ 232 w 1182"/>
                <a:gd name="T81" fmla="*/ 3 h 700"/>
                <a:gd name="T82" fmla="*/ 277 w 1182"/>
                <a:gd name="T83" fmla="*/ 13 h 700"/>
                <a:gd name="T84" fmla="*/ 318 w 1182"/>
                <a:gd name="T85" fmla="*/ 31 h 700"/>
                <a:gd name="T86" fmla="*/ 355 w 1182"/>
                <a:gd name="T87" fmla="*/ 55 h 700"/>
                <a:gd name="T88" fmla="*/ 411 w 1182"/>
                <a:gd name="T89" fmla="*/ 108 h 700"/>
                <a:gd name="T90" fmla="*/ 470 w 1182"/>
                <a:gd name="T91" fmla="*/ 188 h 700"/>
                <a:gd name="T92" fmla="*/ 519 w 1182"/>
                <a:gd name="T93" fmla="*/ 278 h 700"/>
                <a:gd name="T94" fmla="*/ 621 w 1182"/>
                <a:gd name="T95" fmla="*/ 496 h 700"/>
                <a:gd name="T96" fmla="*/ 665 w 1182"/>
                <a:gd name="T97" fmla="*/ 575 h 700"/>
                <a:gd name="T98" fmla="*/ 711 w 1182"/>
                <a:gd name="T99" fmla="*/ 637 h 700"/>
                <a:gd name="T100" fmla="*/ 745 w 1182"/>
                <a:gd name="T101" fmla="*/ 665 h 700"/>
                <a:gd name="T102" fmla="*/ 772 w 1182"/>
                <a:gd name="T103" fmla="*/ 677 h 700"/>
                <a:gd name="T104" fmla="*/ 802 w 1182"/>
                <a:gd name="T105" fmla="*/ 682 h 7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2" h="700">
                  <a:moveTo>
                    <a:pt x="802" y="682"/>
                  </a:moveTo>
                  <a:lnTo>
                    <a:pt x="802" y="682"/>
                  </a:lnTo>
                  <a:lnTo>
                    <a:pt x="815" y="681"/>
                  </a:lnTo>
                  <a:lnTo>
                    <a:pt x="827" y="679"/>
                  </a:lnTo>
                  <a:lnTo>
                    <a:pt x="839" y="675"/>
                  </a:lnTo>
                  <a:lnTo>
                    <a:pt x="852" y="670"/>
                  </a:lnTo>
                  <a:lnTo>
                    <a:pt x="863" y="664"/>
                  </a:lnTo>
                  <a:lnTo>
                    <a:pt x="874" y="656"/>
                  </a:lnTo>
                  <a:lnTo>
                    <a:pt x="884" y="647"/>
                  </a:lnTo>
                  <a:lnTo>
                    <a:pt x="895" y="637"/>
                  </a:lnTo>
                  <a:lnTo>
                    <a:pt x="906" y="626"/>
                  </a:lnTo>
                  <a:lnTo>
                    <a:pt x="916" y="613"/>
                  </a:lnTo>
                  <a:lnTo>
                    <a:pt x="926" y="600"/>
                  </a:lnTo>
                  <a:lnTo>
                    <a:pt x="936" y="586"/>
                  </a:lnTo>
                  <a:lnTo>
                    <a:pt x="955" y="555"/>
                  </a:lnTo>
                  <a:lnTo>
                    <a:pt x="974" y="521"/>
                  </a:lnTo>
                  <a:lnTo>
                    <a:pt x="993" y="486"/>
                  </a:lnTo>
                  <a:lnTo>
                    <a:pt x="1011" y="449"/>
                  </a:lnTo>
                  <a:lnTo>
                    <a:pt x="1049" y="369"/>
                  </a:lnTo>
                  <a:lnTo>
                    <a:pt x="1070" y="330"/>
                  </a:lnTo>
                  <a:lnTo>
                    <a:pt x="1090" y="290"/>
                  </a:lnTo>
                  <a:lnTo>
                    <a:pt x="1111" y="250"/>
                  </a:lnTo>
                  <a:lnTo>
                    <a:pt x="1134" y="213"/>
                  </a:lnTo>
                  <a:lnTo>
                    <a:pt x="1158" y="264"/>
                  </a:lnTo>
                  <a:lnTo>
                    <a:pt x="1182" y="316"/>
                  </a:lnTo>
                  <a:lnTo>
                    <a:pt x="1148" y="386"/>
                  </a:lnTo>
                  <a:lnTo>
                    <a:pt x="1130" y="421"/>
                  </a:lnTo>
                  <a:lnTo>
                    <a:pt x="1112" y="454"/>
                  </a:lnTo>
                  <a:lnTo>
                    <a:pt x="1093" y="487"/>
                  </a:lnTo>
                  <a:lnTo>
                    <a:pt x="1073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7" y="604"/>
                  </a:lnTo>
                  <a:lnTo>
                    <a:pt x="994" y="617"/>
                  </a:lnTo>
                  <a:lnTo>
                    <a:pt x="982" y="628"/>
                  </a:lnTo>
                  <a:lnTo>
                    <a:pt x="970" y="639"/>
                  </a:lnTo>
                  <a:lnTo>
                    <a:pt x="956" y="649"/>
                  </a:lnTo>
                  <a:lnTo>
                    <a:pt x="943" y="658"/>
                  </a:lnTo>
                  <a:lnTo>
                    <a:pt x="929" y="667"/>
                  </a:lnTo>
                  <a:lnTo>
                    <a:pt x="915" y="674"/>
                  </a:lnTo>
                  <a:lnTo>
                    <a:pt x="900" y="681"/>
                  </a:lnTo>
                  <a:lnTo>
                    <a:pt x="884" y="687"/>
                  </a:lnTo>
                  <a:lnTo>
                    <a:pt x="868" y="692"/>
                  </a:lnTo>
                  <a:lnTo>
                    <a:pt x="853" y="695"/>
                  </a:lnTo>
                  <a:lnTo>
                    <a:pt x="836" y="698"/>
                  </a:lnTo>
                  <a:lnTo>
                    <a:pt x="819" y="700"/>
                  </a:lnTo>
                  <a:lnTo>
                    <a:pt x="801" y="700"/>
                  </a:lnTo>
                  <a:lnTo>
                    <a:pt x="785" y="700"/>
                  </a:lnTo>
                  <a:lnTo>
                    <a:pt x="770" y="697"/>
                  </a:lnTo>
                  <a:lnTo>
                    <a:pt x="755" y="695"/>
                  </a:lnTo>
                  <a:lnTo>
                    <a:pt x="740" y="692"/>
                  </a:lnTo>
                  <a:lnTo>
                    <a:pt x="726" y="687"/>
                  </a:lnTo>
                  <a:lnTo>
                    <a:pt x="712" y="683"/>
                  </a:lnTo>
                  <a:lnTo>
                    <a:pt x="699" y="676"/>
                  </a:lnTo>
                  <a:lnTo>
                    <a:pt x="685" y="669"/>
                  </a:lnTo>
                  <a:lnTo>
                    <a:pt x="673" y="663"/>
                  </a:lnTo>
                  <a:lnTo>
                    <a:pt x="661" y="654"/>
                  </a:lnTo>
                  <a:lnTo>
                    <a:pt x="648" y="646"/>
                  </a:lnTo>
                  <a:lnTo>
                    <a:pt x="636" y="636"/>
                  </a:lnTo>
                  <a:lnTo>
                    <a:pt x="613" y="616"/>
                  </a:lnTo>
                  <a:lnTo>
                    <a:pt x="592" y="592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4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3" y="422"/>
                  </a:lnTo>
                  <a:lnTo>
                    <a:pt x="453" y="359"/>
                  </a:lnTo>
                  <a:lnTo>
                    <a:pt x="394" y="235"/>
                  </a:lnTo>
                  <a:lnTo>
                    <a:pt x="366" y="177"/>
                  </a:lnTo>
                  <a:lnTo>
                    <a:pt x="351" y="151"/>
                  </a:lnTo>
                  <a:lnTo>
                    <a:pt x="337" y="126"/>
                  </a:lnTo>
                  <a:lnTo>
                    <a:pt x="322" y="102"/>
                  </a:lnTo>
                  <a:lnTo>
                    <a:pt x="307" y="82"/>
                  </a:lnTo>
                  <a:lnTo>
                    <a:pt x="291" y="63"/>
                  </a:lnTo>
                  <a:lnTo>
                    <a:pt x="274" y="49"/>
                  </a:lnTo>
                  <a:lnTo>
                    <a:pt x="266" y="42"/>
                  </a:lnTo>
                  <a:lnTo>
                    <a:pt x="257" y="35"/>
                  </a:lnTo>
                  <a:lnTo>
                    <a:pt x="248" y="31"/>
                  </a:lnTo>
                  <a:lnTo>
                    <a:pt x="239" y="26"/>
                  </a:lnTo>
                  <a:lnTo>
                    <a:pt x="230" y="23"/>
                  </a:lnTo>
                  <a:lnTo>
                    <a:pt x="220" y="21"/>
                  </a:lnTo>
                  <a:lnTo>
                    <a:pt x="210" y="20"/>
                  </a:lnTo>
                  <a:lnTo>
                    <a:pt x="201" y="18"/>
                  </a:lnTo>
                  <a:lnTo>
                    <a:pt x="189" y="18"/>
                  </a:lnTo>
                  <a:lnTo>
                    <a:pt x="178" y="21"/>
                  </a:lnTo>
                  <a:lnTo>
                    <a:pt x="167" y="24"/>
                  </a:lnTo>
                  <a:lnTo>
                    <a:pt x="156" y="27"/>
                  </a:lnTo>
                  <a:lnTo>
                    <a:pt x="146" y="33"/>
                  </a:lnTo>
                  <a:lnTo>
                    <a:pt x="136" y="40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6" y="64"/>
                  </a:lnTo>
                  <a:lnTo>
                    <a:pt x="97" y="74"/>
                  </a:lnTo>
                  <a:lnTo>
                    <a:pt x="80" y="97"/>
                  </a:lnTo>
                  <a:lnTo>
                    <a:pt x="62" y="123"/>
                  </a:lnTo>
                  <a:lnTo>
                    <a:pt x="45" y="151"/>
                  </a:lnTo>
                  <a:lnTo>
                    <a:pt x="33" y="135"/>
                  </a:lnTo>
                  <a:lnTo>
                    <a:pt x="22" y="119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2" y="53"/>
                  </a:lnTo>
                  <a:lnTo>
                    <a:pt x="66" y="37"/>
                  </a:lnTo>
                  <a:lnTo>
                    <a:pt x="77" y="31"/>
                  </a:lnTo>
                  <a:lnTo>
                    <a:pt x="90" y="24"/>
                  </a:lnTo>
                  <a:lnTo>
                    <a:pt x="103" y="18"/>
                  </a:lnTo>
                  <a:lnTo>
                    <a:pt x="115" y="14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6" y="4"/>
                  </a:lnTo>
                  <a:lnTo>
                    <a:pt x="171" y="2"/>
                  </a:lnTo>
                  <a:lnTo>
                    <a:pt x="185" y="0"/>
                  </a:lnTo>
                  <a:lnTo>
                    <a:pt x="201" y="0"/>
                  </a:lnTo>
                  <a:lnTo>
                    <a:pt x="217" y="0"/>
                  </a:lnTo>
                  <a:lnTo>
                    <a:pt x="232" y="3"/>
                  </a:lnTo>
                  <a:lnTo>
                    <a:pt x="248" y="5"/>
                  </a:lnTo>
                  <a:lnTo>
                    <a:pt x="263" y="8"/>
                  </a:lnTo>
                  <a:lnTo>
                    <a:pt x="277" y="13"/>
                  </a:lnTo>
                  <a:lnTo>
                    <a:pt x="291" y="18"/>
                  </a:lnTo>
                  <a:lnTo>
                    <a:pt x="304" y="24"/>
                  </a:lnTo>
                  <a:lnTo>
                    <a:pt x="318" y="31"/>
                  </a:lnTo>
                  <a:lnTo>
                    <a:pt x="330" y="37"/>
                  </a:lnTo>
                  <a:lnTo>
                    <a:pt x="344" y="46"/>
                  </a:lnTo>
                  <a:lnTo>
                    <a:pt x="355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1" y="108"/>
                  </a:lnTo>
                  <a:lnTo>
                    <a:pt x="431" y="133"/>
                  </a:lnTo>
                  <a:lnTo>
                    <a:pt x="450" y="160"/>
                  </a:lnTo>
                  <a:lnTo>
                    <a:pt x="470" y="188"/>
                  </a:lnTo>
                  <a:lnTo>
                    <a:pt x="486" y="217"/>
                  </a:lnTo>
                  <a:lnTo>
                    <a:pt x="503" y="247"/>
                  </a:lnTo>
                  <a:lnTo>
                    <a:pt x="519" y="278"/>
                  </a:lnTo>
                  <a:lnTo>
                    <a:pt x="550" y="341"/>
                  </a:lnTo>
                  <a:lnTo>
                    <a:pt x="608" y="467"/>
                  </a:lnTo>
                  <a:lnTo>
                    <a:pt x="621" y="496"/>
                  </a:lnTo>
                  <a:lnTo>
                    <a:pt x="636" y="524"/>
                  </a:lnTo>
                  <a:lnTo>
                    <a:pt x="650" y="549"/>
                  </a:lnTo>
                  <a:lnTo>
                    <a:pt x="665" y="575"/>
                  </a:lnTo>
                  <a:lnTo>
                    <a:pt x="680" y="598"/>
                  </a:lnTo>
                  <a:lnTo>
                    <a:pt x="695" y="618"/>
                  </a:lnTo>
                  <a:lnTo>
                    <a:pt x="711" y="637"/>
                  </a:lnTo>
                  <a:lnTo>
                    <a:pt x="727" y="651"/>
                  </a:lnTo>
                  <a:lnTo>
                    <a:pt x="736" y="658"/>
                  </a:lnTo>
                  <a:lnTo>
                    <a:pt x="745" y="665"/>
                  </a:lnTo>
                  <a:lnTo>
                    <a:pt x="754" y="669"/>
                  </a:lnTo>
                  <a:lnTo>
                    <a:pt x="763" y="674"/>
                  </a:lnTo>
                  <a:lnTo>
                    <a:pt x="772" y="677"/>
                  </a:lnTo>
                  <a:lnTo>
                    <a:pt x="782" y="679"/>
                  </a:lnTo>
                  <a:lnTo>
                    <a:pt x="792" y="682"/>
                  </a:lnTo>
                  <a:lnTo>
                    <a:pt x="802" y="6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79">
              <a:extLst>
                <a:ext uri="{FF2B5EF4-FFF2-40B4-BE49-F238E27FC236}">
                  <a16:creationId xmlns:a16="http://schemas.microsoft.com/office/drawing/2014/main" id="{AB767478-A6A4-497B-B600-39140D57E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280" y="2394928"/>
              <a:ext cx="215039" cy="113131"/>
            </a:xfrm>
            <a:custGeom>
              <a:avLst/>
              <a:gdLst>
                <a:gd name="T0" fmla="*/ 44 w 201"/>
                <a:gd name="T1" fmla="*/ 150 h 150"/>
                <a:gd name="T2" fmla="*/ 44 w 201"/>
                <a:gd name="T3" fmla="*/ 150 h 150"/>
                <a:gd name="T4" fmla="*/ 62 w 201"/>
                <a:gd name="T5" fmla="*/ 122 h 150"/>
                <a:gd name="T6" fmla="*/ 80 w 201"/>
                <a:gd name="T7" fmla="*/ 96 h 150"/>
                <a:gd name="T8" fmla="*/ 98 w 201"/>
                <a:gd name="T9" fmla="*/ 74 h 150"/>
                <a:gd name="T10" fmla="*/ 107 w 201"/>
                <a:gd name="T11" fmla="*/ 64 h 150"/>
                <a:gd name="T12" fmla="*/ 117 w 201"/>
                <a:gd name="T13" fmla="*/ 55 h 150"/>
                <a:gd name="T14" fmla="*/ 126 w 201"/>
                <a:gd name="T15" fmla="*/ 46 h 150"/>
                <a:gd name="T16" fmla="*/ 136 w 201"/>
                <a:gd name="T17" fmla="*/ 39 h 150"/>
                <a:gd name="T18" fmla="*/ 146 w 201"/>
                <a:gd name="T19" fmla="*/ 32 h 150"/>
                <a:gd name="T20" fmla="*/ 156 w 201"/>
                <a:gd name="T21" fmla="*/ 27 h 150"/>
                <a:gd name="T22" fmla="*/ 167 w 201"/>
                <a:gd name="T23" fmla="*/ 23 h 150"/>
                <a:gd name="T24" fmla="*/ 177 w 201"/>
                <a:gd name="T25" fmla="*/ 20 h 150"/>
                <a:gd name="T26" fmla="*/ 189 w 201"/>
                <a:gd name="T27" fmla="*/ 18 h 150"/>
                <a:gd name="T28" fmla="*/ 200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5 w 201"/>
                <a:gd name="T35" fmla="*/ 0 h 150"/>
                <a:gd name="T36" fmla="*/ 171 w 201"/>
                <a:gd name="T37" fmla="*/ 1 h 150"/>
                <a:gd name="T38" fmla="*/ 156 w 201"/>
                <a:gd name="T39" fmla="*/ 2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3 h 150"/>
                <a:gd name="T46" fmla="*/ 102 w 201"/>
                <a:gd name="T47" fmla="*/ 18 h 150"/>
                <a:gd name="T48" fmla="*/ 90 w 201"/>
                <a:gd name="T49" fmla="*/ 23 h 150"/>
                <a:gd name="T50" fmla="*/ 77 w 201"/>
                <a:gd name="T51" fmla="*/ 30 h 150"/>
                <a:gd name="T52" fmla="*/ 65 w 201"/>
                <a:gd name="T53" fmla="*/ 37 h 150"/>
                <a:gd name="T54" fmla="*/ 43 w 201"/>
                <a:gd name="T55" fmla="*/ 53 h 150"/>
                <a:gd name="T56" fmla="*/ 20 w 201"/>
                <a:gd name="T57" fmla="*/ 71 h 150"/>
                <a:gd name="T58" fmla="*/ 0 w 201"/>
                <a:gd name="T59" fmla="*/ 90 h 150"/>
                <a:gd name="T60" fmla="*/ 0 w 201"/>
                <a:gd name="T61" fmla="*/ 90 h 150"/>
                <a:gd name="T62" fmla="*/ 22 w 201"/>
                <a:gd name="T63" fmla="*/ 119 h 150"/>
                <a:gd name="T64" fmla="*/ 34 w 201"/>
                <a:gd name="T65" fmla="*/ 134 h 150"/>
                <a:gd name="T66" fmla="*/ 44 w 201"/>
                <a:gd name="T67" fmla="*/ 150 h 150"/>
                <a:gd name="T68" fmla="*/ 44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4" y="150"/>
                  </a:moveTo>
                  <a:lnTo>
                    <a:pt x="44" y="150"/>
                  </a:lnTo>
                  <a:lnTo>
                    <a:pt x="62" y="122"/>
                  </a:lnTo>
                  <a:lnTo>
                    <a:pt x="80" y="96"/>
                  </a:lnTo>
                  <a:lnTo>
                    <a:pt x="98" y="74"/>
                  </a:lnTo>
                  <a:lnTo>
                    <a:pt x="107" y="64"/>
                  </a:lnTo>
                  <a:lnTo>
                    <a:pt x="117" y="55"/>
                  </a:lnTo>
                  <a:lnTo>
                    <a:pt x="126" y="46"/>
                  </a:lnTo>
                  <a:lnTo>
                    <a:pt x="136" y="39"/>
                  </a:lnTo>
                  <a:lnTo>
                    <a:pt x="146" y="32"/>
                  </a:lnTo>
                  <a:lnTo>
                    <a:pt x="156" y="27"/>
                  </a:lnTo>
                  <a:lnTo>
                    <a:pt x="167" y="23"/>
                  </a:lnTo>
                  <a:lnTo>
                    <a:pt x="177" y="20"/>
                  </a:lnTo>
                  <a:lnTo>
                    <a:pt x="189" y="18"/>
                  </a:lnTo>
                  <a:lnTo>
                    <a:pt x="200" y="18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71" y="1"/>
                  </a:lnTo>
                  <a:lnTo>
                    <a:pt x="156" y="2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3"/>
                  </a:lnTo>
                  <a:lnTo>
                    <a:pt x="102" y="18"/>
                  </a:lnTo>
                  <a:lnTo>
                    <a:pt x="90" y="23"/>
                  </a:lnTo>
                  <a:lnTo>
                    <a:pt x="77" y="30"/>
                  </a:lnTo>
                  <a:lnTo>
                    <a:pt x="65" y="37"/>
                  </a:lnTo>
                  <a:lnTo>
                    <a:pt x="43" y="53"/>
                  </a:lnTo>
                  <a:lnTo>
                    <a:pt x="20" y="71"/>
                  </a:lnTo>
                  <a:lnTo>
                    <a:pt x="0" y="90"/>
                  </a:lnTo>
                  <a:lnTo>
                    <a:pt x="22" y="119"/>
                  </a:lnTo>
                  <a:lnTo>
                    <a:pt x="34" y="134"/>
                  </a:lnTo>
                  <a:lnTo>
                    <a:pt x="44" y="150"/>
                  </a:lnTo>
                  <a:close/>
                </a:path>
              </a:pathLst>
            </a:custGeom>
            <a:solidFill>
              <a:srgbClr val="CD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80">
              <a:extLst>
                <a:ext uri="{FF2B5EF4-FFF2-40B4-BE49-F238E27FC236}">
                  <a16:creationId xmlns:a16="http://schemas.microsoft.com/office/drawing/2014/main" id="{906DCB28-6BC3-4FB6-ADF2-2CAF00DFD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294" y="2535211"/>
              <a:ext cx="406541" cy="367300"/>
            </a:xfrm>
            <a:custGeom>
              <a:avLst/>
              <a:gdLst>
                <a:gd name="T0" fmla="*/ 380 w 380"/>
                <a:gd name="T1" fmla="*/ 104 h 487"/>
                <a:gd name="T2" fmla="*/ 380 w 380"/>
                <a:gd name="T3" fmla="*/ 104 h 487"/>
                <a:gd name="T4" fmla="*/ 356 w 380"/>
                <a:gd name="T5" fmla="*/ 50 h 487"/>
                <a:gd name="T6" fmla="*/ 332 w 380"/>
                <a:gd name="T7" fmla="*/ 0 h 487"/>
                <a:gd name="T8" fmla="*/ 332 w 380"/>
                <a:gd name="T9" fmla="*/ 0 h 487"/>
                <a:gd name="T10" fmla="*/ 309 w 380"/>
                <a:gd name="T11" fmla="*/ 38 h 487"/>
                <a:gd name="T12" fmla="*/ 288 w 380"/>
                <a:gd name="T13" fmla="*/ 77 h 487"/>
                <a:gd name="T14" fmla="*/ 267 w 380"/>
                <a:gd name="T15" fmla="*/ 116 h 487"/>
                <a:gd name="T16" fmla="*/ 247 w 380"/>
                <a:gd name="T17" fmla="*/ 157 h 487"/>
                <a:gd name="T18" fmla="*/ 210 w 380"/>
                <a:gd name="T19" fmla="*/ 235 h 487"/>
                <a:gd name="T20" fmla="*/ 191 w 380"/>
                <a:gd name="T21" fmla="*/ 273 h 487"/>
                <a:gd name="T22" fmla="*/ 172 w 380"/>
                <a:gd name="T23" fmla="*/ 309 h 487"/>
                <a:gd name="T24" fmla="*/ 153 w 380"/>
                <a:gd name="T25" fmla="*/ 343 h 487"/>
                <a:gd name="T26" fmla="*/ 134 w 380"/>
                <a:gd name="T27" fmla="*/ 373 h 487"/>
                <a:gd name="T28" fmla="*/ 125 w 380"/>
                <a:gd name="T29" fmla="*/ 388 h 487"/>
                <a:gd name="T30" fmla="*/ 115 w 380"/>
                <a:gd name="T31" fmla="*/ 401 h 487"/>
                <a:gd name="T32" fmla="*/ 105 w 380"/>
                <a:gd name="T33" fmla="*/ 412 h 487"/>
                <a:gd name="T34" fmla="*/ 93 w 380"/>
                <a:gd name="T35" fmla="*/ 423 h 487"/>
                <a:gd name="T36" fmla="*/ 83 w 380"/>
                <a:gd name="T37" fmla="*/ 435 h 487"/>
                <a:gd name="T38" fmla="*/ 72 w 380"/>
                <a:gd name="T39" fmla="*/ 444 h 487"/>
                <a:gd name="T40" fmla="*/ 61 w 380"/>
                <a:gd name="T41" fmla="*/ 450 h 487"/>
                <a:gd name="T42" fmla="*/ 49 w 380"/>
                <a:gd name="T43" fmla="*/ 457 h 487"/>
                <a:gd name="T44" fmla="*/ 37 w 380"/>
                <a:gd name="T45" fmla="*/ 463 h 487"/>
                <a:gd name="T46" fmla="*/ 26 w 380"/>
                <a:gd name="T47" fmla="*/ 466 h 487"/>
                <a:gd name="T48" fmla="*/ 12 w 380"/>
                <a:gd name="T49" fmla="*/ 468 h 487"/>
                <a:gd name="T50" fmla="*/ 0 w 380"/>
                <a:gd name="T51" fmla="*/ 469 h 487"/>
                <a:gd name="T52" fmla="*/ 0 w 380"/>
                <a:gd name="T53" fmla="*/ 487 h 487"/>
                <a:gd name="T54" fmla="*/ 0 w 380"/>
                <a:gd name="T55" fmla="*/ 487 h 487"/>
                <a:gd name="T56" fmla="*/ 17 w 380"/>
                <a:gd name="T57" fmla="*/ 486 h 487"/>
                <a:gd name="T58" fmla="*/ 35 w 380"/>
                <a:gd name="T59" fmla="*/ 485 h 487"/>
                <a:gd name="T60" fmla="*/ 51 w 380"/>
                <a:gd name="T61" fmla="*/ 483 h 487"/>
                <a:gd name="T62" fmla="*/ 67 w 380"/>
                <a:gd name="T63" fmla="*/ 478 h 487"/>
                <a:gd name="T64" fmla="*/ 83 w 380"/>
                <a:gd name="T65" fmla="*/ 474 h 487"/>
                <a:gd name="T66" fmla="*/ 98 w 380"/>
                <a:gd name="T67" fmla="*/ 468 h 487"/>
                <a:gd name="T68" fmla="*/ 112 w 380"/>
                <a:gd name="T69" fmla="*/ 461 h 487"/>
                <a:gd name="T70" fmla="*/ 127 w 380"/>
                <a:gd name="T71" fmla="*/ 454 h 487"/>
                <a:gd name="T72" fmla="*/ 142 w 380"/>
                <a:gd name="T73" fmla="*/ 445 h 487"/>
                <a:gd name="T74" fmla="*/ 155 w 380"/>
                <a:gd name="T75" fmla="*/ 436 h 487"/>
                <a:gd name="T76" fmla="*/ 167 w 380"/>
                <a:gd name="T77" fmla="*/ 426 h 487"/>
                <a:gd name="T78" fmla="*/ 181 w 380"/>
                <a:gd name="T79" fmla="*/ 414 h 487"/>
                <a:gd name="T80" fmla="*/ 193 w 380"/>
                <a:gd name="T81" fmla="*/ 403 h 487"/>
                <a:gd name="T82" fmla="*/ 206 w 380"/>
                <a:gd name="T83" fmla="*/ 391 h 487"/>
                <a:gd name="T84" fmla="*/ 228 w 380"/>
                <a:gd name="T85" fmla="*/ 365 h 487"/>
                <a:gd name="T86" fmla="*/ 251 w 380"/>
                <a:gd name="T87" fmla="*/ 336 h 487"/>
                <a:gd name="T88" fmla="*/ 271 w 380"/>
                <a:gd name="T89" fmla="*/ 306 h 487"/>
                <a:gd name="T90" fmla="*/ 291 w 380"/>
                <a:gd name="T91" fmla="*/ 274 h 487"/>
                <a:gd name="T92" fmla="*/ 310 w 380"/>
                <a:gd name="T93" fmla="*/ 241 h 487"/>
                <a:gd name="T94" fmla="*/ 329 w 380"/>
                <a:gd name="T95" fmla="*/ 207 h 487"/>
                <a:gd name="T96" fmla="*/ 346 w 380"/>
                <a:gd name="T97" fmla="*/ 172 h 487"/>
                <a:gd name="T98" fmla="*/ 380 w 380"/>
                <a:gd name="T99" fmla="*/ 104 h 487"/>
                <a:gd name="T100" fmla="*/ 380 w 380"/>
                <a:gd name="T101" fmla="*/ 104 h 4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487">
                  <a:moveTo>
                    <a:pt x="380" y="104"/>
                  </a:moveTo>
                  <a:lnTo>
                    <a:pt x="380" y="104"/>
                  </a:lnTo>
                  <a:lnTo>
                    <a:pt x="356" y="50"/>
                  </a:lnTo>
                  <a:lnTo>
                    <a:pt x="332" y="0"/>
                  </a:lnTo>
                  <a:lnTo>
                    <a:pt x="309" y="38"/>
                  </a:lnTo>
                  <a:lnTo>
                    <a:pt x="288" y="77"/>
                  </a:lnTo>
                  <a:lnTo>
                    <a:pt x="267" y="116"/>
                  </a:lnTo>
                  <a:lnTo>
                    <a:pt x="247" y="157"/>
                  </a:lnTo>
                  <a:lnTo>
                    <a:pt x="210" y="235"/>
                  </a:lnTo>
                  <a:lnTo>
                    <a:pt x="191" y="273"/>
                  </a:lnTo>
                  <a:lnTo>
                    <a:pt x="172" y="309"/>
                  </a:lnTo>
                  <a:lnTo>
                    <a:pt x="153" y="343"/>
                  </a:lnTo>
                  <a:lnTo>
                    <a:pt x="134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5" y="412"/>
                  </a:lnTo>
                  <a:lnTo>
                    <a:pt x="93" y="423"/>
                  </a:lnTo>
                  <a:lnTo>
                    <a:pt x="83" y="435"/>
                  </a:lnTo>
                  <a:lnTo>
                    <a:pt x="72" y="444"/>
                  </a:lnTo>
                  <a:lnTo>
                    <a:pt x="61" y="450"/>
                  </a:lnTo>
                  <a:lnTo>
                    <a:pt x="49" y="457"/>
                  </a:lnTo>
                  <a:lnTo>
                    <a:pt x="37" y="463"/>
                  </a:lnTo>
                  <a:lnTo>
                    <a:pt x="26" y="466"/>
                  </a:lnTo>
                  <a:lnTo>
                    <a:pt x="12" y="468"/>
                  </a:lnTo>
                  <a:lnTo>
                    <a:pt x="0" y="469"/>
                  </a:lnTo>
                  <a:lnTo>
                    <a:pt x="0" y="487"/>
                  </a:lnTo>
                  <a:lnTo>
                    <a:pt x="17" y="486"/>
                  </a:lnTo>
                  <a:lnTo>
                    <a:pt x="35" y="485"/>
                  </a:lnTo>
                  <a:lnTo>
                    <a:pt x="51" y="483"/>
                  </a:lnTo>
                  <a:lnTo>
                    <a:pt x="67" y="478"/>
                  </a:lnTo>
                  <a:lnTo>
                    <a:pt x="83" y="474"/>
                  </a:lnTo>
                  <a:lnTo>
                    <a:pt x="98" y="468"/>
                  </a:lnTo>
                  <a:lnTo>
                    <a:pt x="112" y="461"/>
                  </a:lnTo>
                  <a:lnTo>
                    <a:pt x="127" y="454"/>
                  </a:lnTo>
                  <a:lnTo>
                    <a:pt x="142" y="445"/>
                  </a:lnTo>
                  <a:lnTo>
                    <a:pt x="155" y="436"/>
                  </a:lnTo>
                  <a:lnTo>
                    <a:pt x="167" y="426"/>
                  </a:lnTo>
                  <a:lnTo>
                    <a:pt x="181" y="414"/>
                  </a:lnTo>
                  <a:lnTo>
                    <a:pt x="193" y="403"/>
                  </a:lnTo>
                  <a:lnTo>
                    <a:pt x="206" y="391"/>
                  </a:lnTo>
                  <a:lnTo>
                    <a:pt x="228" y="365"/>
                  </a:lnTo>
                  <a:lnTo>
                    <a:pt x="251" y="336"/>
                  </a:lnTo>
                  <a:lnTo>
                    <a:pt x="271" y="306"/>
                  </a:lnTo>
                  <a:lnTo>
                    <a:pt x="291" y="274"/>
                  </a:lnTo>
                  <a:lnTo>
                    <a:pt x="310" y="241"/>
                  </a:lnTo>
                  <a:lnTo>
                    <a:pt x="329" y="207"/>
                  </a:lnTo>
                  <a:lnTo>
                    <a:pt x="346" y="172"/>
                  </a:lnTo>
                  <a:lnTo>
                    <a:pt x="380" y="10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81">
              <a:extLst>
                <a:ext uri="{FF2B5EF4-FFF2-40B4-BE49-F238E27FC236}">
                  <a16:creationId xmlns:a16="http://schemas.microsoft.com/office/drawing/2014/main" id="{79C9CCC5-438B-4EAC-A2B4-9339B1E35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5323" y="2414237"/>
              <a:ext cx="199743" cy="344215"/>
            </a:xfrm>
            <a:custGeom>
              <a:avLst/>
              <a:gdLst>
                <a:gd name="T0" fmla="*/ 0 w 810"/>
                <a:gd name="T1" fmla="*/ 385 h 630"/>
                <a:gd name="T2" fmla="*/ 48 w 810"/>
                <a:gd name="T3" fmla="*/ 488 h 630"/>
                <a:gd name="T4" fmla="*/ 71 w 810"/>
                <a:gd name="T5" fmla="*/ 450 h 630"/>
                <a:gd name="T6" fmla="*/ 114 w 810"/>
                <a:gd name="T7" fmla="*/ 371 h 630"/>
                <a:gd name="T8" fmla="*/ 171 w 810"/>
                <a:gd name="T9" fmla="*/ 252 h 630"/>
                <a:gd name="T10" fmla="*/ 208 w 810"/>
                <a:gd name="T11" fmla="*/ 178 h 630"/>
                <a:gd name="T12" fmla="*/ 246 w 810"/>
                <a:gd name="T13" fmla="*/ 115 h 630"/>
                <a:gd name="T14" fmla="*/ 266 w 810"/>
                <a:gd name="T15" fmla="*/ 88 h 630"/>
                <a:gd name="T16" fmla="*/ 287 w 810"/>
                <a:gd name="T17" fmla="*/ 64 h 630"/>
                <a:gd name="T18" fmla="*/ 309 w 810"/>
                <a:gd name="T19" fmla="*/ 45 h 630"/>
                <a:gd name="T20" fmla="*/ 332 w 810"/>
                <a:gd name="T21" fmla="*/ 31 h 630"/>
                <a:gd name="T22" fmla="*/ 355 w 810"/>
                <a:gd name="T23" fmla="*/ 22 h 630"/>
                <a:gd name="T24" fmla="*/ 381 w 810"/>
                <a:gd name="T25" fmla="*/ 19 h 630"/>
                <a:gd name="T26" fmla="*/ 381 w 810"/>
                <a:gd name="T27" fmla="*/ 19 h 630"/>
                <a:gd name="T28" fmla="*/ 413 w 810"/>
                <a:gd name="T29" fmla="*/ 24 h 630"/>
                <a:gd name="T30" fmla="*/ 442 w 810"/>
                <a:gd name="T31" fmla="*/ 38 h 630"/>
                <a:gd name="T32" fmla="*/ 469 w 810"/>
                <a:gd name="T33" fmla="*/ 61 h 630"/>
                <a:gd name="T34" fmla="*/ 495 w 810"/>
                <a:gd name="T35" fmla="*/ 91 h 630"/>
                <a:gd name="T36" fmla="*/ 518 w 810"/>
                <a:gd name="T37" fmla="*/ 127 h 630"/>
                <a:gd name="T38" fmla="*/ 542 w 810"/>
                <a:gd name="T39" fmla="*/ 167 h 630"/>
                <a:gd name="T40" fmla="*/ 587 w 810"/>
                <a:gd name="T41" fmla="*/ 260 h 630"/>
                <a:gd name="T42" fmla="*/ 658 w 810"/>
                <a:gd name="T43" fmla="*/ 413 h 630"/>
                <a:gd name="T44" fmla="*/ 697 w 810"/>
                <a:gd name="T45" fmla="*/ 487 h 630"/>
                <a:gd name="T46" fmla="*/ 726 w 810"/>
                <a:gd name="T47" fmla="*/ 532 h 630"/>
                <a:gd name="T48" fmla="*/ 757 w 810"/>
                <a:gd name="T49" fmla="*/ 575 h 630"/>
                <a:gd name="T50" fmla="*/ 790 w 810"/>
                <a:gd name="T51" fmla="*/ 613 h 630"/>
                <a:gd name="T52" fmla="*/ 810 w 810"/>
                <a:gd name="T53" fmla="*/ 510 h 630"/>
                <a:gd name="T54" fmla="*/ 791 w 810"/>
                <a:gd name="T55" fmla="*/ 472 h 630"/>
                <a:gd name="T56" fmla="*/ 733 w 810"/>
                <a:gd name="T57" fmla="*/ 347 h 630"/>
                <a:gd name="T58" fmla="*/ 691 w 810"/>
                <a:gd name="T59" fmla="*/ 261 h 630"/>
                <a:gd name="T60" fmla="*/ 644 w 810"/>
                <a:gd name="T61" fmla="*/ 182 h 630"/>
                <a:gd name="T62" fmla="*/ 619 w 810"/>
                <a:gd name="T63" fmla="*/ 145 h 630"/>
                <a:gd name="T64" fmla="*/ 592 w 810"/>
                <a:gd name="T65" fmla="*/ 110 h 630"/>
                <a:gd name="T66" fmla="*/ 563 w 810"/>
                <a:gd name="T67" fmla="*/ 80 h 630"/>
                <a:gd name="T68" fmla="*/ 532 w 810"/>
                <a:gd name="T69" fmla="*/ 53 h 630"/>
                <a:gd name="T70" fmla="*/ 498 w 810"/>
                <a:gd name="T71" fmla="*/ 32 h 630"/>
                <a:gd name="T72" fmla="*/ 462 w 810"/>
                <a:gd name="T73" fmla="*/ 15 h 630"/>
                <a:gd name="T74" fmla="*/ 423 w 810"/>
                <a:gd name="T75" fmla="*/ 5 h 630"/>
                <a:gd name="T76" fmla="*/ 381 w 810"/>
                <a:gd name="T77" fmla="*/ 0 h 630"/>
                <a:gd name="T78" fmla="*/ 381 w 810"/>
                <a:gd name="T79" fmla="*/ 0 h 630"/>
                <a:gd name="T80" fmla="*/ 346 w 810"/>
                <a:gd name="T81" fmla="*/ 3 h 630"/>
                <a:gd name="T82" fmla="*/ 314 w 810"/>
                <a:gd name="T83" fmla="*/ 9 h 630"/>
                <a:gd name="T84" fmla="*/ 282 w 810"/>
                <a:gd name="T85" fmla="*/ 19 h 630"/>
                <a:gd name="T86" fmla="*/ 253 w 810"/>
                <a:gd name="T87" fmla="*/ 34 h 630"/>
                <a:gd name="T88" fmla="*/ 226 w 810"/>
                <a:gd name="T89" fmla="*/ 52 h 630"/>
                <a:gd name="T90" fmla="*/ 200 w 810"/>
                <a:gd name="T91" fmla="*/ 73 h 630"/>
                <a:gd name="T92" fmla="*/ 175 w 810"/>
                <a:gd name="T93" fmla="*/ 97 h 630"/>
                <a:gd name="T94" fmla="*/ 130 w 810"/>
                <a:gd name="T95" fmla="*/ 152 h 630"/>
                <a:gd name="T96" fmla="*/ 89 w 810"/>
                <a:gd name="T97" fmla="*/ 214 h 630"/>
                <a:gd name="T98" fmla="*/ 52 w 810"/>
                <a:gd name="T99" fmla="*/ 280 h 630"/>
                <a:gd name="T100" fmla="*/ 0 w 810"/>
                <a:gd name="T101" fmla="*/ 385 h 6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connsiteX0" fmla="*/ 0 w 9988"/>
                <a:gd name="connsiteY0" fmla="*/ 6111 h 10000"/>
                <a:gd name="connsiteX1" fmla="*/ 0 w 9988"/>
                <a:gd name="connsiteY1" fmla="*/ 6111 h 10000"/>
                <a:gd name="connsiteX2" fmla="*/ 309 w 9988"/>
                <a:gd name="connsiteY2" fmla="*/ 6937 h 10000"/>
                <a:gd name="connsiteX3" fmla="*/ 593 w 9988"/>
                <a:gd name="connsiteY3" fmla="*/ 7746 h 10000"/>
                <a:gd name="connsiteX4" fmla="*/ 877 w 9988"/>
                <a:gd name="connsiteY4" fmla="*/ 7143 h 10000"/>
                <a:gd name="connsiteX5" fmla="*/ 1136 w 9988"/>
                <a:gd name="connsiteY5" fmla="*/ 6508 h 10000"/>
                <a:gd name="connsiteX6" fmla="*/ 1407 w 9988"/>
                <a:gd name="connsiteY6" fmla="*/ 5889 h 10000"/>
                <a:gd name="connsiteX7" fmla="*/ 1642 w 9988"/>
                <a:gd name="connsiteY7" fmla="*/ 5254 h 10000"/>
                <a:gd name="connsiteX8" fmla="*/ 2111 w 9988"/>
                <a:gd name="connsiteY8" fmla="*/ 4000 h 10000"/>
                <a:gd name="connsiteX9" fmla="*/ 2346 w 9988"/>
                <a:gd name="connsiteY9" fmla="*/ 3397 h 10000"/>
                <a:gd name="connsiteX10" fmla="*/ 2568 w 9988"/>
                <a:gd name="connsiteY10" fmla="*/ 2825 h 10000"/>
                <a:gd name="connsiteX11" fmla="*/ 2802 w 9988"/>
                <a:gd name="connsiteY11" fmla="*/ 2302 h 10000"/>
                <a:gd name="connsiteX12" fmla="*/ 3037 w 9988"/>
                <a:gd name="connsiteY12" fmla="*/ 1825 h 10000"/>
                <a:gd name="connsiteX13" fmla="*/ 3160 w 9988"/>
                <a:gd name="connsiteY13" fmla="*/ 1587 h 10000"/>
                <a:gd name="connsiteX14" fmla="*/ 3284 w 9988"/>
                <a:gd name="connsiteY14" fmla="*/ 1397 h 10000"/>
                <a:gd name="connsiteX15" fmla="*/ 3420 w 9988"/>
                <a:gd name="connsiteY15" fmla="*/ 1190 h 10000"/>
                <a:gd name="connsiteX16" fmla="*/ 3543 w 9988"/>
                <a:gd name="connsiteY16" fmla="*/ 1016 h 10000"/>
                <a:gd name="connsiteX17" fmla="*/ 3679 w 9988"/>
                <a:gd name="connsiteY17" fmla="*/ 857 h 10000"/>
                <a:gd name="connsiteX18" fmla="*/ 3815 w 9988"/>
                <a:gd name="connsiteY18" fmla="*/ 714 h 10000"/>
                <a:gd name="connsiteX19" fmla="*/ 3951 w 9988"/>
                <a:gd name="connsiteY19" fmla="*/ 587 h 10000"/>
                <a:gd name="connsiteX20" fmla="*/ 4099 w 9988"/>
                <a:gd name="connsiteY20" fmla="*/ 492 h 10000"/>
                <a:gd name="connsiteX21" fmla="*/ 4235 w 9988"/>
                <a:gd name="connsiteY21" fmla="*/ 397 h 10000"/>
                <a:gd name="connsiteX22" fmla="*/ 4383 w 9988"/>
                <a:gd name="connsiteY22" fmla="*/ 349 h 10000"/>
                <a:gd name="connsiteX23" fmla="*/ 4543 w 9988"/>
                <a:gd name="connsiteY23" fmla="*/ 302 h 10000"/>
                <a:gd name="connsiteX24" fmla="*/ 4704 w 9988"/>
                <a:gd name="connsiteY24" fmla="*/ 302 h 10000"/>
                <a:gd name="connsiteX25" fmla="*/ 4901 w 9988"/>
                <a:gd name="connsiteY25" fmla="*/ 317 h 10000"/>
                <a:gd name="connsiteX26" fmla="*/ 5099 w 9988"/>
                <a:gd name="connsiteY26" fmla="*/ 381 h 10000"/>
                <a:gd name="connsiteX27" fmla="*/ 5272 w 9988"/>
                <a:gd name="connsiteY27" fmla="*/ 492 h 10000"/>
                <a:gd name="connsiteX28" fmla="*/ 5457 w 9988"/>
                <a:gd name="connsiteY28" fmla="*/ 603 h 10000"/>
                <a:gd name="connsiteX29" fmla="*/ 5617 w 9988"/>
                <a:gd name="connsiteY29" fmla="*/ 762 h 10000"/>
                <a:gd name="connsiteX30" fmla="*/ 5790 w 9988"/>
                <a:gd name="connsiteY30" fmla="*/ 968 h 10000"/>
                <a:gd name="connsiteX31" fmla="*/ 5938 w 9988"/>
                <a:gd name="connsiteY31" fmla="*/ 1190 h 10000"/>
                <a:gd name="connsiteX32" fmla="*/ 6111 w 9988"/>
                <a:gd name="connsiteY32" fmla="*/ 1444 h 10000"/>
                <a:gd name="connsiteX33" fmla="*/ 6247 w 9988"/>
                <a:gd name="connsiteY33" fmla="*/ 1714 h 10000"/>
                <a:gd name="connsiteX34" fmla="*/ 6395 w 9988"/>
                <a:gd name="connsiteY34" fmla="*/ 2016 h 10000"/>
                <a:gd name="connsiteX35" fmla="*/ 6531 w 9988"/>
                <a:gd name="connsiteY35" fmla="*/ 2317 h 10000"/>
                <a:gd name="connsiteX36" fmla="*/ 6691 w 9988"/>
                <a:gd name="connsiteY36" fmla="*/ 2651 h 10000"/>
                <a:gd name="connsiteX37" fmla="*/ 6963 w 9988"/>
                <a:gd name="connsiteY37" fmla="*/ 3365 h 10000"/>
                <a:gd name="connsiteX38" fmla="*/ 7247 w 9988"/>
                <a:gd name="connsiteY38" fmla="*/ 4127 h 10000"/>
                <a:gd name="connsiteX39" fmla="*/ 7815 w 9988"/>
                <a:gd name="connsiteY39" fmla="*/ 5730 h 10000"/>
                <a:gd name="connsiteX40" fmla="*/ 8123 w 9988"/>
                <a:gd name="connsiteY40" fmla="*/ 6556 h 10000"/>
                <a:gd name="connsiteX41" fmla="*/ 8432 w 9988"/>
                <a:gd name="connsiteY41" fmla="*/ 7333 h 10000"/>
                <a:gd name="connsiteX42" fmla="*/ 8605 w 9988"/>
                <a:gd name="connsiteY42" fmla="*/ 7730 h 10000"/>
                <a:gd name="connsiteX43" fmla="*/ 8790 w 9988"/>
                <a:gd name="connsiteY43" fmla="*/ 8095 h 10000"/>
                <a:gd name="connsiteX44" fmla="*/ 8963 w 9988"/>
                <a:gd name="connsiteY44" fmla="*/ 8444 h 10000"/>
                <a:gd name="connsiteX45" fmla="*/ 9148 w 9988"/>
                <a:gd name="connsiteY45" fmla="*/ 8794 h 10000"/>
                <a:gd name="connsiteX46" fmla="*/ 9346 w 9988"/>
                <a:gd name="connsiteY46" fmla="*/ 9127 h 10000"/>
                <a:gd name="connsiteX47" fmla="*/ 9543 w 9988"/>
                <a:gd name="connsiteY47" fmla="*/ 9444 h 10000"/>
                <a:gd name="connsiteX48" fmla="*/ 9753 w 9988"/>
                <a:gd name="connsiteY48" fmla="*/ 9730 h 10000"/>
                <a:gd name="connsiteX49" fmla="*/ 9988 w 9988"/>
                <a:gd name="connsiteY49" fmla="*/ 10000 h 10000"/>
                <a:gd name="connsiteX50" fmla="*/ 9765 w 9988"/>
                <a:gd name="connsiteY50" fmla="*/ 7492 h 10000"/>
                <a:gd name="connsiteX51" fmla="*/ 9531 w 9988"/>
                <a:gd name="connsiteY51" fmla="*/ 6841 h 10000"/>
                <a:gd name="connsiteX52" fmla="*/ 9049 w 9988"/>
                <a:gd name="connsiteY52" fmla="*/ 5508 h 10000"/>
                <a:gd name="connsiteX53" fmla="*/ 8802 w 9988"/>
                <a:gd name="connsiteY53" fmla="*/ 4825 h 10000"/>
                <a:gd name="connsiteX54" fmla="*/ 8531 w 9988"/>
                <a:gd name="connsiteY54" fmla="*/ 4143 h 10000"/>
                <a:gd name="connsiteX55" fmla="*/ 8259 w 9988"/>
                <a:gd name="connsiteY55" fmla="*/ 3508 h 10000"/>
                <a:gd name="connsiteX56" fmla="*/ 7951 w 9988"/>
                <a:gd name="connsiteY56" fmla="*/ 2889 h 10000"/>
                <a:gd name="connsiteX57" fmla="*/ 7802 w 9988"/>
                <a:gd name="connsiteY57" fmla="*/ 2587 h 10000"/>
                <a:gd name="connsiteX58" fmla="*/ 7642 w 9988"/>
                <a:gd name="connsiteY58" fmla="*/ 2302 h 10000"/>
                <a:gd name="connsiteX59" fmla="*/ 7481 w 9988"/>
                <a:gd name="connsiteY59" fmla="*/ 2016 h 10000"/>
                <a:gd name="connsiteX60" fmla="*/ 7309 w 9988"/>
                <a:gd name="connsiteY60" fmla="*/ 1746 h 10000"/>
                <a:gd name="connsiteX61" fmla="*/ 7136 w 9988"/>
                <a:gd name="connsiteY61" fmla="*/ 1492 h 10000"/>
                <a:gd name="connsiteX62" fmla="*/ 6951 w 9988"/>
                <a:gd name="connsiteY62" fmla="*/ 1270 h 10000"/>
                <a:gd name="connsiteX63" fmla="*/ 6753 w 9988"/>
                <a:gd name="connsiteY63" fmla="*/ 1032 h 10000"/>
                <a:gd name="connsiteX64" fmla="*/ 6568 w 9988"/>
                <a:gd name="connsiteY64" fmla="*/ 841 h 10000"/>
                <a:gd name="connsiteX65" fmla="*/ 6358 w 9988"/>
                <a:gd name="connsiteY65" fmla="*/ 667 h 10000"/>
                <a:gd name="connsiteX66" fmla="*/ 6148 w 9988"/>
                <a:gd name="connsiteY66" fmla="*/ 508 h 10000"/>
                <a:gd name="connsiteX67" fmla="*/ 5926 w 9988"/>
                <a:gd name="connsiteY67" fmla="*/ 365 h 10000"/>
                <a:gd name="connsiteX68" fmla="*/ 5704 w 9988"/>
                <a:gd name="connsiteY68" fmla="*/ 238 h 10000"/>
                <a:gd name="connsiteX69" fmla="*/ 5469 w 9988"/>
                <a:gd name="connsiteY69" fmla="*/ 143 h 10000"/>
                <a:gd name="connsiteX70" fmla="*/ 5222 w 9988"/>
                <a:gd name="connsiteY70" fmla="*/ 79 h 10000"/>
                <a:gd name="connsiteX71" fmla="*/ 4963 w 9988"/>
                <a:gd name="connsiteY71" fmla="*/ 16 h 10000"/>
                <a:gd name="connsiteX72" fmla="*/ 4704 w 9988"/>
                <a:gd name="connsiteY72" fmla="*/ 0 h 10000"/>
                <a:gd name="connsiteX73" fmla="*/ 4481 w 9988"/>
                <a:gd name="connsiteY73" fmla="*/ 16 h 10000"/>
                <a:gd name="connsiteX74" fmla="*/ 4272 w 9988"/>
                <a:gd name="connsiteY74" fmla="*/ 48 h 10000"/>
                <a:gd name="connsiteX75" fmla="*/ 4062 w 9988"/>
                <a:gd name="connsiteY75" fmla="*/ 95 h 10000"/>
                <a:gd name="connsiteX76" fmla="*/ 3877 w 9988"/>
                <a:gd name="connsiteY76" fmla="*/ 143 h 10000"/>
                <a:gd name="connsiteX77" fmla="*/ 3679 w 9988"/>
                <a:gd name="connsiteY77" fmla="*/ 222 h 10000"/>
                <a:gd name="connsiteX78" fmla="*/ 3481 w 9988"/>
                <a:gd name="connsiteY78" fmla="*/ 302 h 10000"/>
                <a:gd name="connsiteX79" fmla="*/ 3309 w 9988"/>
                <a:gd name="connsiteY79" fmla="*/ 413 h 10000"/>
                <a:gd name="connsiteX80" fmla="*/ 3123 w 9988"/>
                <a:gd name="connsiteY80" fmla="*/ 540 h 10000"/>
                <a:gd name="connsiteX81" fmla="*/ 2963 w 9988"/>
                <a:gd name="connsiteY81" fmla="*/ 683 h 10000"/>
                <a:gd name="connsiteX82" fmla="*/ 2790 w 9988"/>
                <a:gd name="connsiteY82" fmla="*/ 825 h 10000"/>
                <a:gd name="connsiteX83" fmla="*/ 2630 w 9988"/>
                <a:gd name="connsiteY83" fmla="*/ 984 h 10000"/>
                <a:gd name="connsiteX84" fmla="*/ 2469 w 9988"/>
                <a:gd name="connsiteY84" fmla="*/ 1159 h 10000"/>
                <a:gd name="connsiteX85" fmla="*/ 2321 w 9988"/>
                <a:gd name="connsiteY85" fmla="*/ 1333 h 10000"/>
                <a:gd name="connsiteX86" fmla="*/ 2160 w 9988"/>
                <a:gd name="connsiteY86" fmla="*/ 1540 h 10000"/>
                <a:gd name="connsiteX87" fmla="*/ 1877 w 9988"/>
                <a:gd name="connsiteY87" fmla="*/ 1968 h 10000"/>
                <a:gd name="connsiteX88" fmla="*/ 1605 w 9988"/>
                <a:gd name="connsiteY88" fmla="*/ 2413 h 10000"/>
                <a:gd name="connsiteX89" fmla="*/ 1346 w 9988"/>
                <a:gd name="connsiteY89" fmla="*/ 2889 h 10000"/>
                <a:gd name="connsiteX90" fmla="*/ 1099 w 9988"/>
                <a:gd name="connsiteY90" fmla="*/ 3397 h 10000"/>
                <a:gd name="connsiteX91" fmla="*/ 864 w 9988"/>
                <a:gd name="connsiteY91" fmla="*/ 3921 h 10000"/>
                <a:gd name="connsiteX92" fmla="*/ 642 w 9988"/>
                <a:gd name="connsiteY92" fmla="*/ 4444 h 10000"/>
                <a:gd name="connsiteX93" fmla="*/ 420 w 9988"/>
                <a:gd name="connsiteY93" fmla="*/ 5000 h 10000"/>
                <a:gd name="connsiteX94" fmla="*/ 0 w 9988"/>
                <a:gd name="connsiteY94" fmla="*/ 6111 h 10000"/>
                <a:gd name="connsiteX0" fmla="*/ 0 w 9777"/>
                <a:gd name="connsiteY0" fmla="*/ 6111 h 9730"/>
                <a:gd name="connsiteX1" fmla="*/ 0 w 9777"/>
                <a:gd name="connsiteY1" fmla="*/ 6111 h 9730"/>
                <a:gd name="connsiteX2" fmla="*/ 309 w 9777"/>
                <a:gd name="connsiteY2" fmla="*/ 6937 h 9730"/>
                <a:gd name="connsiteX3" fmla="*/ 594 w 9777"/>
                <a:gd name="connsiteY3" fmla="*/ 7746 h 9730"/>
                <a:gd name="connsiteX4" fmla="*/ 878 w 9777"/>
                <a:gd name="connsiteY4" fmla="*/ 7143 h 9730"/>
                <a:gd name="connsiteX5" fmla="*/ 1137 w 9777"/>
                <a:gd name="connsiteY5" fmla="*/ 6508 h 9730"/>
                <a:gd name="connsiteX6" fmla="*/ 1409 w 9777"/>
                <a:gd name="connsiteY6" fmla="*/ 5889 h 9730"/>
                <a:gd name="connsiteX7" fmla="*/ 1644 w 9777"/>
                <a:gd name="connsiteY7" fmla="*/ 5254 h 9730"/>
                <a:gd name="connsiteX8" fmla="*/ 2114 w 9777"/>
                <a:gd name="connsiteY8" fmla="*/ 4000 h 9730"/>
                <a:gd name="connsiteX9" fmla="*/ 2349 w 9777"/>
                <a:gd name="connsiteY9" fmla="*/ 3397 h 9730"/>
                <a:gd name="connsiteX10" fmla="*/ 2571 w 9777"/>
                <a:gd name="connsiteY10" fmla="*/ 2825 h 9730"/>
                <a:gd name="connsiteX11" fmla="*/ 2805 w 9777"/>
                <a:gd name="connsiteY11" fmla="*/ 2302 h 9730"/>
                <a:gd name="connsiteX12" fmla="*/ 3041 w 9777"/>
                <a:gd name="connsiteY12" fmla="*/ 1825 h 9730"/>
                <a:gd name="connsiteX13" fmla="*/ 3164 w 9777"/>
                <a:gd name="connsiteY13" fmla="*/ 1587 h 9730"/>
                <a:gd name="connsiteX14" fmla="*/ 3288 w 9777"/>
                <a:gd name="connsiteY14" fmla="*/ 1397 h 9730"/>
                <a:gd name="connsiteX15" fmla="*/ 3424 w 9777"/>
                <a:gd name="connsiteY15" fmla="*/ 1190 h 9730"/>
                <a:gd name="connsiteX16" fmla="*/ 3547 w 9777"/>
                <a:gd name="connsiteY16" fmla="*/ 1016 h 9730"/>
                <a:gd name="connsiteX17" fmla="*/ 3683 w 9777"/>
                <a:gd name="connsiteY17" fmla="*/ 857 h 9730"/>
                <a:gd name="connsiteX18" fmla="*/ 3820 w 9777"/>
                <a:gd name="connsiteY18" fmla="*/ 714 h 9730"/>
                <a:gd name="connsiteX19" fmla="*/ 3956 w 9777"/>
                <a:gd name="connsiteY19" fmla="*/ 587 h 9730"/>
                <a:gd name="connsiteX20" fmla="*/ 4104 w 9777"/>
                <a:gd name="connsiteY20" fmla="*/ 492 h 9730"/>
                <a:gd name="connsiteX21" fmla="*/ 4240 w 9777"/>
                <a:gd name="connsiteY21" fmla="*/ 397 h 9730"/>
                <a:gd name="connsiteX22" fmla="*/ 4388 w 9777"/>
                <a:gd name="connsiteY22" fmla="*/ 349 h 9730"/>
                <a:gd name="connsiteX23" fmla="*/ 4548 w 9777"/>
                <a:gd name="connsiteY23" fmla="*/ 302 h 9730"/>
                <a:gd name="connsiteX24" fmla="*/ 4710 w 9777"/>
                <a:gd name="connsiteY24" fmla="*/ 302 h 9730"/>
                <a:gd name="connsiteX25" fmla="*/ 4907 w 9777"/>
                <a:gd name="connsiteY25" fmla="*/ 317 h 9730"/>
                <a:gd name="connsiteX26" fmla="*/ 5105 w 9777"/>
                <a:gd name="connsiteY26" fmla="*/ 381 h 9730"/>
                <a:gd name="connsiteX27" fmla="*/ 5278 w 9777"/>
                <a:gd name="connsiteY27" fmla="*/ 492 h 9730"/>
                <a:gd name="connsiteX28" fmla="*/ 5464 w 9777"/>
                <a:gd name="connsiteY28" fmla="*/ 603 h 9730"/>
                <a:gd name="connsiteX29" fmla="*/ 5624 w 9777"/>
                <a:gd name="connsiteY29" fmla="*/ 762 h 9730"/>
                <a:gd name="connsiteX30" fmla="*/ 5797 w 9777"/>
                <a:gd name="connsiteY30" fmla="*/ 968 h 9730"/>
                <a:gd name="connsiteX31" fmla="*/ 5945 w 9777"/>
                <a:gd name="connsiteY31" fmla="*/ 1190 h 9730"/>
                <a:gd name="connsiteX32" fmla="*/ 6118 w 9777"/>
                <a:gd name="connsiteY32" fmla="*/ 1444 h 9730"/>
                <a:gd name="connsiteX33" fmla="*/ 6255 w 9777"/>
                <a:gd name="connsiteY33" fmla="*/ 1714 h 9730"/>
                <a:gd name="connsiteX34" fmla="*/ 6403 w 9777"/>
                <a:gd name="connsiteY34" fmla="*/ 2016 h 9730"/>
                <a:gd name="connsiteX35" fmla="*/ 6539 w 9777"/>
                <a:gd name="connsiteY35" fmla="*/ 2317 h 9730"/>
                <a:gd name="connsiteX36" fmla="*/ 6699 w 9777"/>
                <a:gd name="connsiteY36" fmla="*/ 2651 h 9730"/>
                <a:gd name="connsiteX37" fmla="*/ 6971 w 9777"/>
                <a:gd name="connsiteY37" fmla="*/ 3365 h 9730"/>
                <a:gd name="connsiteX38" fmla="*/ 7256 w 9777"/>
                <a:gd name="connsiteY38" fmla="*/ 4127 h 9730"/>
                <a:gd name="connsiteX39" fmla="*/ 7824 w 9777"/>
                <a:gd name="connsiteY39" fmla="*/ 5730 h 9730"/>
                <a:gd name="connsiteX40" fmla="*/ 8133 w 9777"/>
                <a:gd name="connsiteY40" fmla="*/ 6556 h 9730"/>
                <a:gd name="connsiteX41" fmla="*/ 8442 w 9777"/>
                <a:gd name="connsiteY41" fmla="*/ 7333 h 9730"/>
                <a:gd name="connsiteX42" fmla="*/ 8615 w 9777"/>
                <a:gd name="connsiteY42" fmla="*/ 7730 h 9730"/>
                <a:gd name="connsiteX43" fmla="*/ 8801 w 9777"/>
                <a:gd name="connsiteY43" fmla="*/ 8095 h 9730"/>
                <a:gd name="connsiteX44" fmla="*/ 8974 w 9777"/>
                <a:gd name="connsiteY44" fmla="*/ 8444 h 9730"/>
                <a:gd name="connsiteX45" fmla="*/ 9159 w 9777"/>
                <a:gd name="connsiteY45" fmla="*/ 8794 h 9730"/>
                <a:gd name="connsiteX46" fmla="*/ 9357 w 9777"/>
                <a:gd name="connsiteY46" fmla="*/ 9127 h 9730"/>
                <a:gd name="connsiteX47" fmla="*/ 9554 w 9777"/>
                <a:gd name="connsiteY47" fmla="*/ 9444 h 9730"/>
                <a:gd name="connsiteX48" fmla="*/ 9765 w 9777"/>
                <a:gd name="connsiteY48" fmla="*/ 9730 h 9730"/>
                <a:gd name="connsiteX49" fmla="*/ 9777 w 9777"/>
                <a:gd name="connsiteY49" fmla="*/ 7492 h 9730"/>
                <a:gd name="connsiteX50" fmla="*/ 9542 w 9777"/>
                <a:gd name="connsiteY50" fmla="*/ 6841 h 9730"/>
                <a:gd name="connsiteX51" fmla="*/ 9060 w 9777"/>
                <a:gd name="connsiteY51" fmla="*/ 5508 h 9730"/>
                <a:gd name="connsiteX52" fmla="*/ 8813 w 9777"/>
                <a:gd name="connsiteY52" fmla="*/ 4825 h 9730"/>
                <a:gd name="connsiteX53" fmla="*/ 8541 w 9777"/>
                <a:gd name="connsiteY53" fmla="*/ 4143 h 9730"/>
                <a:gd name="connsiteX54" fmla="*/ 8269 w 9777"/>
                <a:gd name="connsiteY54" fmla="*/ 3508 h 9730"/>
                <a:gd name="connsiteX55" fmla="*/ 7961 w 9777"/>
                <a:gd name="connsiteY55" fmla="*/ 2889 h 9730"/>
                <a:gd name="connsiteX56" fmla="*/ 7811 w 9777"/>
                <a:gd name="connsiteY56" fmla="*/ 2587 h 9730"/>
                <a:gd name="connsiteX57" fmla="*/ 7651 w 9777"/>
                <a:gd name="connsiteY57" fmla="*/ 2302 h 9730"/>
                <a:gd name="connsiteX58" fmla="*/ 7490 w 9777"/>
                <a:gd name="connsiteY58" fmla="*/ 2016 h 9730"/>
                <a:gd name="connsiteX59" fmla="*/ 7318 w 9777"/>
                <a:gd name="connsiteY59" fmla="*/ 1746 h 9730"/>
                <a:gd name="connsiteX60" fmla="*/ 7145 w 9777"/>
                <a:gd name="connsiteY60" fmla="*/ 1492 h 9730"/>
                <a:gd name="connsiteX61" fmla="*/ 6959 w 9777"/>
                <a:gd name="connsiteY61" fmla="*/ 1270 h 9730"/>
                <a:gd name="connsiteX62" fmla="*/ 6761 w 9777"/>
                <a:gd name="connsiteY62" fmla="*/ 1032 h 9730"/>
                <a:gd name="connsiteX63" fmla="*/ 6576 w 9777"/>
                <a:gd name="connsiteY63" fmla="*/ 841 h 9730"/>
                <a:gd name="connsiteX64" fmla="*/ 6366 w 9777"/>
                <a:gd name="connsiteY64" fmla="*/ 667 h 9730"/>
                <a:gd name="connsiteX65" fmla="*/ 6155 w 9777"/>
                <a:gd name="connsiteY65" fmla="*/ 508 h 9730"/>
                <a:gd name="connsiteX66" fmla="*/ 5933 w 9777"/>
                <a:gd name="connsiteY66" fmla="*/ 365 h 9730"/>
                <a:gd name="connsiteX67" fmla="*/ 5711 w 9777"/>
                <a:gd name="connsiteY67" fmla="*/ 238 h 9730"/>
                <a:gd name="connsiteX68" fmla="*/ 5476 w 9777"/>
                <a:gd name="connsiteY68" fmla="*/ 143 h 9730"/>
                <a:gd name="connsiteX69" fmla="*/ 5228 w 9777"/>
                <a:gd name="connsiteY69" fmla="*/ 79 h 9730"/>
                <a:gd name="connsiteX70" fmla="*/ 4969 w 9777"/>
                <a:gd name="connsiteY70" fmla="*/ 16 h 9730"/>
                <a:gd name="connsiteX71" fmla="*/ 4710 w 9777"/>
                <a:gd name="connsiteY71" fmla="*/ 0 h 9730"/>
                <a:gd name="connsiteX72" fmla="*/ 4486 w 9777"/>
                <a:gd name="connsiteY72" fmla="*/ 16 h 9730"/>
                <a:gd name="connsiteX73" fmla="*/ 4277 w 9777"/>
                <a:gd name="connsiteY73" fmla="*/ 48 h 9730"/>
                <a:gd name="connsiteX74" fmla="*/ 4067 w 9777"/>
                <a:gd name="connsiteY74" fmla="*/ 95 h 9730"/>
                <a:gd name="connsiteX75" fmla="*/ 3882 w 9777"/>
                <a:gd name="connsiteY75" fmla="*/ 143 h 9730"/>
                <a:gd name="connsiteX76" fmla="*/ 3683 w 9777"/>
                <a:gd name="connsiteY76" fmla="*/ 222 h 9730"/>
                <a:gd name="connsiteX77" fmla="*/ 3485 w 9777"/>
                <a:gd name="connsiteY77" fmla="*/ 302 h 9730"/>
                <a:gd name="connsiteX78" fmla="*/ 3313 w 9777"/>
                <a:gd name="connsiteY78" fmla="*/ 413 h 9730"/>
                <a:gd name="connsiteX79" fmla="*/ 3127 w 9777"/>
                <a:gd name="connsiteY79" fmla="*/ 540 h 9730"/>
                <a:gd name="connsiteX80" fmla="*/ 2967 w 9777"/>
                <a:gd name="connsiteY80" fmla="*/ 683 h 9730"/>
                <a:gd name="connsiteX81" fmla="*/ 2793 w 9777"/>
                <a:gd name="connsiteY81" fmla="*/ 825 h 9730"/>
                <a:gd name="connsiteX82" fmla="*/ 2633 w 9777"/>
                <a:gd name="connsiteY82" fmla="*/ 984 h 9730"/>
                <a:gd name="connsiteX83" fmla="*/ 2472 w 9777"/>
                <a:gd name="connsiteY83" fmla="*/ 1159 h 9730"/>
                <a:gd name="connsiteX84" fmla="*/ 2324 w 9777"/>
                <a:gd name="connsiteY84" fmla="*/ 1333 h 9730"/>
                <a:gd name="connsiteX85" fmla="*/ 2163 w 9777"/>
                <a:gd name="connsiteY85" fmla="*/ 1540 h 9730"/>
                <a:gd name="connsiteX86" fmla="*/ 1879 w 9777"/>
                <a:gd name="connsiteY86" fmla="*/ 1968 h 9730"/>
                <a:gd name="connsiteX87" fmla="*/ 1607 w 9777"/>
                <a:gd name="connsiteY87" fmla="*/ 2413 h 9730"/>
                <a:gd name="connsiteX88" fmla="*/ 1348 w 9777"/>
                <a:gd name="connsiteY88" fmla="*/ 2889 h 9730"/>
                <a:gd name="connsiteX89" fmla="*/ 1100 w 9777"/>
                <a:gd name="connsiteY89" fmla="*/ 3397 h 9730"/>
                <a:gd name="connsiteX90" fmla="*/ 865 w 9777"/>
                <a:gd name="connsiteY90" fmla="*/ 3921 h 9730"/>
                <a:gd name="connsiteX91" fmla="*/ 643 w 9777"/>
                <a:gd name="connsiteY91" fmla="*/ 4444 h 9730"/>
                <a:gd name="connsiteX92" fmla="*/ 421 w 9777"/>
                <a:gd name="connsiteY92" fmla="*/ 5000 h 9730"/>
                <a:gd name="connsiteX93" fmla="*/ 0 w 9777"/>
                <a:gd name="connsiteY93" fmla="*/ 6111 h 9730"/>
                <a:gd name="connsiteX0" fmla="*/ 0 w 10000"/>
                <a:gd name="connsiteY0" fmla="*/ 6281 h 9706"/>
                <a:gd name="connsiteX1" fmla="*/ 0 w 10000"/>
                <a:gd name="connsiteY1" fmla="*/ 6281 h 9706"/>
                <a:gd name="connsiteX2" fmla="*/ 316 w 10000"/>
                <a:gd name="connsiteY2" fmla="*/ 7129 h 9706"/>
                <a:gd name="connsiteX3" fmla="*/ 608 w 10000"/>
                <a:gd name="connsiteY3" fmla="*/ 7961 h 9706"/>
                <a:gd name="connsiteX4" fmla="*/ 898 w 10000"/>
                <a:gd name="connsiteY4" fmla="*/ 7341 h 9706"/>
                <a:gd name="connsiteX5" fmla="*/ 1163 w 10000"/>
                <a:gd name="connsiteY5" fmla="*/ 6689 h 9706"/>
                <a:gd name="connsiteX6" fmla="*/ 1441 w 10000"/>
                <a:gd name="connsiteY6" fmla="*/ 6052 h 9706"/>
                <a:gd name="connsiteX7" fmla="*/ 1681 w 10000"/>
                <a:gd name="connsiteY7" fmla="*/ 5400 h 9706"/>
                <a:gd name="connsiteX8" fmla="*/ 2162 w 10000"/>
                <a:gd name="connsiteY8" fmla="*/ 4111 h 9706"/>
                <a:gd name="connsiteX9" fmla="*/ 2403 w 10000"/>
                <a:gd name="connsiteY9" fmla="*/ 3491 h 9706"/>
                <a:gd name="connsiteX10" fmla="*/ 2630 w 10000"/>
                <a:gd name="connsiteY10" fmla="*/ 2903 h 9706"/>
                <a:gd name="connsiteX11" fmla="*/ 2869 w 10000"/>
                <a:gd name="connsiteY11" fmla="*/ 2366 h 9706"/>
                <a:gd name="connsiteX12" fmla="*/ 3110 w 10000"/>
                <a:gd name="connsiteY12" fmla="*/ 1876 h 9706"/>
                <a:gd name="connsiteX13" fmla="*/ 3236 w 10000"/>
                <a:gd name="connsiteY13" fmla="*/ 1631 h 9706"/>
                <a:gd name="connsiteX14" fmla="*/ 3363 w 10000"/>
                <a:gd name="connsiteY14" fmla="*/ 1436 h 9706"/>
                <a:gd name="connsiteX15" fmla="*/ 3502 w 10000"/>
                <a:gd name="connsiteY15" fmla="*/ 1223 h 9706"/>
                <a:gd name="connsiteX16" fmla="*/ 3628 w 10000"/>
                <a:gd name="connsiteY16" fmla="*/ 1044 h 9706"/>
                <a:gd name="connsiteX17" fmla="*/ 3767 w 10000"/>
                <a:gd name="connsiteY17" fmla="*/ 881 h 9706"/>
                <a:gd name="connsiteX18" fmla="*/ 3907 w 10000"/>
                <a:gd name="connsiteY18" fmla="*/ 734 h 9706"/>
                <a:gd name="connsiteX19" fmla="*/ 4046 w 10000"/>
                <a:gd name="connsiteY19" fmla="*/ 603 h 9706"/>
                <a:gd name="connsiteX20" fmla="*/ 4198 w 10000"/>
                <a:gd name="connsiteY20" fmla="*/ 506 h 9706"/>
                <a:gd name="connsiteX21" fmla="*/ 4337 w 10000"/>
                <a:gd name="connsiteY21" fmla="*/ 408 h 9706"/>
                <a:gd name="connsiteX22" fmla="*/ 4488 w 10000"/>
                <a:gd name="connsiteY22" fmla="*/ 359 h 9706"/>
                <a:gd name="connsiteX23" fmla="*/ 4652 w 10000"/>
                <a:gd name="connsiteY23" fmla="*/ 310 h 9706"/>
                <a:gd name="connsiteX24" fmla="*/ 4817 w 10000"/>
                <a:gd name="connsiteY24" fmla="*/ 310 h 9706"/>
                <a:gd name="connsiteX25" fmla="*/ 5019 w 10000"/>
                <a:gd name="connsiteY25" fmla="*/ 326 h 9706"/>
                <a:gd name="connsiteX26" fmla="*/ 5221 w 10000"/>
                <a:gd name="connsiteY26" fmla="*/ 392 h 9706"/>
                <a:gd name="connsiteX27" fmla="*/ 5398 w 10000"/>
                <a:gd name="connsiteY27" fmla="*/ 506 h 9706"/>
                <a:gd name="connsiteX28" fmla="*/ 5589 w 10000"/>
                <a:gd name="connsiteY28" fmla="*/ 620 h 9706"/>
                <a:gd name="connsiteX29" fmla="*/ 5752 w 10000"/>
                <a:gd name="connsiteY29" fmla="*/ 783 h 9706"/>
                <a:gd name="connsiteX30" fmla="*/ 5929 w 10000"/>
                <a:gd name="connsiteY30" fmla="*/ 995 h 9706"/>
                <a:gd name="connsiteX31" fmla="*/ 6081 w 10000"/>
                <a:gd name="connsiteY31" fmla="*/ 1223 h 9706"/>
                <a:gd name="connsiteX32" fmla="*/ 6258 w 10000"/>
                <a:gd name="connsiteY32" fmla="*/ 1484 h 9706"/>
                <a:gd name="connsiteX33" fmla="*/ 6398 w 10000"/>
                <a:gd name="connsiteY33" fmla="*/ 1762 h 9706"/>
                <a:gd name="connsiteX34" fmla="*/ 6549 w 10000"/>
                <a:gd name="connsiteY34" fmla="*/ 2072 h 9706"/>
                <a:gd name="connsiteX35" fmla="*/ 6688 w 10000"/>
                <a:gd name="connsiteY35" fmla="*/ 2381 h 9706"/>
                <a:gd name="connsiteX36" fmla="*/ 6852 w 10000"/>
                <a:gd name="connsiteY36" fmla="*/ 2725 h 9706"/>
                <a:gd name="connsiteX37" fmla="*/ 7130 w 10000"/>
                <a:gd name="connsiteY37" fmla="*/ 3458 h 9706"/>
                <a:gd name="connsiteX38" fmla="*/ 7421 w 10000"/>
                <a:gd name="connsiteY38" fmla="*/ 4242 h 9706"/>
                <a:gd name="connsiteX39" fmla="*/ 8002 w 10000"/>
                <a:gd name="connsiteY39" fmla="*/ 5889 h 9706"/>
                <a:gd name="connsiteX40" fmla="*/ 8319 w 10000"/>
                <a:gd name="connsiteY40" fmla="*/ 6738 h 9706"/>
                <a:gd name="connsiteX41" fmla="*/ 8635 w 10000"/>
                <a:gd name="connsiteY41" fmla="*/ 7536 h 9706"/>
                <a:gd name="connsiteX42" fmla="*/ 8811 w 10000"/>
                <a:gd name="connsiteY42" fmla="*/ 7945 h 9706"/>
                <a:gd name="connsiteX43" fmla="*/ 9002 w 10000"/>
                <a:gd name="connsiteY43" fmla="*/ 8320 h 9706"/>
                <a:gd name="connsiteX44" fmla="*/ 9179 w 10000"/>
                <a:gd name="connsiteY44" fmla="*/ 8678 h 9706"/>
                <a:gd name="connsiteX45" fmla="*/ 9368 w 10000"/>
                <a:gd name="connsiteY45" fmla="*/ 9038 h 9706"/>
                <a:gd name="connsiteX46" fmla="*/ 9570 w 10000"/>
                <a:gd name="connsiteY46" fmla="*/ 9380 h 9706"/>
                <a:gd name="connsiteX47" fmla="*/ 9772 w 10000"/>
                <a:gd name="connsiteY47" fmla="*/ 9706 h 9706"/>
                <a:gd name="connsiteX48" fmla="*/ 10000 w 10000"/>
                <a:gd name="connsiteY48" fmla="*/ 7700 h 9706"/>
                <a:gd name="connsiteX49" fmla="*/ 9760 w 10000"/>
                <a:gd name="connsiteY49" fmla="*/ 7031 h 9706"/>
                <a:gd name="connsiteX50" fmla="*/ 9267 w 10000"/>
                <a:gd name="connsiteY50" fmla="*/ 5661 h 9706"/>
                <a:gd name="connsiteX51" fmla="*/ 9014 w 10000"/>
                <a:gd name="connsiteY51" fmla="*/ 4959 h 9706"/>
                <a:gd name="connsiteX52" fmla="*/ 8736 w 10000"/>
                <a:gd name="connsiteY52" fmla="*/ 4258 h 9706"/>
                <a:gd name="connsiteX53" fmla="*/ 8458 w 10000"/>
                <a:gd name="connsiteY53" fmla="*/ 3605 h 9706"/>
                <a:gd name="connsiteX54" fmla="*/ 8143 w 10000"/>
                <a:gd name="connsiteY54" fmla="*/ 2969 h 9706"/>
                <a:gd name="connsiteX55" fmla="*/ 7989 w 10000"/>
                <a:gd name="connsiteY55" fmla="*/ 2659 h 9706"/>
                <a:gd name="connsiteX56" fmla="*/ 7826 w 10000"/>
                <a:gd name="connsiteY56" fmla="*/ 2366 h 9706"/>
                <a:gd name="connsiteX57" fmla="*/ 7661 w 10000"/>
                <a:gd name="connsiteY57" fmla="*/ 2072 h 9706"/>
                <a:gd name="connsiteX58" fmla="*/ 7485 w 10000"/>
                <a:gd name="connsiteY58" fmla="*/ 1794 h 9706"/>
                <a:gd name="connsiteX59" fmla="*/ 7308 w 10000"/>
                <a:gd name="connsiteY59" fmla="*/ 1533 h 9706"/>
                <a:gd name="connsiteX60" fmla="*/ 7118 w 10000"/>
                <a:gd name="connsiteY60" fmla="*/ 1305 h 9706"/>
                <a:gd name="connsiteX61" fmla="*/ 6915 w 10000"/>
                <a:gd name="connsiteY61" fmla="*/ 1061 h 9706"/>
                <a:gd name="connsiteX62" fmla="*/ 6726 w 10000"/>
                <a:gd name="connsiteY62" fmla="*/ 864 h 9706"/>
                <a:gd name="connsiteX63" fmla="*/ 6511 w 10000"/>
                <a:gd name="connsiteY63" fmla="*/ 686 h 9706"/>
                <a:gd name="connsiteX64" fmla="*/ 6295 w 10000"/>
                <a:gd name="connsiteY64" fmla="*/ 522 h 9706"/>
                <a:gd name="connsiteX65" fmla="*/ 6068 w 10000"/>
                <a:gd name="connsiteY65" fmla="*/ 375 h 9706"/>
                <a:gd name="connsiteX66" fmla="*/ 5841 w 10000"/>
                <a:gd name="connsiteY66" fmla="*/ 245 h 9706"/>
                <a:gd name="connsiteX67" fmla="*/ 5601 w 10000"/>
                <a:gd name="connsiteY67" fmla="*/ 147 h 9706"/>
                <a:gd name="connsiteX68" fmla="*/ 5347 w 10000"/>
                <a:gd name="connsiteY68" fmla="*/ 81 h 9706"/>
                <a:gd name="connsiteX69" fmla="*/ 5082 w 10000"/>
                <a:gd name="connsiteY69" fmla="*/ 16 h 9706"/>
                <a:gd name="connsiteX70" fmla="*/ 4817 w 10000"/>
                <a:gd name="connsiteY70" fmla="*/ 0 h 9706"/>
                <a:gd name="connsiteX71" fmla="*/ 4588 w 10000"/>
                <a:gd name="connsiteY71" fmla="*/ 16 h 9706"/>
                <a:gd name="connsiteX72" fmla="*/ 4375 w 10000"/>
                <a:gd name="connsiteY72" fmla="*/ 49 h 9706"/>
                <a:gd name="connsiteX73" fmla="*/ 4160 w 10000"/>
                <a:gd name="connsiteY73" fmla="*/ 98 h 9706"/>
                <a:gd name="connsiteX74" fmla="*/ 3971 w 10000"/>
                <a:gd name="connsiteY74" fmla="*/ 147 h 9706"/>
                <a:gd name="connsiteX75" fmla="*/ 3767 w 10000"/>
                <a:gd name="connsiteY75" fmla="*/ 228 h 9706"/>
                <a:gd name="connsiteX76" fmla="*/ 3564 w 10000"/>
                <a:gd name="connsiteY76" fmla="*/ 310 h 9706"/>
                <a:gd name="connsiteX77" fmla="*/ 3389 w 10000"/>
                <a:gd name="connsiteY77" fmla="*/ 424 h 9706"/>
                <a:gd name="connsiteX78" fmla="*/ 3198 w 10000"/>
                <a:gd name="connsiteY78" fmla="*/ 555 h 9706"/>
                <a:gd name="connsiteX79" fmla="*/ 3035 w 10000"/>
                <a:gd name="connsiteY79" fmla="*/ 702 h 9706"/>
                <a:gd name="connsiteX80" fmla="*/ 2857 w 10000"/>
                <a:gd name="connsiteY80" fmla="*/ 848 h 9706"/>
                <a:gd name="connsiteX81" fmla="*/ 2693 w 10000"/>
                <a:gd name="connsiteY81" fmla="*/ 1011 h 9706"/>
                <a:gd name="connsiteX82" fmla="*/ 2528 w 10000"/>
                <a:gd name="connsiteY82" fmla="*/ 1191 h 9706"/>
                <a:gd name="connsiteX83" fmla="*/ 2377 w 10000"/>
                <a:gd name="connsiteY83" fmla="*/ 1370 h 9706"/>
                <a:gd name="connsiteX84" fmla="*/ 2212 w 10000"/>
                <a:gd name="connsiteY84" fmla="*/ 1583 h 9706"/>
                <a:gd name="connsiteX85" fmla="*/ 1922 w 10000"/>
                <a:gd name="connsiteY85" fmla="*/ 2023 h 9706"/>
                <a:gd name="connsiteX86" fmla="*/ 1644 w 10000"/>
                <a:gd name="connsiteY86" fmla="*/ 2480 h 9706"/>
                <a:gd name="connsiteX87" fmla="*/ 1379 w 10000"/>
                <a:gd name="connsiteY87" fmla="*/ 2969 h 9706"/>
                <a:gd name="connsiteX88" fmla="*/ 1125 w 10000"/>
                <a:gd name="connsiteY88" fmla="*/ 3491 h 9706"/>
                <a:gd name="connsiteX89" fmla="*/ 885 w 10000"/>
                <a:gd name="connsiteY89" fmla="*/ 4030 h 9706"/>
                <a:gd name="connsiteX90" fmla="*/ 658 w 10000"/>
                <a:gd name="connsiteY90" fmla="*/ 4567 h 9706"/>
                <a:gd name="connsiteX91" fmla="*/ 431 w 10000"/>
                <a:gd name="connsiteY91" fmla="*/ 5139 h 9706"/>
                <a:gd name="connsiteX92" fmla="*/ 0 w 10000"/>
                <a:gd name="connsiteY92" fmla="*/ 6281 h 9706"/>
                <a:gd name="connsiteX0" fmla="*/ 0 w 10000"/>
                <a:gd name="connsiteY0" fmla="*/ 6471 h 9664"/>
                <a:gd name="connsiteX1" fmla="*/ 0 w 10000"/>
                <a:gd name="connsiteY1" fmla="*/ 6471 h 9664"/>
                <a:gd name="connsiteX2" fmla="*/ 316 w 10000"/>
                <a:gd name="connsiteY2" fmla="*/ 7345 h 9664"/>
                <a:gd name="connsiteX3" fmla="*/ 608 w 10000"/>
                <a:gd name="connsiteY3" fmla="*/ 8202 h 9664"/>
                <a:gd name="connsiteX4" fmla="*/ 898 w 10000"/>
                <a:gd name="connsiteY4" fmla="*/ 7563 h 9664"/>
                <a:gd name="connsiteX5" fmla="*/ 1163 w 10000"/>
                <a:gd name="connsiteY5" fmla="*/ 6892 h 9664"/>
                <a:gd name="connsiteX6" fmla="*/ 1441 w 10000"/>
                <a:gd name="connsiteY6" fmla="*/ 6235 h 9664"/>
                <a:gd name="connsiteX7" fmla="*/ 1681 w 10000"/>
                <a:gd name="connsiteY7" fmla="*/ 5564 h 9664"/>
                <a:gd name="connsiteX8" fmla="*/ 2162 w 10000"/>
                <a:gd name="connsiteY8" fmla="*/ 4236 h 9664"/>
                <a:gd name="connsiteX9" fmla="*/ 2403 w 10000"/>
                <a:gd name="connsiteY9" fmla="*/ 3597 h 9664"/>
                <a:gd name="connsiteX10" fmla="*/ 2630 w 10000"/>
                <a:gd name="connsiteY10" fmla="*/ 2991 h 9664"/>
                <a:gd name="connsiteX11" fmla="*/ 2869 w 10000"/>
                <a:gd name="connsiteY11" fmla="*/ 2438 h 9664"/>
                <a:gd name="connsiteX12" fmla="*/ 3110 w 10000"/>
                <a:gd name="connsiteY12" fmla="*/ 1933 h 9664"/>
                <a:gd name="connsiteX13" fmla="*/ 3236 w 10000"/>
                <a:gd name="connsiteY13" fmla="*/ 1680 h 9664"/>
                <a:gd name="connsiteX14" fmla="*/ 3363 w 10000"/>
                <a:gd name="connsiteY14" fmla="*/ 1479 h 9664"/>
                <a:gd name="connsiteX15" fmla="*/ 3502 w 10000"/>
                <a:gd name="connsiteY15" fmla="*/ 1260 h 9664"/>
                <a:gd name="connsiteX16" fmla="*/ 3628 w 10000"/>
                <a:gd name="connsiteY16" fmla="*/ 1076 h 9664"/>
                <a:gd name="connsiteX17" fmla="*/ 3767 w 10000"/>
                <a:gd name="connsiteY17" fmla="*/ 908 h 9664"/>
                <a:gd name="connsiteX18" fmla="*/ 3907 w 10000"/>
                <a:gd name="connsiteY18" fmla="*/ 756 h 9664"/>
                <a:gd name="connsiteX19" fmla="*/ 4046 w 10000"/>
                <a:gd name="connsiteY19" fmla="*/ 621 h 9664"/>
                <a:gd name="connsiteX20" fmla="*/ 4198 w 10000"/>
                <a:gd name="connsiteY20" fmla="*/ 521 h 9664"/>
                <a:gd name="connsiteX21" fmla="*/ 4337 w 10000"/>
                <a:gd name="connsiteY21" fmla="*/ 420 h 9664"/>
                <a:gd name="connsiteX22" fmla="*/ 4488 w 10000"/>
                <a:gd name="connsiteY22" fmla="*/ 370 h 9664"/>
                <a:gd name="connsiteX23" fmla="*/ 4652 w 10000"/>
                <a:gd name="connsiteY23" fmla="*/ 319 h 9664"/>
                <a:gd name="connsiteX24" fmla="*/ 4817 w 10000"/>
                <a:gd name="connsiteY24" fmla="*/ 319 h 9664"/>
                <a:gd name="connsiteX25" fmla="*/ 5019 w 10000"/>
                <a:gd name="connsiteY25" fmla="*/ 336 h 9664"/>
                <a:gd name="connsiteX26" fmla="*/ 5221 w 10000"/>
                <a:gd name="connsiteY26" fmla="*/ 404 h 9664"/>
                <a:gd name="connsiteX27" fmla="*/ 5398 w 10000"/>
                <a:gd name="connsiteY27" fmla="*/ 521 h 9664"/>
                <a:gd name="connsiteX28" fmla="*/ 5589 w 10000"/>
                <a:gd name="connsiteY28" fmla="*/ 639 h 9664"/>
                <a:gd name="connsiteX29" fmla="*/ 5752 w 10000"/>
                <a:gd name="connsiteY29" fmla="*/ 807 h 9664"/>
                <a:gd name="connsiteX30" fmla="*/ 5929 w 10000"/>
                <a:gd name="connsiteY30" fmla="*/ 1025 h 9664"/>
                <a:gd name="connsiteX31" fmla="*/ 6081 w 10000"/>
                <a:gd name="connsiteY31" fmla="*/ 1260 h 9664"/>
                <a:gd name="connsiteX32" fmla="*/ 6258 w 10000"/>
                <a:gd name="connsiteY32" fmla="*/ 1529 h 9664"/>
                <a:gd name="connsiteX33" fmla="*/ 6398 w 10000"/>
                <a:gd name="connsiteY33" fmla="*/ 1815 h 9664"/>
                <a:gd name="connsiteX34" fmla="*/ 6549 w 10000"/>
                <a:gd name="connsiteY34" fmla="*/ 2135 h 9664"/>
                <a:gd name="connsiteX35" fmla="*/ 6688 w 10000"/>
                <a:gd name="connsiteY35" fmla="*/ 2453 h 9664"/>
                <a:gd name="connsiteX36" fmla="*/ 6852 w 10000"/>
                <a:gd name="connsiteY36" fmla="*/ 2808 h 9664"/>
                <a:gd name="connsiteX37" fmla="*/ 7130 w 10000"/>
                <a:gd name="connsiteY37" fmla="*/ 3563 h 9664"/>
                <a:gd name="connsiteX38" fmla="*/ 7421 w 10000"/>
                <a:gd name="connsiteY38" fmla="*/ 4370 h 9664"/>
                <a:gd name="connsiteX39" fmla="*/ 8002 w 10000"/>
                <a:gd name="connsiteY39" fmla="*/ 6067 h 9664"/>
                <a:gd name="connsiteX40" fmla="*/ 8319 w 10000"/>
                <a:gd name="connsiteY40" fmla="*/ 6942 h 9664"/>
                <a:gd name="connsiteX41" fmla="*/ 8635 w 10000"/>
                <a:gd name="connsiteY41" fmla="*/ 7764 h 9664"/>
                <a:gd name="connsiteX42" fmla="*/ 8811 w 10000"/>
                <a:gd name="connsiteY42" fmla="*/ 8186 h 9664"/>
                <a:gd name="connsiteX43" fmla="*/ 9002 w 10000"/>
                <a:gd name="connsiteY43" fmla="*/ 8572 h 9664"/>
                <a:gd name="connsiteX44" fmla="*/ 9179 w 10000"/>
                <a:gd name="connsiteY44" fmla="*/ 8941 h 9664"/>
                <a:gd name="connsiteX45" fmla="*/ 9368 w 10000"/>
                <a:gd name="connsiteY45" fmla="*/ 9312 h 9664"/>
                <a:gd name="connsiteX46" fmla="*/ 9570 w 10000"/>
                <a:gd name="connsiteY46" fmla="*/ 9664 h 9664"/>
                <a:gd name="connsiteX47" fmla="*/ 10000 w 10000"/>
                <a:gd name="connsiteY47" fmla="*/ 7933 h 9664"/>
                <a:gd name="connsiteX48" fmla="*/ 9760 w 10000"/>
                <a:gd name="connsiteY48" fmla="*/ 7244 h 9664"/>
                <a:gd name="connsiteX49" fmla="*/ 9267 w 10000"/>
                <a:gd name="connsiteY49" fmla="*/ 5832 h 9664"/>
                <a:gd name="connsiteX50" fmla="*/ 9014 w 10000"/>
                <a:gd name="connsiteY50" fmla="*/ 5109 h 9664"/>
                <a:gd name="connsiteX51" fmla="*/ 8736 w 10000"/>
                <a:gd name="connsiteY51" fmla="*/ 4387 h 9664"/>
                <a:gd name="connsiteX52" fmla="*/ 8458 w 10000"/>
                <a:gd name="connsiteY52" fmla="*/ 3714 h 9664"/>
                <a:gd name="connsiteX53" fmla="*/ 8143 w 10000"/>
                <a:gd name="connsiteY53" fmla="*/ 3059 h 9664"/>
                <a:gd name="connsiteX54" fmla="*/ 7989 w 10000"/>
                <a:gd name="connsiteY54" fmla="*/ 2740 h 9664"/>
                <a:gd name="connsiteX55" fmla="*/ 7826 w 10000"/>
                <a:gd name="connsiteY55" fmla="*/ 2438 h 9664"/>
                <a:gd name="connsiteX56" fmla="*/ 7661 w 10000"/>
                <a:gd name="connsiteY56" fmla="*/ 2135 h 9664"/>
                <a:gd name="connsiteX57" fmla="*/ 7485 w 10000"/>
                <a:gd name="connsiteY57" fmla="*/ 1848 h 9664"/>
                <a:gd name="connsiteX58" fmla="*/ 7308 w 10000"/>
                <a:gd name="connsiteY58" fmla="*/ 1579 h 9664"/>
                <a:gd name="connsiteX59" fmla="*/ 7118 w 10000"/>
                <a:gd name="connsiteY59" fmla="*/ 1345 h 9664"/>
                <a:gd name="connsiteX60" fmla="*/ 6915 w 10000"/>
                <a:gd name="connsiteY60" fmla="*/ 1093 h 9664"/>
                <a:gd name="connsiteX61" fmla="*/ 6726 w 10000"/>
                <a:gd name="connsiteY61" fmla="*/ 890 h 9664"/>
                <a:gd name="connsiteX62" fmla="*/ 6511 w 10000"/>
                <a:gd name="connsiteY62" fmla="*/ 707 h 9664"/>
                <a:gd name="connsiteX63" fmla="*/ 6295 w 10000"/>
                <a:gd name="connsiteY63" fmla="*/ 538 h 9664"/>
                <a:gd name="connsiteX64" fmla="*/ 6068 w 10000"/>
                <a:gd name="connsiteY64" fmla="*/ 386 h 9664"/>
                <a:gd name="connsiteX65" fmla="*/ 5841 w 10000"/>
                <a:gd name="connsiteY65" fmla="*/ 252 h 9664"/>
                <a:gd name="connsiteX66" fmla="*/ 5601 w 10000"/>
                <a:gd name="connsiteY66" fmla="*/ 151 h 9664"/>
                <a:gd name="connsiteX67" fmla="*/ 5347 w 10000"/>
                <a:gd name="connsiteY67" fmla="*/ 83 h 9664"/>
                <a:gd name="connsiteX68" fmla="*/ 5082 w 10000"/>
                <a:gd name="connsiteY68" fmla="*/ 16 h 9664"/>
                <a:gd name="connsiteX69" fmla="*/ 4817 w 10000"/>
                <a:gd name="connsiteY69" fmla="*/ 0 h 9664"/>
                <a:gd name="connsiteX70" fmla="*/ 4588 w 10000"/>
                <a:gd name="connsiteY70" fmla="*/ 16 h 9664"/>
                <a:gd name="connsiteX71" fmla="*/ 4375 w 10000"/>
                <a:gd name="connsiteY71" fmla="*/ 50 h 9664"/>
                <a:gd name="connsiteX72" fmla="*/ 4160 w 10000"/>
                <a:gd name="connsiteY72" fmla="*/ 101 h 9664"/>
                <a:gd name="connsiteX73" fmla="*/ 3971 w 10000"/>
                <a:gd name="connsiteY73" fmla="*/ 151 h 9664"/>
                <a:gd name="connsiteX74" fmla="*/ 3767 w 10000"/>
                <a:gd name="connsiteY74" fmla="*/ 235 h 9664"/>
                <a:gd name="connsiteX75" fmla="*/ 3564 w 10000"/>
                <a:gd name="connsiteY75" fmla="*/ 319 h 9664"/>
                <a:gd name="connsiteX76" fmla="*/ 3389 w 10000"/>
                <a:gd name="connsiteY76" fmla="*/ 437 h 9664"/>
                <a:gd name="connsiteX77" fmla="*/ 3198 w 10000"/>
                <a:gd name="connsiteY77" fmla="*/ 572 h 9664"/>
                <a:gd name="connsiteX78" fmla="*/ 3035 w 10000"/>
                <a:gd name="connsiteY78" fmla="*/ 723 h 9664"/>
                <a:gd name="connsiteX79" fmla="*/ 2857 w 10000"/>
                <a:gd name="connsiteY79" fmla="*/ 874 h 9664"/>
                <a:gd name="connsiteX80" fmla="*/ 2693 w 10000"/>
                <a:gd name="connsiteY80" fmla="*/ 1042 h 9664"/>
                <a:gd name="connsiteX81" fmla="*/ 2528 w 10000"/>
                <a:gd name="connsiteY81" fmla="*/ 1227 h 9664"/>
                <a:gd name="connsiteX82" fmla="*/ 2377 w 10000"/>
                <a:gd name="connsiteY82" fmla="*/ 1411 h 9664"/>
                <a:gd name="connsiteX83" fmla="*/ 2212 w 10000"/>
                <a:gd name="connsiteY83" fmla="*/ 1631 h 9664"/>
                <a:gd name="connsiteX84" fmla="*/ 1922 w 10000"/>
                <a:gd name="connsiteY84" fmla="*/ 2084 h 9664"/>
                <a:gd name="connsiteX85" fmla="*/ 1644 w 10000"/>
                <a:gd name="connsiteY85" fmla="*/ 2555 h 9664"/>
                <a:gd name="connsiteX86" fmla="*/ 1379 w 10000"/>
                <a:gd name="connsiteY86" fmla="*/ 3059 h 9664"/>
                <a:gd name="connsiteX87" fmla="*/ 1125 w 10000"/>
                <a:gd name="connsiteY87" fmla="*/ 3597 h 9664"/>
                <a:gd name="connsiteX88" fmla="*/ 885 w 10000"/>
                <a:gd name="connsiteY88" fmla="*/ 4152 h 9664"/>
                <a:gd name="connsiteX89" fmla="*/ 658 w 10000"/>
                <a:gd name="connsiteY89" fmla="*/ 4705 h 9664"/>
                <a:gd name="connsiteX90" fmla="*/ 431 w 10000"/>
                <a:gd name="connsiteY90" fmla="*/ 5295 h 9664"/>
                <a:gd name="connsiteX91" fmla="*/ 0 w 10000"/>
                <a:gd name="connsiteY91" fmla="*/ 6471 h 9664"/>
                <a:gd name="connsiteX0" fmla="*/ 0 w 10000"/>
                <a:gd name="connsiteY0" fmla="*/ 6696 h 9636"/>
                <a:gd name="connsiteX1" fmla="*/ 0 w 10000"/>
                <a:gd name="connsiteY1" fmla="*/ 6696 h 9636"/>
                <a:gd name="connsiteX2" fmla="*/ 316 w 10000"/>
                <a:gd name="connsiteY2" fmla="*/ 7600 h 9636"/>
                <a:gd name="connsiteX3" fmla="*/ 608 w 10000"/>
                <a:gd name="connsiteY3" fmla="*/ 8487 h 9636"/>
                <a:gd name="connsiteX4" fmla="*/ 898 w 10000"/>
                <a:gd name="connsiteY4" fmla="*/ 7826 h 9636"/>
                <a:gd name="connsiteX5" fmla="*/ 1163 w 10000"/>
                <a:gd name="connsiteY5" fmla="*/ 7132 h 9636"/>
                <a:gd name="connsiteX6" fmla="*/ 1441 w 10000"/>
                <a:gd name="connsiteY6" fmla="*/ 6452 h 9636"/>
                <a:gd name="connsiteX7" fmla="*/ 1681 w 10000"/>
                <a:gd name="connsiteY7" fmla="*/ 5757 h 9636"/>
                <a:gd name="connsiteX8" fmla="*/ 2162 w 10000"/>
                <a:gd name="connsiteY8" fmla="*/ 4383 h 9636"/>
                <a:gd name="connsiteX9" fmla="*/ 2403 w 10000"/>
                <a:gd name="connsiteY9" fmla="*/ 3722 h 9636"/>
                <a:gd name="connsiteX10" fmla="*/ 2630 w 10000"/>
                <a:gd name="connsiteY10" fmla="*/ 3095 h 9636"/>
                <a:gd name="connsiteX11" fmla="*/ 2869 w 10000"/>
                <a:gd name="connsiteY11" fmla="*/ 2523 h 9636"/>
                <a:gd name="connsiteX12" fmla="*/ 3110 w 10000"/>
                <a:gd name="connsiteY12" fmla="*/ 2000 h 9636"/>
                <a:gd name="connsiteX13" fmla="*/ 3236 w 10000"/>
                <a:gd name="connsiteY13" fmla="*/ 1738 h 9636"/>
                <a:gd name="connsiteX14" fmla="*/ 3363 w 10000"/>
                <a:gd name="connsiteY14" fmla="*/ 1530 h 9636"/>
                <a:gd name="connsiteX15" fmla="*/ 3502 w 10000"/>
                <a:gd name="connsiteY15" fmla="*/ 1304 h 9636"/>
                <a:gd name="connsiteX16" fmla="*/ 3628 w 10000"/>
                <a:gd name="connsiteY16" fmla="*/ 1113 h 9636"/>
                <a:gd name="connsiteX17" fmla="*/ 3767 w 10000"/>
                <a:gd name="connsiteY17" fmla="*/ 940 h 9636"/>
                <a:gd name="connsiteX18" fmla="*/ 3907 w 10000"/>
                <a:gd name="connsiteY18" fmla="*/ 782 h 9636"/>
                <a:gd name="connsiteX19" fmla="*/ 4046 w 10000"/>
                <a:gd name="connsiteY19" fmla="*/ 643 h 9636"/>
                <a:gd name="connsiteX20" fmla="*/ 4198 w 10000"/>
                <a:gd name="connsiteY20" fmla="*/ 539 h 9636"/>
                <a:gd name="connsiteX21" fmla="*/ 4337 w 10000"/>
                <a:gd name="connsiteY21" fmla="*/ 435 h 9636"/>
                <a:gd name="connsiteX22" fmla="*/ 4488 w 10000"/>
                <a:gd name="connsiteY22" fmla="*/ 383 h 9636"/>
                <a:gd name="connsiteX23" fmla="*/ 4652 w 10000"/>
                <a:gd name="connsiteY23" fmla="*/ 330 h 9636"/>
                <a:gd name="connsiteX24" fmla="*/ 4817 w 10000"/>
                <a:gd name="connsiteY24" fmla="*/ 330 h 9636"/>
                <a:gd name="connsiteX25" fmla="*/ 5019 w 10000"/>
                <a:gd name="connsiteY25" fmla="*/ 348 h 9636"/>
                <a:gd name="connsiteX26" fmla="*/ 5221 w 10000"/>
                <a:gd name="connsiteY26" fmla="*/ 418 h 9636"/>
                <a:gd name="connsiteX27" fmla="*/ 5398 w 10000"/>
                <a:gd name="connsiteY27" fmla="*/ 539 h 9636"/>
                <a:gd name="connsiteX28" fmla="*/ 5589 w 10000"/>
                <a:gd name="connsiteY28" fmla="*/ 661 h 9636"/>
                <a:gd name="connsiteX29" fmla="*/ 5752 w 10000"/>
                <a:gd name="connsiteY29" fmla="*/ 835 h 9636"/>
                <a:gd name="connsiteX30" fmla="*/ 5929 w 10000"/>
                <a:gd name="connsiteY30" fmla="*/ 1061 h 9636"/>
                <a:gd name="connsiteX31" fmla="*/ 6081 w 10000"/>
                <a:gd name="connsiteY31" fmla="*/ 1304 h 9636"/>
                <a:gd name="connsiteX32" fmla="*/ 6258 w 10000"/>
                <a:gd name="connsiteY32" fmla="*/ 1582 h 9636"/>
                <a:gd name="connsiteX33" fmla="*/ 6398 w 10000"/>
                <a:gd name="connsiteY33" fmla="*/ 1878 h 9636"/>
                <a:gd name="connsiteX34" fmla="*/ 6549 w 10000"/>
                <a:gd name="connsiteY34" fmla="*/ 2209 h 9636"/>
                <a:gd name="connsiteX35" fmla="*/ 6688 w 10000"/>
                <a:gd name="connsiteY35" fmla="*/ 2538 h 9636"/>
                <a:gd name="connsiteX36" fmla="*/ 6852 w 10000"/>
                <a:gd name="connsiteY36" fmla="*/ 2906 h 9636"/>
                <a:gd name="connsiteX37" fmla="*/ 7130 w 10000"/>
                <a:gd name="connsiteY37" fmla="*/ 3687 h 9636"/>
                <a:gd name="connsiteX38" fmla="*/ 7421 w 10000"/>
                <a:gd name="connsiteY38" fmla="*/ 4522 h 9636"/>
                <a:gd name="connsiteX39" fmla="*/ 8002 w 10000"/>
                <a:gd name="connsiteY39" fmla="*/ 6278 h 9636"/>
                <a:gd name="connsiteX40" fmla="*/ 8319 w 10000"/>
                <a:gd name="connsiteY40" fmla="*/ 7183 h 9636"/>
                <a:gd name="connsiteX41" fmla="*/ 8635 w 10000"/>
                <a:gd name="connsiteY41" fmla="*/ 8034 h 9636"/>
                <a:gd name="connsiteX42" fmla="*/ 8811 w 10000"/>
                <a:gd name="connsiteY42" fmla="*/ 8471 h 9636"/>
                <a:gd name="connsiteX43" fmla="*/ 9002 w 10000"/>
                <a:gd name="connsiteY43" fmla="*/ 8870 h 9636"/>
                <a:gd name="connsiteX44" fmla="*/ 9179 w 10000"/>
                <a:gd name="connsiteY44" fmla="*/ 9252 h 9636"/>
                <a:gd name="connsiteX45" fmla="*/ 9368 w 10000"/>
                <a:gd name="connsiteY45" fmla="*/ 9636 h 9636"/>
                <a:gd name="connsiteX46" fmla="*/ 10000 w 10000"/>
                <a:gd name="connsiteY46" fmla="*/ 8209 h 9636"/>
                <a:gd name="connsiteX47" fmla="*/ 9760 w 10000"/>
                <a:gd name="connsiteY47" fmla="*/ 7496 h 9636"/>
                <a:gd name="connsiteX48" fmla="*/ 9267 w 10000"/>
                <a:gd name="connsiteY48" fmla="*/ 6035 h 9636"/>
                <a:gd name="connsiteX49" fmla="*/ 9014 w 10000"/>
                <a:gd name="connsiteY49" fmla="*/ 5287 h 9636"/>
                <a:gd name="connsiteX50" fmla="*/ 8736 w 10000"/>
                <a:gd name="connsiteY50" fmla="*/ 4540 h 9636"/>
                <a:gd name="connsiteX51" fmla="*/ 8458 w 10000"/>
                <a:gd name="connsiteY51" fmla="*/ 3843 h 9636"/>
                <a:gd name="connsiteX52" fmla="*/ 8143 w 10000"/>
                <a:gd name="connsiteY52" fmla="*/ 3165 h 9636"/>
                <a:gd name="connsiteX53" fmla="*/ 7989 w 10000"/>
                <a:gd name="connsiteY53" fmla="*/ 2835 h 9636"/>
                <a:gd name="connsiteX54" fmla="*/ 7826 w 10000"/>
                <a:gd name="connsiteY54" fmla="*/ 2523 h 9636"/>
                <a:gd name="connsiteX55" fmla="*/ 7661 w 10000"/>
                <a:gd name="connsiteY55" fmla="*/ 2209 h 9636"/>
                <a:gd name="connsiteX56" fmla="*/ 7485 w 10000"/>
                <a:gd name="connsiteY56" fmla="*/ 1912 h 9636"/>
                <a:gd name="connsiteX57" fmla="*/ 7308 w 10000"/>
                <a:gd name="connsiteY57" fmla="*/ 1634 h 9636"/>
                <a:gd name="connsiteX58" fmla="*/ 7118 w 10000"/>
                <a:gd name="connsiteY58" fmla="*/ 1392 h 9636"/>
                <a:gd name="connsiteX59" fmla="*/ 6915 w 10000"/>
                <a:gd name="connsiteY59" fmla="*/ 1131 h 9636"/>
                <a:gd name="connsiteX60" fmla="*/ 6726 w 10000"/>
                <a:gd name="connsiteY60" fmla="*/ 921 h 9636"/>
                <a:gd name="connsiteX61" fmla="*/ 6511 w 10000"/>
                <a:gd name="connsiteY61" fmla="*/ 732 h 9636"/>
                <a:gd name="connsiteX62" fmla="*/ 6295 w 10000"/>
                <a:gd name="connsiteY62" fmla="*/ 557 h 9636"/>
                <a:gd name="connsiteX63" fmla="*/ 6068 w 10000"/>
                <a:gd name="connsiteY63" fmla="*/ 399 h 9636"/>
                <a:gd name="connsiteX64" fmla="*/ 5841 w 10000"/>
                <a:gd name="connsiteY64" fmla="*/ 261 h 9636"/>
                <a:gd name="connsiteX65" fmla="*/ 5601 w 10000"/>
                <a:gd name="connsiteY65" fmla="*/ 156 h 9636"/>
                <a:gd name="connsiteX66" fmla="*/ 5347 w 10000"/>
                <a:gd name="connsiteY66" fmla="*/ 86 h 9636"/>
                <a:gd name="connsiteX67" fmla="*/ 5082 w 10000"/>
                <a:gd name="connsiteY67" fmla="*/ 17 h 9636"/>
                <a:gd name="connsiteX68" fmla="*/ 4817 w 10000"/>
                <a:gd name="connsiteY68" fmla="*/ 0 h 9636"/>
                <a:gd name="connsiteX69" fmla="*/ 4588 w 10000"/>
                <a:gd name="connsiteY69" fmla="*/ 17 h 9636"/>
                <a:gd name="connsiteX70" fmla="*/ 4375 w 10000"/>
                <a:gd name="connsiteY70" fmla="*/ 52 h 9636"/>
                <a:gd name="connsiteX71" fmla="*/ 4160 w 10000"/>
                <a:gd name="connsiteY71" fmla="*/ 105 h 9636"/>
                <a:gd name="connsiteX72" fmla="*/ 3971 w 10000"/>
                <a:gd name="connsiteY72" fmla="*/ 156 h 9636"/>
                <a:gd name="connsiteX73" fmla="*/ 3767 w 10000"/>
                <a:gd name="connsiteY73" fmla="*/ 243 h 9636"/>
                <a:gd name="connsiteX74" fmla="*/ 3564 w 10000"/>
                <a:gd name="connsiteY74" fmla="*/ 330 h 9636"/>
                <a:gd name="connsiteX75" fmla="*/ 3389 w 10000"/>
                <a:gd name="connsiteY75" fmla="*/ 452 h 9636"/>
                <a:gd name="connsiteX76" fmla="*/ 3198 w 10000"/>
                <a:gd name="connsiteY76" fmla="*/ 592 h 9636"/>
                <a:gd name="connsiteX77" fmla="*/ 3035 w 10000"/>
                <a:gd name="connsiteY77" fmla="*/ 748 h 9636"/>
                <a:gd name="connsiteX78" fmla="*/ 2857 w 10000"/>
                <a:gd name="connsiteY78" fmla="*/ 904 h 9636"/>
                <a:gd name="connsiteX79" fmla="*/ 2693 w 10000"/>
                <a:gd name="connsiteY79" fmla="*/ 1078 h 9636"/>
                <a:gd name="connsiteX80" fmla="*/ 2528 w 10000"/>
                <a:gd name="connsiteY80" fmla="*/ 1270 h 9636"/>
                <a:gd name="connsiteX81" fmla="*/ 2377 w 10000"/>
                <a:gd name="connsiteY81" fmla="*/ 1460 h 9636"/>
                <a:gd name="connsiteX82" fmla="*/ 2212 w 10000"/>
                <a:gd name="connsiteY82" fmla="*/ 1688 h 9636"/>
                <a:gd name="connsiteX83" fmla="*/ 1922 w 10000"/>
                <a:gd name="connsiteY83" fmla="*/ 2156 h 9636"/>
                <a:gd name="connsiteX84" fmla="*/ 1644 w 10000"/>
                <a:gd name="connsiteY84" fmla="*/ 2644 h 9636"/>
                <a:gd name="connsiteX85" fmla="*/ 1379 w 10000"/>
                <a:gd name="connsiteY85" fmla="*/ 3165 h 9636"/>
                <a:gd name="connsiteX86" fmla="*/ 1125 w 10000"/>
                <a:gd name="connsiteY86" fmla="*/ 3722 h 9636"/>
                <a:gd name="connsiteX87" fmla="*/ 885 w 10000"/>
                <a:gd name="connsiteY87" fmla="*/ 4296 h 9636"/>
                <a:gd name="connsiteX88" fmla="*/ 658 w 10000"/>
                <a:gd name="connsiteY88" fmla="*/ 4869 h 9636"/>
                <a:gd name="connsiteX89" fmla="*/ 431 w 10000"/>
                <a:gd name="connsiteY89" fmla="*/ 5479 h 9636"/>
                <a:gd name="connsiteX90" fmla="*/ 0 w 10000"/>
                <a:gd name="connsiteY90" fmla="*/ 6696 h 9636"/>
                <a:gd name="connsiteX0" fmla="*/ 0 w 10000"/>
                <a:gd name="connsiteY0" fmla="*/ 6949 h 9601"/>
                <a:gd name="connsiteX1" fmla="*/ 0 w 10000"/>
                <a:gd name="connsiteY1" fmla="*/ 6949 h 9601"/>
                <a:gd name="connsiteX2" fmla="*/ 316 w 10000"/>
                <a:gd name="connsiteY2" fmla="*/ 7887 h 9601"/>
                <a:gd name="connsiteX3" fmla="*/ 608 w 10000"/>
                <a:gd name="connsiteY3" fmla="*/ 8808 h 9601"/>
                <a:gd name="connsiteX4" fmla="*/ 898 w 10000"/>
                <a:gd name="connsiteY4" fmla="*/ 8122 h 9601"/>
                <a:gd name="connsiteX5" fmla="*/ 1163 w 10000"/>
                <a:gd name="connsiteY5" fmla="*/ 7401 h 9601"/>
                <a:gd name="connsiteX6" fmla="*/ 1441 w 10000"/>
                <a:gd name="connsiteY6" fmla="*/ 6696 h 9601"/>
                <a:gd name="connsiteX7" fmla="*/ 1681 w 10000"/>
                <a:gd name="connsiteY7" fmla="*/ 5974 h 9601"/>
                <a:gd name="connsiteX8" fmla="*/ 2162 w 10000"/>
                <a:gd name="connsiteY8" fmla="*/ 4549 h 9601"/>
                <a:gd name="connsiteX9" fmla="*/ 2403 w 10000"/>
                <a:gd name="connsiteY9" fmla="*/ 3863 h 9601"/>
                <a:gd name="connsiteX10" fmla="*/ 2630 w 10000"/>
                <a:gd name="connsiteY10" fmla="*/ 3212 h 9601"/>
                <a:gd name="connsiteX11" fmla="*/ 2869 w 10000"/>
                <a:gd name="connsiteY11" fmla="*/ 2618 h 9601"/>
                <a:gd name="connsiteX12" fmla="*/ 3110 w 10000"/>
                <a:gd name="connsiteY12" fmla="*/ 2076 h 9601"/>
                <a:gd name="connsiteX13" fmla="*/ 3236 w 10000"/>
                <a:gd name="connsiteY13" fmla="*/ 1804 h 9601"/>
                <a:gd name="connsiteX14" fmla="*/ 3363 w 10000"/>
                <a:gd name="connsiteY14" fmla="*/ 1588 h 9601"/>
                <a:gd name="connsiteX15" fmla="*/ 3502 w 10000"/>
                <a:gd name="connsiteY15" fmla="*/ 1353 h 9601"/>
                <a:gd name="connsiteX16" fmla="*/ 3628 w 10000"/>
                <a:gd name="connsiteY16" fmla="*/ 1155 h 9601"/>
                <a:gd name="connsiteX17" fmla="*/ 3767 w 10000"/>
                <a:gd name="connsiteY17" fmla="*/ 976 h 9601"/>
                <a:gd name="connsiteX18" fmla="*/ 3907 w 10000"/>
                <a:gd name="connsiteY18" fmla="*/ 812 h 9601"/>
                <a:gd name="connsiteX19" fmla="*/ 4046 w 10000"/>
                <a:gd name="connsiteY19" fmla="*/ 667 h 9601"/>
                <a:gd name="connsiteX20" fmla="*/ 4198 w 10000"/>
                <a:gd name="connsiteY20" fmla="*/ 559 h 9601"/>
                <a:gd name="connsiteX21" fmla="*/ 4337 w 10000"/>
                <a:gd name="connsiteY21" fmla="*/ 451 h 9601"/>
                <a:gd name="connsiteX22" fmla="*/ 4488 w 10000"/>
                <a:gd name="connsiteY22" fmla="*/ 397 h 9601"/>
                <a:gd name="connsiteX23" fmla="*/ 4652 w 10000"/>
                <a:gd name="connsiteY23" fmla="*/ 342 h 9601"/>
                <a:gd name="connsiteX24" fmla="*/ 4817 w 10000"/>
                <a:gd name="connsiteY24" fmla="*/ 342 h 9601"/>
                <a:gd name="connsiteX25" fmla="*/ 5019 w 10000"/>
                <a:gd name="connsiteY25" fmla="*/ 361 h 9601"/>
                <a:gd name="connsiteX26" fmla="*/ 5221 w 10000"/>
                <a:gd name="connsiteY26" fmla="*/ 434 h 9601"/>
                <a:gd name="connsiteX27" fmla="*/ 5398 w 10000"/>
                <a:gd name="connsiteY27" fmla="*/ 559 h 9601"/>
                <a:gd name="connsiteX28" fmla="*/ 5589 w 10000"/>
                <a:gd name="connsiteY28" fmla="*/ 686 h 9601"/>
                <a:gd name="connsiteX29" fmla="*/ 5752 w 10000"/>
                <a:gd name="connsiteY29" fmla="*/ 867 h 9601"/>
                <a:gd name="connsiteX30" fmla="*/ 5929 w 10000"/>
                <a:gd name="connsiteY30" fmla="*/ 1101 h 9601"/>
                <a:gd name="connsiteX31" fmla="*/ 6081 w 10000"/>
                <a:gd name="connsiteY31" fmla="*/ 1353 h 9601"/>
                <a:gd name="connsiteX32" fmla="*/ 6258 w 10000"/>
                <a:gd name="connsiteY32" fmla="*/ 1642 h 9601"/>
                <a:gd name="connsiteX33" fmla="*/ 6398 w 10000"/>
                <a:gd name="connsiteY33" fmla="*/ 1949 h 9601"/>
                <a:gd name="connsiteX34" fmla="*/ 6549 w 10000"/>
                <a:gd name="connsiteY34" fmla="*/ 2292 h 9601"/>
                <a:gd name="connsiteX35" fmla="*/ 6688 w 10000"/>
                <a:gd name="connsiteY35" fmla="*/ 2634 h 9601"/>
                <a:gd name="connsiteX36" fmla="*/ 6852 w 10000"/>
                <a:gd name="connsiteY36" fmla="*/ 3016 h 9601"/>
                <a:gd name="connsiteX37" fmla="*/ 7130 w 10000"/>
                <a:gd name="connsiteY37" fmla="*/ 3826 h 9601"/>
                <a:gd name="connsiteX38" fmla="*/ 7421 w 10000"/>
                <a:gd name="connsiteY38" fmla="*/ 4693 h 9601"/>
                <a:gd name="connsiteX39" fmla="*/ 8002 w 10000"/>
                <a:gd name="connsiteY39" fmla="*/ 6515 h 9601"/>
                <a:gd name="connsiteX40" fmla="*/ 8319 w 10000"/>
                <a:gd name="connsiteY40" fmla="*/ 7454 h 9601"/>
                <a:gd name="connsiteX41" fmla="*/ 8635 w 10000"/>
                <a:gd name="connsiteY41" fmla="*/ 8337 h 9601"/>
                <a:gd name="connsiteX42" fmla="*/ 8811 w 10000"/>
                <a:gd name="connsiteY42" fmla="*/ 8791 h 9601"/>
                <a:gd name="connsiteX43" fmla="*/ 9002 w 10000"/>
                <a:gd name="connsiteY43" fmla="*/ 9205 h 9601"/>
                <a:gd name="connsiteX44" fmla="*/ 9179 w 10000"/>
                <a:gd name="connsiteY44" fmla="*/ 9601 h 9601"/>
                <a:gd name="connsiteX45" fmla="*/ 10000 w 10000"/>
                <a:gd name="connsiteY45" fmla="*/ 8519 h 9601"/>
                <a:gd name="connsiteX46" fmla="*/ 9760 w 10000"/>
                <a:gd name="connsiteY46" fmla="*/ 7779 h 9601"/>
                <a:gd name="connsiteX47" fmla="*/ 9267 w 10000"/>
                <a:gd name="connsiteY47" fmla="*/ 6263 h 9601"/>
                <a:gd name="connsiteX48" fmla="*/ 9014 w 10000"/>
                <a:gd name="connsiteY48" fmla="*/ 5487 h 9601"/>
                <a:gd name="connsiteX49" fmla="*/ 8736 w 10000"/>
                <a:gd name="connsiteY49" fmla="*/ 4711 h 9601"/>
                <a:gd name="connsiteX50" fmla="*/ 8458 w 10000"/>
                <a:gd name="connsiteY50" fmla="*/ 3988 h 9601"/>
                <a:gd name="connsiteX51" fmla="*/ 8143 w 10000"/>
                <a:gd name="connsiteY51" fmla="*/ 3285 h 9601"/>
                <a:gd name="connsiteX52" fmla="*/ 7989 w 10000"/>
                <a:gd name="connsiteY52" fmla="*/ 2942 h 9601"/>
                <a:gd name="connsiteX53" fmla="*/ 7826 w 10000"/>
                <a:gd name="connsiteY53" fmla="*/ 2618 h 9601"/>
                <a:gd name="connsiteX54" fmla="*/ 7661 w 10000"/>
                <a:gd name="connsiteY54" fmla="*/ 2292 h 9601"/>
                <a:gd name="connsiteX55" fmla="*/ 7485 w 10000"/>
                <a:gd name="connsiteY55" fmla="*/ 1984 h 9601"/>
                <a:gd name="connsiteX56" fmla="*/ 7308 w 10000"/>
                <a:gd name="connsiteY56" fmla="*/ 1696 h 9601"/>
                <a:gd name="connsiteX57" fmla="*/ 7118 w 10000"/>
                <a:gd name="connsiteY57" fmla="*/ 1445 h 9601"/>
                <a:gd name="connsiteX58" fmla="*/ 6915 w 10000"/>
                <a:gd name="connsiteY58" fmla="*/ 1174 h 9601"/>
                <a:gd name="connsiteX59" fmla="*/ 6726 w 10000"/>
                <a:gd name="connsiteY59" fmla="*/ 956 h 9601"/>
                <a:gd name="connsiteX60" fmla="*/ 6511 w 10000"/>
                <a:gd name="connsiteY60" fmla="*/ 760 h 9601"/>
                <a:gd name="connsiteX61" fmla="*/ 6295 w 10000"/>
                <a:gd name="connsiteY61" fmla="*/ 578 h 9601"/>
                <a:gd name="connsiteX62" fmla="*/ 6068 w 10000"/>
                <a:gd name="connsiteY62" fmla="*/ 414 h 9601"/>
                <a:gd name="connsiteX63" fmla="*/ 5841 w 10000"/>
                <a:gd name="connsiteY63" fmla="*/ 271 h 9601"/>
                <a:gd name="connsiteX64" fmla="*/ 5601 w 10000"/>
                <a:gd name="connsiteY64" fmla="*/ 162 h 9601"/>
                <a:gd name="connsiteX65" fmla="*/ 5347 w 10000"/>
                <a:gd name="connsiteY65" fmla="*/ 89 h 9601"/>
                <a:gd name="connsiteX66" fmla="*/ 5082 w 10000"/>
                <a:gd name="connsiteY66" fmla="*/ 18 h 9601"/>
                <a:gd name="connsiteX67" fmla="*/ 4817 w 10000"/>
                <a:gd name="connsiteY67" fmla="*/ 0 h 9601"/>
                <a:gd name="connsiteX68" fmla="*/ 4588 w 10000"/>
                <a:gd name="connsiteY68" fmla="*/ 18 h 9601"/>
                <a:gd name="connsiteX69" fmla="*/ 4375 w 10000"/>
                <a:gd name="connsiteY69" fmla="*/ 54 h 9601"/>
                <a:gd name="connsiteX70" fmla="*/ 4160 w 10000"/>
                <a:gd name="connsiteY70" fmla="*/ 109 h 9601"/>
                <a:gd name="connsiteX71" fmla="*/ 3971 w 10000"/>
                <a:gd name="connsiteY71" fmla="*/ 162 h 9601"/>
                <a:gd name="connsiteX72" fmla="*/ 3767 w 10000"/>
                <a:gd name="connsiteY72" fmla="*/ 252 h 9601"/>
                <a:gd name="connsiteX73" fmla="*/ 3564 w 10000"/>
                <a:gd name="connsiteY73" fmla="*/ 342 h 9601"/>
                <a:gd name="connsiteX74" fmla="*/ 3389 w 10000"/>
                <a:gd name="connsiteY74" fmla="*/ 469 h 9601"/>
                <a:gd name="connsiteX75" fmla="*/ 3198 w 10000"/>
                <a:gd name="connsiteY75" fmla="*/ 614 h 9601"/>
                <a:gd name="connsiteX76" fmla="*/ 3035 w 10000"/>
                <a:gd name="connsiteY76" fmla="*/ 776 h 9601"/>
                <a:gd name="connsiteX77" fmla="*/ 2857 w 10000"/>
                <a:gd name="connsiteY77" fmla="*/ 938 h 9601"/>
                <a:gd name="connsiteX78" fmla="*/ 2693 w 10000"/>
                <a:gd name="connsiteY78" fmla="*/ 1119 h 9601"/>
                <a:gd name="connsiteX79" fmla="*/ 2528 w 10000"/>
                <a:gd name="connsiteY79" fmla="*/ 1318 h 9601"/>
                <a:gd name="connsiteX80" fmla="*/ 2377 w 10000"/>
                <a:gd name="connsiteY80" fmla="*/ 1515 h 9601"/>
                <a:gd name="connsiteX81" fmla="*/ 2212 w 10000"/>
                <a:gd name="connsiteY81" fmla="*/ 1752 h 9601"/>
                <a:gd name="connsiteX82" fmla="*/ 1922 w 10000"/>
                <a:gd name="connsiteY82" fmla="*/ 2237 h 9601"/>
                <a:gd name="connsiteX83" fmla="*/ 1644 w 10000"/>
                <a:gd name="connsiteY83" fmla="*/ 2744 h 9601"/>
                <a:gd name="connsiteX84" fmla="*/ 1379 w 10000"/>
                <a:gd name="connsiteY84" fmla="*/ 3285 h 9601"/>
                <a:gd name="connsiteX85" fmla="*/ 1125 w 10000"/>
                <a:gd name="connsiteY85" fmla="*/ 3863 h 9601"/>
                <a:gd name="connsiteX86" fmla="*/ 885 w 10000"/>
                <a:gd name="connsiteY86" fmla="*/ 4458 h 9601"/>
                <a:gd name="connsiteX87" fmla="*/ 658 w 10000"/>
                <a:gd name="connsiteY87" fmla="*/ 5053 h 9601"/>
                <a:gd name="connsiteX88" fmla="*/ 431 w 10000"/>
                <a:gd name="connsiteY88" fmla="*/ 5686 h 9601"/>
                <a:gd name="connsiteX89" fmla="*/ 0 w 10000"/>
                <a:gd name="connsiteY89" fmla="*/ 6949 h 9601"/>
                <a:gd name="connsiteX0" fmla="*/ 0 w 10000"/>
                <a:gd name="connsiteY0" fmla="*/ 7238 h 9588"/>
                <a:gd name="connsiteX1" fmla="*/ 0 w 10000"/>
                <a:gd name="connsiteY1" fmla="*/ 7238 h 9588"/>
                <a:gd name="connsiteX2" fmla="*/ 316 w 10000"/>
                <a:gd name="connsiteY2" fmla="*/ 8215 h 9588"/>
                <a:gd name="connsiteX3" fmla="*/ 608 w 10000"/>
                <a:gd name="connsiteY3" fmla="*/ 9174 h 9588"/>
                <a:gd name="connsiteX4" fmla="*/ 898 w 10000"/>
                <a:gd name="connsiteY4" fmla="*/ 8460 h 9588"/>
                <a:gd name="connsiteX5" fmla="*/ 1163 w 10000"/>
                <a:gd name="connsiteY5" fmla="*/ 7709 h 9588"/>
                <a:gd name="connsiteX6" fmla="*/ 1441 w 10000"/>
                <a:gd name="connsiteY6" fmla="*/ 6974 h 9588"/>
                <a:gd name="connsiteX7" fmla="*/ 1681 w 10000"/>
                <a:gd name="connsiteY7" fmla="*/ 6222 h 9588"/>
                <a:gd name="connsiteX8" fmla="*/ 2162 w 10000"/>
                <a:gd name="connsiteY8" fmla="*/ 4738 h 9588"/>
                <a:gd name="connsiteX9" fmla="*/ 2403 w 10000"/>
                <a:gd name="connsiteY9" fmla="*/ 4024 h 9588"/>
                <a:gd name="connsiteX10" fmla="*/ 2630 w 10000"/>
                <a:gd name="connsiteY10" fmla="*/ 3345 h 9588"/>
                <a:gd name="connsiteX11" fmla="*/ 2869 w 10000"/>
                <a:gd name="connsiteY11" fmla="*/ 2727 h 9588"/>
                <a:gd name="connsiteX12" fmla="*/ 3110 w 10000"/>
                <a:gd name="connsiteY12" fmla="*/ 2162 h 9588"/>
                <a:gd name="connsiteX13" fmla="*/ 3236 w 10000"/>
                <a:gd name="connsiteY13" fmla="*/ 1879 h 9588"/>
                <a:gd name="connsiteX14" fmla="*/ 3363 w 10000"/>
                <a:gd name="connsiteY14" fmla="*/ 1654 h 9588"/>
                <a:gd name="connsiteX15" fmla="*/ 3502 w 10000"/>
                <a:gd name="connsiteY15" fmla="*/ 1409 h 9588"/>
                <a:gd name="connsiteX16" fmla="*/ 3628 w 10000"/>
                <a:gd name="connsiteY16" fmla="*/ 1203 h 9588"/>
                <a:gd name="connsiteX17" fmla="*/ 3767 w 10000"/>
                <a:gd name="connsiteY17" fmla="*/ 1017 h 9588"/>
                <a:gd name="connsiteX18" fmla="*/ 3907 w 10000"/>
                <a:gd name="connsiteY18" fmla="*/ 846 h 9588"/>
                <a:gd name="connsiteX19" fmla="*/ 4046 w 10000"/>
                <a:gd name="connsiteY19" fmla="*/ 695 h 9588"/>
                <a:gd name="connsiteX20" fmla="*/ 4198 w 10000"/>
                <a:gd name="connsiteY20" fmla="*/ 582 h 9588"/>
                <a:gd name="connsiteX21" fmla="*/ 4337 w 10000"/>
                <a:gd name="connsiteY21" fmla="*/ 470 h 9588"/>
                <a:gd name="connsiteX22" fmla="*/ 4488 w 10000"/>
                <a:gd name="connsiteY22" fmla="*/ 413 h 9588"/>
                <a:gd name="connsiteX23" fmla="*/ 4652 w 10000"/>
                <a:gd name="connsiteY23" fmla="*/ 356 h 9588"/>
                <a:gd name="connsiteX24" fmla="*/ 4817 w 10000"/>
                <a:gd name="connsiteY24" fmla="*/ 356 h 9588"/>
                <a:gd name="connsiteX25" fmla="*/ 5019 w 10000"/>
                <a:gd name="connsiteY25" fmla="*/ 376 h 9588"/>
                <a:gd name="connsiteX26" fmla="*/ 5221 w 10000"/>
                <a:gd name="connsiteY26" fmla="*/ 452 h 9588"/>
                <a:gd name="connsiteX27" fmla="*/ 5398 w 10000"/>
                <a:gd name="connsiteY27" fmla="*/ 582 h 9588"/>
                <a:gd name="connsiteX28" fmla="*/ 5589 w 10000"/>
                <a:gd name="connsiteY28" fmla="*/ 715 h 9588"/>
                <a:gd name="connsiteX29" fmla="*/ 5752 w 10000"/>
                <a:gd name="connsiteY29" fmla="*/ 903 h 9588"/>
                <a:gd name="connsiteX30" fmla="*/ 5929 w 10000"/>
                <a:gd name="connsiteY30" fmla="*/ 1147 h 9588"/>
                <a:gd name="connsiteX31" fmla="*/ 6081 w 10000"/>
                <a:gd name="connsiteY31" fmla="*/ 1409 h 9588"/>
                <a:gd name="connsiteX32" fmla="*/ 6258 w 10000"/>
                <a:gd name="connsiteY32" fmla="*/ 1710 h 9588"/>
                <a:gd name="connsiteX33" fmla="*/ 6398 w 10000"/>
                <a:gd name="connsiteY33" fmla="*/ 2030 h 9588"/>
                <a:gd name="connsiteX34" fmla="*/ 6549 w 10000"/>
                <a:gd name="connsiteY34" fmla="*/ 2387 h 9588"/>
                <a:gd name="connsiteX35" fmla="*/ 6688 w 10000"/>
                <a:gd name="connsiteY35" fmla="*/ 2743 h 9588"/>
                <a:gd name="connsiteX36" fmla="*/ 6852 w 10000"/>
                <a:gd name="connsiteY36" fmla="*/ 3141 h 9588"/>
                <a:gd name="connsiteX37" fmla="*/ 7130 w 10000"/>
                <a:gd name="connsiteY37" fmla="*/ 3985 h 9588"/>
                <a:gd name="connsiteX38" fmla="*/ 7421 w 10000"/>
                <a:gd name="connsiteY38" fmla="*/ 4888 h 9588"/>
                <a:gd name="connsiteX39" fmla="*/ 8002 w 10000"/>
                <a:gd name="connsiteY39" fmla="*/ 6786 h 9588"/>
                <a:gd name="connsiteX40" fmla="*/ 8319 w 10000"/>
                <a:gd name="connsiteY40" fmla="*/ 7764 h 9588"/>
                <a:gd name="connsiteX41" fmla="*/ 8635 w 10000"/>
                <a:gd name="connsiteY41" fmla="*/ 8683 h 9588"/>
                <a:gd name="connsiteX42" fmla="*/ 8811 w 10000"/>
                <a:gd name="connsiteY42" fmla="*/ 9156 h 9588"/>
                <a:gd name="connsiteX43" fmla="*/ 9002 w 10000"/>
                <a:gd name="connsiteY43" fmla="*/ 9588 h 9588"/>
                <a:gd name="connsiteX44" fmla="*/ 10000 w 10000"/>
                <a:gd name="connsiteY44" fmla="*/ 8873 h 9588"/>
                <a:gd name="connsiteX45" fmla="*/ 9760 w 10000"/>
                <a:gd name="connsiteY45" fmla="*/ 8102 h 9588"/>
                <a:gd name="connsiteX46" fmla="*/ 9267 w 10000"/>
                <a:gd name="connsiteY46" fmla="*/ 6523 h 9588"/>
                <a:gd name="connsiteX47" fmla="*/ 9014 w 10000"/>
                <a:gd name="connsiteY47" fmla="*/ 5715 h 9588"/>
                <a:gd name="connsiteX48" fmla="*/ 8736 w 10000"/>
                <a:gd name="connsiteY48" fmla="*/ 4907 h 9588"/>
                <a:gd name="connsiteX49" fmla="*/ 8458 w 10000"/>
                <a:gd name="connsiteY49" fmla="*/ 4154 h 9588"/>
                <a:gd name="connsiteX50" fmla="*/ 8143 w 10000"/>
                <a:gd name="connsiteY50" fmla="*/ 3422 h 9588"/>
                <a:gd name="connsiteX51" fmla="*/ 7989 w 10000"/>
                <a:gd name="connsiteY51" fmla="*/ 3064 h 9588"/>
                <a:gd name="connsiteX52" fmla="*/ 7826 w 10000"/>
                <a:gd name="connsiteY52" fmla="*/ 2727 h 9588"/>
                <a:gd name="connsiteX53" fmla="*/ 7661 w 10000"/>
                <a:gd name="connsiteY53" fmla="*/ 2387 h 9588"/>
                <a:gd name="connsiteX54" fmla="*/ 7485 w 10000"/>
                <a:gd name="connsiteY54" fmla="*/ 2066 h 9588"/>
                <a:gd name="connsiteX55" fmla="*/ 7308 w 10000"/>
                <a:gd name="connsiteY55" fmla="*/ 1766 h 9588"/>
                <a:gd name="connsiteX56" fmla="*/ 7118 w 10000"/>
                <a:gd name="connsiteY56" fmla="*/ 1505 h 9588"/>
                <a:gd name="connsiteX57" fmla="*/ 6915 w 10000"/>
                <a:gd name="connsiteY57" fmla="*/ 1223 h 9588"/>
                <a:gd name="connsiteX58" fmla="*/ 6726 w 10000"/>
                <a:gd name="connsiteY58" fmla="*/ 996 h 9588"/>
                <a:gd name="connsiteX59" fmla="*/ 6511 w 10000"/>
                <a:gd name="connsiteY59" fmla="*/ 792 h 9588"/>
                <a:gd name="connsiteX60" fmla="*/ 6295 w 10000"/>
                <a:gd name="connsiteY60" fmla="*/ 602 h 9588"/>
                <a:gd name="connsiteX61" fmla="*/ 6068 w 10000"/>
                <a:gd name="connsiteY61" fmla="*/ 431 h 9588"/>
                <a:gd name="connsiteX62" fmla="*/ 5841 w 10000"/>
                <a:gd name="connsiteY62" fmla="*/ 282 h 9588"/>
                <a:gd name="connsiteX63" fmla="*/ 5601 w 10000"/>
                <a:gd name="connsiteY63" fmla="*/ 169 h 9588"/>
                <a:gd name="connsiteX64" fmla="*/ 5347 w 10000"/>
                <a:gd name="connsiteY64" fmla="*/ 93 h 9588"/>
                <a:gd name="connsiteX65" fmla="*/ 5082 w 10000"/>
                <a:gd name="connsiteY65" fmla="*/ 19 h 9588"/>
                <a:gd name="connsiteX66" fmla="*/ 4817 w 10000"/>
                <a:gd name="connsiteY66" fmla="*/ 0 h 9588"/>
                <a:gd name="connsiteX67" fmla="*/ 4588 w 10000"/>
                <a:gd name="connsiteY67" fmla="*/ 19 h 9588"/>
                <a:gd name="connsiteX68" fmla="*/ 4375 w 10000"/>
                <a:gd name="connsiteY68" fmla="*/ 56 h 9588"/>
                <a:gd name="connsiteX69" fmla="*/ 4160 w 10000"/>
                <a:gd name="connsiteY69" fmla="*/ 114 h 9588"/>
                <a:gd name="connsiteX70" fmla="*/ 3971 w 10000"/>
                <a:gd name="connsiteY70" fmla="*/ 169 h 9588"/>
                <a:gd name="connsiteX71" fmla="*/ 3767 w 10000"/>
                <a:gd name="connsiteY71" fmla="*/ 262 h 9588"/>
                <a:gd name="connsiteX72" fmla="*/ 3564 w 10000"/>
                <a:gd name="connsiteY72" fmla="*/ 356 h 9588"/>
                <a:gd name="connsiteX73" fmla="*/ 3389 w 10000"/>
                <a:gd name="connsiteY73" fmla="*/ 488 h 9588"/>
                <a:gd name="connsiteX74" fmla="*/ 3198 w 10000"/>
                <a:gd name="connsiteY74" fmla="*/ 640 h 9588"/>
                <a:gd name="connsiteX75" fmla="*/ 3035 w 10000"/>
                <a:gd name="connsiteY75" fmla="*/ 808 h 9588"/>
                <a:gd name="connsiteX76" fmla="*/ 2857 w 10000"/>
                <a:gd name="connsiteY76" fmla="*/ 977 h 9588"/>
                <a:gd name="connsiteX77" fmla="*/ 2693 w 10000"/>
                <a:gd name="connsiteY77" fmla="*/ 1166 h 9588"/>
                <a:gd name="connsiteX78" fmla="*/ 2528 w 10000"/>
                <a:gd name="connsiteY78" fmla="*/ 1373 h 9588"/>
                <a:gd name="connsiteX79" fmla="*/ 2377 w 10000"/>
                <a:gd name="connsiteY79" fmla="*/ 1578 h 9588"/>
                <a:gd name="connsiteX80" fmla="*/ 2212 w 10000"/>
                <a:gd name="connsiteY80" fmla="*/ 1825 h 9588"/>
                <a:gd name="connsiteX81" fmla="*/ 1922 w 10000"/>
                <a:gd name="connsiteY81" fmla="*/ 2330 h 9588"/>
                <a:gd name="connsiteX82" fmla="*/ 1644 w 10000"/>
                <a:gd name="connsiteY82" fmla="*/ 2858 h 9588"/>
                <a:gd name="connsiteX83" fmla="*/ 1379 w 10000"/>
                <a:gd name="connsiteY83" fmla="*/ 3422 h 9588"/>
                <a:gd name="connsiteX84" fmla="*/ 1125 w 10000"/>
                <a:gd name="connsiteY84" fmla="*/ 4024 h 9588"/>
                <a:gd name="connsiteX85" fmla="*/ 885 w 10000"/>
                <a:gd name="connsiteY85" fmla="*/ 4643 h 9588"/>
                <a:gd name="connsiteX86" fmla="*/ 658 w 10000"/>
                <a:gd name="connsiteY86" fmla="*/ 5263 h 9588"/>
                <a:gd name="connsiteX87" fmla="*/ 431 w 10000"/>
                <a:gd name="connsiteY87" fmla="*/ 5922 h 9588"/>
                <a:gd name="connsiteX88" fmla="*/ 0 w 10000"/>
                <a:gd name="connsiteY88" fmla="*/ 7238 h 9588"/>
                <a:gd name="connsiteX0" fmla="*/ 0 w 10000"/>
                <a:gd name="connsiteY0" fmla="*/ 7549 h 9568"/>
                <a:gd name="connsiteX1" fmla="*/ 0 w 10000"/>
                <a:gd name="connsiteY1" fmla="*/ 7549 h 9568"/>
                <a:gd name="connsiteX2" fmla="*/ 316 w 10000"/>
                <a:gd name="connsiteY2" fmla="*/ 8568 h 9568"/>
                <a:gd name="connsiteX3" fmla="*/ 608 w 10000"/>
                <a:gd name="connsiteY3" fmla="*/ 9568 h 9568"/>
                <a:gd name="connsiteX4" fmla="*/ 898 w 10000"/>
                <a:gd name="connsiteY4" fmla="*/ 8824 h 9568"/>
                <a:gd name="connsiteX5" fmla="*/ 1163 w 10000"/>
                <a:gd name="connsiteY5" fmla="*/ 8040 h 9568"/>
                <a:gd name="connsiteX6" fmla="*/ 1441 w 10000"/>
                <a:gd name="connsiteY6" fmla="*/ 7274 h 9568"/>
                <a:gd name="connsiteX7" fmla="*/ 1681 w 10000"/>
                <a:gd name="connsiteY7" fmla="*/ 6489 h 9568"/>
                <a:gd name="connsiteX8" fmla="*/ 2162 w 10000"/>
                <a:gd name="connsiteY8" fmla="*/ 4942 h 9568"/>
                <a:gd name="connsiteX9" fmla="*/ 2403 w 10000"/>
                <a:gd name="connsiteY9" fmla="*/ 4197 h 9568"/>
                <a:gd name="connsiteX10" fmla="*/ 2630 w 10000"/>
                <a:gd name="connsiteY10" fmla="*/ 3489 h 9568"/>
                <a:gd name="connsiteX11" fmla="*/ 2869 w 10000"/>
                <a:gd name="connsiteY11" fmla="*/ 2844 h 9568"/>
                <a:gd name="connsiteX12" fmla="*/ 3110 w 10000"/>
                <a:gd name="connsiteY12" fmla="*/ 2255 h 9568"/>
                <a:gd name="connsiteX13" fmla="*/ 3236 w 10000"/>
                <a:gd name="connsiteY13" fmla="*/ 1960 h 9568"/>
                <a:gd name="connsiteX14" fmla="*/ 3363 w 10000"/>
                <a:gd name="connsiteY14" fmla="*/ 1725 h 9568"/>
                <a:gd name="connsiteX15" fmla="*/ 3502 w 10000"/>
                <a:gd name="connsiteY15" fmla="*/ 1470 h 9568"/>
                <a:gd name="connsiteX16" fmla="*/ 3628 w 10000"/>
                <a:gd name="connsiteY16" fmla="*/ 1255 h 9568"/>
                <a:gd name="connsiteX17" fmla="*/ 3767 w 10000"/>
                <a:gd name="connsiteY17" fmla="*/ 1061 h 9568"/>
                <a:gd name="connsiteX18" fmla="*/ 3907 w 10000"/>
                <a:gd name="connsiteY18" fmla="*/ 882 h 9568"/>
                <a:gd name="connsiteX19" fmla="*/ 4046 w 10000"/>
                <a:gd name="connsiteY19" fmla="*/ 725 h 9568"/>
                <a:gd name="connsiteX20" fmla="*/ 4198 w 10000"/>
                <a:gd name="connsiteY20" fmla="*/ 607 h 9568"/>
                <a:gd name="connsiteX21" fmla="*/ 4337 w 10000"/>
                <a:gd name="connsiteY21" fmla="*/ 490 h 9568"/>
                <a:gd name="connsiteX22" fmla="*/ 4488 w 10000"/>
                <a:gd name="connsiteY22" fmla="*/ 431 h 9568"/>
                <a:gd name="connsiteX23" fmla="*/ 4652 w 10000"/>
                <a:gd name="connsiteY23" fmla="*/ 371 h 9568"/>
                <a:gd name="connsiteX24" fmla="*/ 4817 w 10000"/>
                <a:gd name="connsiteY24" fmla="*/ 371 h 9568"/>
                <a:gd name="connsiteX25" fmla="*/ 5019 w 10000"/>
                <a:gd name="connsiteY25" fmla="*/ 392 h 9568"/>
                <a:gd name="connsiteX26" fmla="*/ 5221 w 10000"/>
                <a:gd name="connsiteY26" fmla="*/ 471 h 9568"/>
                <a:gd name="connsiteX27" fmla="*/ 5398 w 10000"/>
                <a:gd name="connsiteY27" fmla="*/ 607 h 9568"/>
                <a:gd name="connsiteX28" fmla="*/ 5589 w 10000"/>
                <a:gd name="connsiteY28" fmla="*/ 746 h 9568"/>
                <a:gd name="connsiteX29" fmla="*/ 5752 w 10000"/>
                <a:gd name="connsiteY29" fmla="*/ 942 h 9568"/>
                <a:gd name="connsiteX30" fmla="*/ 5929 w 10000"/>
                <a:gd name="connsiteY30" fmla="*/ 1196 h 9568"/>
                <a:gd name="connsiteX31" fmla="*/ 6081 w 10000"/>
                <a:gd name="connsiteY31" fmla="*/ 1470 h 9568"/>
                <a:gd name="connsiteX32" fmla="*/ 6258 w 10000"/>
                <a:gd name="connsiteY32" fmla="*/ 1783 h 9568"/>
                <a:gd name="connsiteX33" fmla="*/ 6398 w 10000"/>
                <a:gd name="connsiteY33" fmla="*/ 2117 h 9568"/>
                <a:gd name="connsiteX34" fmla="*/ 6549 w 10000"/>
                <a:gd name="connsiteY34" fmla="*/ 2490 h 9568"/>
                <a:gd name="connsiteX35" fmla="*/ 6688 w 10000"/>
                <a:gd name="connsiteY35" fmla="*/ 2861 h 9568"/>
                <a:gd name="connsiteX36" fmla="*/ 6852 w 10000"/>
                <a:gd name="connsiteY36" fmla="*/ 3276 h 9568"/>
                <a:gd name="connsiteX37" fmla="*/ 7130 w 10000"/>
                <a:gd name="connsiteY37" fmla="*/ 4156 h 9568"/>
                <a:gd name="connsiteX38" fmla="*/ 7421 w 10000"/>
                <a:gd name="connsiteY38" fmla="*/ 5098 h 9568"/>
                <a:gd name="connsiteX39" fmla="*/ 8002 w 10000"/>
                <a:gd name="connsiteY39" fmla="*/ 7078 h 9568"/>
                <a:gd name="connsiteX40" fmla="*/ 8319 w 10000"/>
                <a:gd name="connsiteY40" fmla="*/ 8098 h 9568"/>
                <a:gd name="connsiteX41" fmla="*/ 8635 w 10000"/>
                <a:gd name="connsiteY41" fmla="*/ 9056 h 9568"/>
                <a:gd name="connsiteX42" fmla="*/ 8811 w 10000"/>
                <a:gd name="connsiteY42" fmla="*/ 9549 h 9568"/>
                <a:gd name="connsiteX43" fmla="*/ 10000 w 10000"/>
                <a:gd name="connsiteY43" fmla="*/ 9254 h 9568"/>
                <a:gd name="connsiteX44" fmla="*/ 9760 w 10000"/>
                <a:gd name="connsiteY44" fmla="*/ 8450 h 9568"/>
                <a:gd name="connsiteX45" fmla="*/ 9267 w 10000"/>
                <a:gd name="connsiteY45" fmla="*/ 6803 h 9568"/>
                <a:gd name="connsiteX46" fmla="*/ 9014 w 10000"/>
                <a:gd name="connsiteY46" fmla="*/ 5961 h 9568"/>
                <a:gd name="connsiteX47" fmla="*/ 8736 w 10000"/>
                <a:gd name="connsiteY47" fmla="*/ 5118 h 9568"/>
                <a:gd name="connsiteX48" fmla="*/ 8458 w 10000"/>
                <a:gd name="connsiteY48" fmla="*/ 4332 h 9568"/>
                <a:gd name="connsiteX49" fmla="*/ 8143 w 10000"/>
                <a:gd name="connsiteY49" fmla="*/ 3569 h 9568"/>
                <a:gd name="connsiteX50" fmla="*/ 7989 w 10000"/>
                <a:gd name="connsiteY50" fmla="*/ 3196 h 9568"/>
                <a:gd name="connsiteX51" fmla="*/ 7826 w 10000"/>
                <a:gd name="connsiteY51" fmla="*/ 2844 h 9568"/>
                <a:gd name="connsiteX52" fmla="*/ 7661 w 10000"/>
                <a:gd name="connsiteY52" fmla="*/ 2490 h 9568"/>
                <a:gd name="connsiteX53" fmla="*/ 7485 w 10000"/>
                <a:gd name="connsiteY53" fmla="*/ 2155 h 9568"/>
                <a:gd name="connsiteX54" fmla="*/ 7308 w 10000"/>
                <a:gd name="connsiteY54" fmla="*/ 1842 h 9568"/>
                <a:gd name="connsiteX55" fmla="*/ 7118 w 10000"/>
                <a:gd name="connsiteY55" fmla="*/ 1570 h 9568"/>
                <a:gd name="connsiteX56" fmla="*/ 6915 w 10000"/>
                <a:gd name="connsiteY56" fmla="*/ 1276 h 9568"/>
                <a:gd name="connsiteX57" fmla="*/ 6726 w 10000"/>
                <a:gd name="connsiteY57" fmla="*/ 1039 h 9568"/>
                <a:gd name="connsiteX58" fmla="*/ 6511 w 10000"/>
                <a:gd name="connsiteY58" fmla="*/ 826 h 9568"/>
                <a:gd name="connsiteX59" fmla="*/ 6295 w 10000"/>
                <a:gd name="connsiteY59" fmla="*/ 628 h 9568"/>
                <a:gd name="connsiteX60" fmla="*/ 6068 w 10000"/>
                <a:gd name="connsiteY60" fmla="*/ 450 h 9568"/>
                <a:gd name="connsiteX61" fmla="*/ 5841 w 10000"/>
                <a:gd name="connsiteY61" fmla="*/ 294 h 9568"/>
                <a:gd name="connsiteX62" fmla="*/ 5601 w 10000"/>
                <a:gd name="connsiteY62" fmla="*/ 176 h 9568"/>
                <a:gd name="connsiteX63" fmla="*/ 5347 w 10000"/>
                <a:gd name="connsiteY63" fmla="*/ 97 h 9568"/>
                <a:gd name="connsiteX64" fmla="*/ 5082 w 10000"/>
                <a:gd name="connsiteY64" fmla="*/ 20 h 9568"/>
                <a:gd name="connsiteX65" fmla="*/ 4817 w 10000"/>
                <a:gd name="connsiteY65" fmla="*/ 0 h 9568"/>
                <a:gd name="connsiteX66" fmla="*/ 4588 w 10000"/>
                <a:gd name="connsiteY66" fmla="*/ 20 h 9568"/>
                <a:gd name="connsiteX67" fmla="*/ 4375 w 10000"/>
                <a:gd name="connsiteY67" fmla="*/ 58 h 9568"/>
                <a:gd name="connsiteX68" fmla="*/ 4160 w 10000"/>
                <a:gd name="connsiteY68" fmla="*/ 119 h 9568"/>
                <a:gd name="connsiteX69" fmla="*/ 3971 w 10000"/>
                <a:gd name="connsiteY69" fmla="*/ 176 h 9568"/>
                <a:gd name="connsiteX70" fmla="*/ 3767 w 10000"/>
                <a:gd name="connsiteY70" fmla="*/ 273 h 9568"/>
                <a:gd name="connsiteX71" fmla="*/ 3564 w 10000"/>
                <a:gd name="connsiteY71" fmla="*/ 371 h 9568"/>
                <a:gd name="connsiteX72" fmla="*/ 3389 w 10000"/>
                <a:gd name="connsiteY72" fmla="*/ 509 h 9568"/>
                <a:gd name="connsiteX73" fmla="*/ 3198 w 10000"/>
                <a:gd name="connsiteY73" fmla="*/ 668 h 9568"/>
                <a:gd name="connsiteX74" fmla="*/ 3035 w 10000"/>
                <a:gd name="connsiteY74" fmla="*/ 843 h 9568"/>
                <a:gd name="connsiteX75" fmla="*/ 2857 w 10000"/>
                <a:gd name="connsiteY75" fmla="*/ 1019 h 9568"/>
                <a:gd name="connsiteX76" fmla="*/ 2693 w 10000"/>
                <a:gd name="connsiteY76" fmla="*/ 1216 h 9568"/>
                <a:gd name="connsiteX77" fmla="*/ 2528 w 10000"/>
                <a:gd name="connsiteY77" fmla="*/ 1432 h 9568"/>
                <a:gd name="connsiteX78" fmla="*/ 2377 w 10000"/>
                <a:gd name="connsiteY78" fmla="*/ 1646 h 9568"/>
                <a:gd name="connsiteX79" fmla="*/ 2212 w 10000"/>
                <a:gd name="connsiteY79" fmla="*/ 1903 h 9568"/>
                <a:gd name="connsiteX80" fmla="*/ 1922 w 10000"/>
                <a:gd name="connsiteY80" fmla="*/ 2430 h 9568"/>
                <a:gd name="connsiteX81" fmla="*/ 1644 w 10000"/>
                <a:gd name="connsiteY81" fmla="*/ 2981 h 9568"/>
                <a:gd name="connsiteX82" fmla="*/ 1379 w 10000"/>
                <a:gd name="connsiteY82" fmla="*/ 3569 h 9568"/>
                <a:gd name="connsiteX83" fmla="*/ 1125 w 10000"/>
                <a:gd name="connsiteY83" fmla="*/ 4197 h 9568"/>
                <a:gd name="connsiteX84" fmla="*/ 885 w 10000"/>
                <a:gd name="connsiteY84" fmla="*/ 4843 h 9568"/>
                <a:gd name="connsiteX85" fmla="*/ 658 w 10000"/>
                <a:gd name="connsiteY85" fmla="*/ 5489 h 9568"/>
                <a:gd name="connsiteX86" fmla="*/ 431 w 10000"/>
                <a:gd name="connsiteY86" fmla="*/ 6176 h 9568"/>
                <a:gd name="connsiteX87" fmla="*/ 0 w 10000"/>
                <a:gd name="connsiteY87" fmla="*/ 7549 h 9568"/>
                <a:gd name="connsiteX0" fmla="*/ 0 w 9760"/>
                <a:gd name="connsiteY0" fmla="*/ 7890 h 10000"/>
                <a:gd name="connsiteX1" fmla="*/ 0 w 9760"/>
                <a:gd name="connsiteY1" fmla="*/ 7890 h 10000"/>
                <a:gd name="connsiteX2" fmla="*/ 316 w 9760"/>
                <a:gd name="connsiteY2" fmla="*/ 8955 h 10000"/>
                <a:gd name="connsiteX3" fmla="*/ 608 w 9760"/>
                <a:gd name="connsiteY3" fmla="*/ 10000 h 10000"/>
                <a:gd name="connsiteX4" fmla="*/ 898 w 9760"/>
                <a:gd name="connsiteY4" fmla="*/ 9222 h 10000"/>
                <a:gd name="connsiteX5" fmla="*/ 1163 w 9760"/>
                <a:gd name="connsiteY5" fmla="*/ 8403 h 10000"/>
                <a:gd name="connsiteX6" fmla="*/ 1441 w 9760"/>
                <a:gd name="connsiteY6" fmla="*/ 7602 h 10000"/>
                <a:gd name="connsiteX7" fmla="*/ 1681 w 9760"/>
                <a:gd name="connsiteY7" fmla="*/ 6782 h 10000"/>
                <a:gd name="connsiteX8" fmla="*/ 2162 w 9760"/>
                <a:gd name="connsiteY8" fmla="*/ 5165 h 10000"/>
                <a:gd name="connsiteX9" fmla="*/ 2403 w 9760"/>
                <a:gd name="connsiteY9" fmla="*/ 4386 h 10000"/>
                <a:gd name="connsiteX10" fmla="*/ 2630 w 9760"/>
                <a:gd name="connsiteY10" fmla="*/ 3647 h 10000"/>
                <a:gd name="connsiteX11" fmla="*/ 2869 w 9760"/>
                <a:gd name="connsiteY11" fmla="*/ 2972 h 10000"/>
                <a:gd name="connsiteX12" fmla="*/ 3110 w 9760"/>
                <a:gd name="connsiteY12" fmla="*/ 2357 h 10000"/>
                <a:gd name="connsiteX13" fmla="*/ 3236 w 9760"/>
                <a:gd name="connsiteY13" fmla="*/ 2048 h 10000"/>
                <a:gd name="connsiteX14" fmla="*/ 3363 w 9760"/>
                <a:gd name="connsiteY14" fmla="*/ 1803 h 10000"/>
                <a:gd name="connsiteX15" fmla="*/ 3502 w 9760"/>
                <a:gd name="connsiteY15" fmla="*/ 1536 h 10000"/>
                <a:gd name="connsiteX16" fmla="*/ 3628 w 9760"/>
                <a:gd name="connsiteY16" fmla="*/ 1312 h 10000"/>
                <a:gd name="connsiteX17" fmla="*/ 3767 w 9760"/>
                <a:gd name="connsiteY17" fmla="*/ 1109 h 10000"/>
                <a:gd name="connsiteX18" fmla="*/ 3907 w 9760"/>
                <a:gd name="connsiteY18" fmla="*/ 922 h 10000"/>
                <a:gd name="connsiteX19" fmla="*/ 4046 w 9760"/>
                <a:gd name="connsiteY19" fmla="*/ 758 h 10000"/>
                <a:gd name="connsiteX20" fmla="*/ 4198 w 9760"/>
                <a:gd name="connsiteY20" fmla="*/ 634 h 10000"/>
                <a:gd name="connsiteX21" fmla="*/ 4337 w 9760"/>
                <a:gd name="connsiteY21" fmla="*/ 512 h 10000"/>
                <a:gd name="connsiteX22" fmla="*/ 4488 w 9760"/>
                <a:gd name="connsiteY22" fmla="*/ 450 h 10000"/>
                <a:gd name="connsiteX23" fmla="*/ 4652 w 9760"/>
                <a:gd name="connsiteY23" fmla="*/ 388 h 10000"/>
                <a:gd name="connsiteX24" fmla="*/ 4817 w 9760"/>
                <a:gd name="connsiteY24" fmla="*/ 388 h 10000"/>
                <a:gd name="connsiteX25" fmla="*/ 5019 w 9760"/>
                <a:gd name="connsiteY25" fmla="*/ 410 h 10000"/>
                <a:gd name="connsiteX26" fmla="*/ 5221 w 9760"/>
                <a:gd name="connsiteY26" fmla="*/ 492 h 10000"/>
                <a:gd name="connsiteX27" fmla="*/ 5398 w 9760"/>
                <a:gd name="connsiteY27" fmla="*/ 634 h 10000"/>
                <a:gd name="connsiteX28" fmla="*/ 5589 w 9760"/>
                <a:gd name="connsiteY28" fmla="*/ 780 h 10000"/>
                <a:gd name="connsiteX29" fmla="*/ 5752 w 9760"/>
                <a:gd name="connsiteY29" fmla="*/ 985 h 10000"/>
                <a:gd name="connsiteX30" fmla="*/ 5929 w 9760"/>
                <a:gd name="connsiteY30" fmla="*/ 1250 h 10000"/>
                <a:gd name="connsiteX31" fmla="*/ 6081 w 9760"/>
                <a:gd name="connsiteY31" fmla="*/ 1536 h 10000"/>
                <a:gd name="connsiteX32" fmla="*/ 6258 w 9760"/>
                <a:gd name="connsiteY32" fmla="*/ 1864 h 10000"/>
                <a:gd name="connsiteX33" fmla="*/ 6398 w 9760"/>
                <a:gd name="connsiteY33" fmla="*/ 2213 h 10000"/>
                <a:gd name="connsiteX34" fmla="*/ 6549 w 9760"/>
                <a:gd name="connsiteY34" fmla="*/ 2602 h 10000"/>
                <a:gd name="connsiteX35" fmla="*/ 6688 w 9760"/>
                <a:gd name="connsiteY35" fmla="*/ 2990 h 10000"/>
                <a:gd name="connsiteX36" fmla="*/ 6852 w 9760"/>
                <a:gd name="connsiteY36" fmla="*/ 3424 h 10000"/>
                <a:gd name="connsiteX37" fmla="*/ 7130 w 9760"/>
                <a:gd name="connsiteY37" fmla="*/ 4344 h 10000"/>
                <a:gd name="connsiteX38" fmla="*/ 7421 w 9760"/>
                <a:gd name="connsiteY38" fmla="*/ 5328 h 10000"/>
                <a:gd name="connsiteX39" fmla="*/ 8002 w 9760"/>
                <a:gd name="connsiteY39" fmla="*/ 7398 h 10000"/>
                <a:gd name="connsiteX40" fmla="*/ 8319 w 9760"/>
                <a:gd name="connsiteY40" fmla="*/ 8464 h 10000"/>
                <a:gd name="connsiteX41" fmla="*/ 8635 w 9760"/>
                <a:gd name="connsiteY41" fmla="*/ 9465 h 10000"/>
                <a:gd name="connsiteX42" fmla="*/ 8811 w 9760"/>
                <a:gd name="connsiteY42" fmla="*/ 9980 h 10000"/>
                <a:gd name="connsiteX43" fmla="*/ 9760 w 9760"/>
                <a:gd name="connsiteY43" fmla="*/ 8832 h 10000"/>
                <a:gd name="connsiteX44" fmla="*/ 9267 w 9760"/>
                <a:gd name="connsiteY44" fmla="*/ 7110 h 10000"/>
                <a:gd name="connsiteX45" fmla="*/ 9014 w 9760"/>
                <a:gd name="connsiteY45" fmla="*/ 6230 h 10000"/>
                <a:gd name="connsiteX46" fmla="*/ 8736 w 9760"/>
                <a:gd name="connsiteY46" fmla="*/ 5349 h 10000"/>
                <a:gd name="connsiteX47" fmla="*/ 8458 w 9760"/>
                <a:gd name="connsiteY47" fmla="*/ 4528 h 10000"/>
                <a:gd name="connsiteX48" fmla="*/ 8143 w 9760"/>
                <a:gd name="connsiteY48" fmla="*/ 3730 h 10000"/>
                <a:gd name="connsiteX49" fmla="*/ 7989 w 9760"/>
                <a:gd name="connsiteY49" fmla="*/ 3340 h 10000"/>
                <a:gd name="connsiteX50" fmla="*/ 7826 w 9760"/>
                <a:gd name="connsiteY50" fmla="*/ 2972 h 10000"/>
                <a:gd name="connsiteX51" fmla="*/ 7661 w 9760"/>
                <a:gd name="connsiteY51" fmla="*/ 2602 h 10000"/>
                <a:gd name="connsiteX52" fmla="*/ 7485 w 9760"/>
                <a:gd name="connsiteY52" fmla="*/ 2252 h 10000"/>
                <a:gd name="connsiteX53" fmla="*/ 7308 w 9760"/>
                <a:gd name="connsiteY53" fmla="*/ 1925 h 10000"/>
                <a:gd name="connsiteX54" fmla="*/ 7118 w 9760"/>
                <a:gd name="connsiteY54" fmla="*/ 1641 h 10000"/>
                <a:gd name="connsiteX55" fmla="*/ 6915 w 9760"/>
                <a:gd name="connsiteY55" fmla="*/ 1334 h 10000"/>
                <a:gd name="connsiteX56" fmla="*/ 6726 w 9760"/>
                <a:gd name="connsiteY56" fmla="*/ 1086 h 10000"/>
                <a:gd name="connsiteX57" fmla="*/ 6511 w 9760"/>
                <a:gd name="connsiteY57" fmla="*/ 863 h 10000"/>
                <a:gd name="connsiteX58" fmla="*/ 6295 w 9760"/>
                <a:gd name="connsiteY58" fmla="*/ 656 h 10000"/>
                <a:gd name="connsiteX59" fmla="*/ 6068 w 9760"/>
                <a:gd name="connsiteY59" fmla="*/ 470 h 10000"/>
                <a:gd name="connsiteX60" fmla="*/ 5841 w 9760"/>
                <a:gd name="connsiteY60" fmla="*/ 307 h 10000"/>
                <a:gd name="connsiteX61" fmla="*/ 5601 w 9760"/>
                <a:gd name="connsiteY61" fmla="*/ 184 h 10000"/>
                <a:gd name="connsiteX62" fmla="*/ 5347 w 9760"/>
                <a:gd name="connsiteY62" fmla="*/ 101 h 10000"/>
                <a:gd name="connsiteX63" fmla="*/ 5082 w 9760"/>
                <a:gd name="connsiteY63" fmla="*/ 21 h 10000"/>
                <a:gd name="connsiteX64" fmla="*/ 4817 w 9760"/>
                <a:gd name="connsiteY64" fmla="*/ 0 h 10000"/>
                <a:gd name="connsiteX65" fmla="*/ 4588 w 9760"/>
                <a:gd name="connsiteY65" fmla="*/ 21 h 10000"/>
                <a:gd name="connsiteX66" fmla="*/ 4375 w 9760"/>
                <a:gd name="connsiteY66" fmla="*/ 61 h 10000"/>
                <a:gd name="connsiteX67" fmla="*/ 4160 w 9760"/>
                <a:gd name="connsiteY67" fmla="*/ 124 h 10000"/>
                <a:gd name="connsiteX68" fmla="*/ 3971 w 9760"/>
                <a:gd name="connsiteY68" fmla="*/ 184 h 10000"/>
                <a:gd name="connsiteX69" fmla="*/ 3767 w 9760"/>
                <a:gd name="connsiteY69" fmla="*/ 285 h 10000"/>
                <a:gd name="connsiteX70" fmla="*/ 3564 w 9760"/>
                <a:gd name="connsiteY70" fmla="*/ 388 h 10000"/>
                <a:gd name="connsiteX71" fmla="*/ 3389 w 9760"/>
                <a:gd name="connsiteY71" fmla="*/ 532 h 10000"/>
                <a:gd name="connsiteX72" fmla="*/ 3198 w 9760"/>
                <a:gd name="connsiteY72" fmla="*/ 698 h 10000"/>
                <a:gd name="connsiteX73" fmla="*/ 3035 w 9760"/>
                <a:gd name="connsiteY73" fmla="*/ 881 h 10000"/>
                <a:gd name="connsiteX74" fmla="*/ 2857 w 9760"/>
                <a:gd name="connsiteY74" fmla="*/ 1065 h 10000"/>
                <a:gd name="connsiteX75" fmla="*/ 2693 w 9760"/>
                <a:gd name="connsiteY75" fmla="*/ 1271 h 10000"/>
                <a:gd name="connsiteX76" fmla="*/ 2528 w 9760"/>
                <a:gd name="connsiteY76" fmla="*/ 1497 h 10000"/>
                <a:gd name="connsiteX77" fmla="*/ 2377 w 9760"/>
                <a:gd name="connsiteY77" fmla="*/ 1720 h 10000"/>
                <a:gd name="connsiteX78" fmla="*/ 2212 w 9760"/>
                <a:gd name="connsiteY78" fmla="*/ 1989 h 10000"/>
                <a:gd name="connsiteX79" fmla="*/ 1922 w 9760"/>
                <a:gd name="connsiteY79" fmla="*/ 2540 h 10000"/>
                <a:gd name="connsiteX80" fmla="*/ 1644 w 9760"/>
                <a:gd name="connsiteY80" fmla="*/ 3116 h 10000"/>
                <a:gd name="connsiteX81" fmla="*/ 1379 w 9760"/>
                <a:gd name="connsiteY81" fmla="*/ 3730 h 10000"/>
                <a:gd name="connsiteX82" fmla="*/ 1125 w 9760"/>
                <a:gd name="connsiteY82" fmla="*/ 4386 h 10000"/>
                <a:gd name="connsiteX83" fmla="*/ 885 w 9760"/>
                <a:gd name="connsiteY83" fmla="*/ 5062 h 10000"/>
                <a:gd name="connsiteX84" fmla="*/ 658 w 9760"/>
                <a:gd name="connsiteY84" fmla="*/ 5737 h 10000"/>
                <a:gd name="connsiteX85" fmla="*/ 431 w 9760"/>
                <a:gd name="connsiteY85" fmla="*/ 6455 h 10000"/>
                <a:gd name="connsiteX86" fmla="*/ 0 w 9760"/>
                <a:gd name="connsiteY86" fmla="*/ 7890 h 10000"/>
                <a:gd name="connsiteX0" fmla="*/ 0 w 9495"/>
                <a:gd name="connsiteY0" fmla="*/ 7890 h 10000"/>
                <a:gd name="connsiteX1" fmla="*/ 0 w 9495"/>
                <a:gd name="connsiteY1" fmla="*/ 7890 h 10000"/>
                <a:gd name="connsiteX2" fmla="*/ 324 w 9495"/>
                <a:gd name="connsiteY2" fmla="*/ 8955 h 10000"/>
                <a:gd name="connsiteX3" fmla="*/ 623 w 9495"/>
                <a:gd name="connsiteY3" fmla="*/ 10000 h 10000"/>
                <a:gd name="connsiteX4" fmla="*/ 920 w 9495"/>
                <a:gd name="connsiteY4" fmla="*/ 9222 h 10000"/>
                <a:gd name="connsiteX5" fmla="*/ 1192 w 9495"/>
                <a:gd name="connsiteY5" fmla="*/ 8403 h 10000"/>
                <a:gd name="connsiteX6" fmla="*/ 1476 w 9495"/>
                <a:gd name="connsiteY6" fmla="*/ 7602 h 10000"/>
                <a:gd name="connsiteX7" fmla="*/ 1722 w 9495"/>
                <a:gd name="connsiteY7" fmla="*/ 6782 h 10000"/>
                <a:gd name="connsiteX8" fmla="*/ 2215 w 9495"/>
                <a:gd name="connsiteY8" fmla="*/ 5165 h 10000"/>
                <a:gd name="connsiteX9" fmla="*/ 2462 w 9495"/>
                <a:gd name="connsiteY9" fmla="*/ 4386 h 10000"/>
                <a:gd name="connsiteX10" fmla="*/ 2695 w 9495"/>
                <a:gd name="connsiteY10" fmla="*/ 3647 h 10000"/>
                <a:gd name="connsiteX11" fmla="*/ 2940 w 9495"/>
                <a:gd name="connsiteY11" fmla="*/ 2972 h 10000"/>
                <a:gd name="connsiteX12" fmla="*/ 3186 w 9495"/>
                <a:gd name="connsiteY12" fmla="*/ 2357 h 10000"/>
                <a:gd name="connsiteX13" fmla="*/ 3316 w 9495"/>
                <a:gd name="connsiteY13" fmla="*/ 2048 h 10000"/>
                <a:gd name="connsiteX14" fmla="*/ 3446 w 9495"/>
                <a:gd name="connsiteY14" fmla="*/ 1803 h 10000"/>
                <a:gd name="connsiteX15" fmla="*/ 3588 w 9495"/>
                <a:gd name="connsiteY15" fmla="*/ 1536 h 10000"/>
                <a:gd name="connsiteX16" fmla="*/ 3717 w 9495"/>
                <a:gd name="connsiteY16" fmla="*/ 1312 h 10000"/>
                <a:gd name="connsiteX17" fmla="*/ 3860 w 9495"/>
                <a:gd name="connsiteY17" fmla="*/ 1109 h 10000"/>
                <a:gd name="connsiteX18" fmla="*/ 4003 w 9495"/>
                <a:gd name="connsiteY18" fmla="*/ 922 h 10000"/>
                <a:gd name="connsiteX19" fmla="*/ 4145 w 9495"/>
                <a:gd name="connsiteY19" fmla="*/ 758 h 10000"/>
                <a:gd name="connsiteX20" fmla="*/ 4301 w 9495"/>
                <a:gd name="connsiteY20" fmla="*/ 634 h 10000"/>
                <a:gd name="connsiteX21" fmla="*/ 4444 w 9495"/>
                <a:gd name="connsiteY21" fmla="*/ 512 h 10000"/>
                <a:gd name="connsiteX22" fmla="*/ 4598 w 9495"/>
                <a:gd name="connsiteY22" fmla="*/ 450 h 10000"/>
                <a:gd name="connsiteX23" fmla="*/ 4766 w 9495"/>
                <a:gd name="connsiteY23" fmla="*/ 388 h 10000"/>
                <a:gd name="connsiteX24" fmla="*/ 4935 w 9495"/>
                <a:gd name="connsiteY24" fmla="*/ 388 h 10000"/>
                <a:gd name="connsiteX25" fmla="*/ 5142 w 9495"/>
                <a:gd name="connsiteY25" fmla="*/ 410 h 10000"/>
                <a:gd name="connsiteX26" fmla="*/ 5349 w 9495"/>
                <a:gd name="connsiteY26" fmla="*/ 492 h 10000"/>
                <a:gd name="connsiteX27" fmla="*/ 5531 w 9495"/>
                <a:gd name="connsiteY27" fmla="*/ 634 h 10000"/>
                <a:gd name="connsiteX28" fmla="*/ 5726 w 9495"/>
                <a:gd name="connsiteY28" fmla="*/ 780 h 10000"/>
                <a:gd name="connsiteX29" fmla="*/ 5893 w 9495"/>
                <a:gd name="connsiteY29" fmla="*/ 985 h 10000"/>
                <a:gd name="connsiteX30" fmla="*/ 6075 w 9495"/>
                <a:gd name="connsiteY30" fmla="*/ 1250 h 10000"/>
                <a:gd name="connsiteX31" fmla="*/ 6231 w 9495"/>
                <a:gd name="connsiteY31" fmla="*/ 1536 h 10000"/>
                <a:gd name="connsiteX32" fmla="*/ 6412 w 9495"/>
                <a:gd name="connsiteY32" fmla="*/ 1864 h 10000"/>
                <a:gd name="connsiteX33" fmla="*/ 6555 w 9495"/>
                <a:gd name="connsiteY33" fmla="*/ 2213 h 10000"/>
                <a:gd name="connsiteX34" fmla="*/ 6710 w 9495"/>
                <a:gd name="connsiteY34" fmla="*/ 2602 h 10000"/>
                <a:gd name="connsiteX35" fmla="*/ 6852 w 9495"/>
                <a:gd name="connsiteY35" fmla="*/ 2990 h 10000"/>
                <a:gd name="connsiteX36" fmla="*/ 7020 w 9495"/>
                <a:gd name="connsiteY36" fmla="*/ 3424 h 10000"/>
                <a:gd name="connsiteX37" fmla="*/ 7305 w 9495"/>
                <a:gd name="connsiteY37" fmla="*/ 4344 h 10000"/>
                <a:gd name="connsiteX38" fmla="*/ 7603 w 9495"/>
                <a:gd name="connsiteY38" fmla="*/ 5328 h 10000"/>
                <a:gd name="connsiteX39" fmla="*/ 8199 w 9495"/>
                <a:gd name="connsiteY39" fmla="*/ 7398 h 10000"/>
                <a:gd name="connsiteX40" fmla="*/ 8524 w 9495"/>
                <a:gd name="connsiteY40" fmla="*/ 8464 h 10000"/>
                <a:gd name="connsiteX41" fmla="*/ 8847 w 9495"/>
                <a:gd name="connsiteY41" fmla="*/ 9465 h 10000"/>
                <a:gd name="connsiteX42" fmla="*/ 9028 w 9495"/>
                <a:gd name="connsiteY42" fmla="*/ 9980 h 10000"/>
                <a:gd name="connsiteX43" fmla="*/ 9495 w 9495"/>
                <a:gd name="connsiteY43" fmla="*/ 7110 h 10000"/>
                <a:gd name="connsiteX44" fmla="*/ 9236 w 9495"/>
                <a:gd name="connsiteY44" fmla="*/ 6230 h 10000"/>
                <a:gd name="connsiteX45" fmla="*/ 8951 w 9495"/>
                <a:gd name="connsiteY45" fmla="*/ 5349 h 10000"/>
                <a:gd name="connsiteX46" fmla="*/ 8666 w 9495"/>
                <a:gd name="connsiteY46" fmla="*/ 4528 h 10000"/>
                <a:gd name="connsiteX47" fmla="*/ 8343 w 9495"/>
                <a:gd name="connsiteY47" fmla="*/ 3730 h 10000"/>
                <a:gd name="connsiteX48" fmla="*/ 8185 w 9495"/>
                <a:gd name="connsiteY48" fmla="*/ 3340 h 10000"/>
                <a:gd name="connsiteX49" fmla="*/ 8018 w 9495"/>
                <a:gd name="connsiteY49" fmla="*/ 2972 h 10000"/>
                <a:gd name="connsiteX50" fmla="*/ 7849 w 9495"/>
                <a:gd name="connsiteY50" fmla="*/ 2602 h 10000"/>
                <a:gd name="connsiteX51" fmla="*/ 7669 w 9495"/>
                <a:gd name="connsiteY51" fmla="*/ 2252 h 10000"/>
                <a:gd name="connsiteX52" fmla="*/ 7488 w 9495"/>
                <a:gd name="connsiteY52" fmla="*/ 1925 h 10000"/>
                <a:gd name="connsiteX53" fmla="*/ 7293 w 9495"/>
                <a:gd name="connsiteY53" fmla="*/ 1641 h 10000"/>
                <a:gd name="connsiteX54" fmla="*/ 7085 w 9495"/>
                <a:gd name="connsiteY54" fmla="*/ 1334 h 10000"/>
                <a:gd name="connsiteX55" fmla="*/ 6891 w 9495"/>
                <a:gd name="connsiteY55" fmla="*/ 1086 h 10000"/>
                <a:gd name="connsiteX56" fmla="*/ 6671 w 9495"/>
                <a:gd name="connsiteY56" fmla="*/ 863 h 10000"/>
                <a:gd name="connsiteX57" fmla="*/ 6450 w 9495"/>
                <a:gd name="connsiteY57" fmla="*/ 656 h 10000"/>
                <a:gd name="connsiteX58" fmla="*/ 6217 w 9495"/>
                <a:gd name="connsiteY58" fmla="*/ 470 h 10000"/>
                <a:gd name="connsiteX59" fmla="*/ 5985 w 9495"/>
                <a:gd name="connsiteY59" fmla="*/ 307 h 10000"/>
                <a:gd name="connsiteX60" fmla="*/ 5739 w 9495"/>
                <a:gd name="connsiteY60" fmla="*/ 184 h 10000"/>
                <a:gd name="connsiteX61" fmla="*/ 5478 w 9495"/>
                <a:gd name="connsiteY61" fmla="*/ 101 h 10000"/>
                <a:gd name="connsiteX62" fmla="*/ 5207 w 9495"/>
                <a:gd name="connsiteY62" fmla="*/ 21 h 10000"/>
                <a:gd name="connsiteX63" fmla="*/ 4935 w 9495"/>
                <a:gd name="connsiteY63" fmla="*/ 0 h 10000"/>
                <a:gd name="connsiteX64" fmla="*/ 4701 w 9495"/>
                <a:gd name="connsiteY64" fmla="*/ 21 h 10000"/>
                <a:gd name="connsiteX65" fmla="*/ 4483 w 9495"/>
                <a:gd name="connsiteY65" fmla="*/ 61 h 10000"/>
                <a:gd name="connsiteX66" fmla="*/ 4262 w 9495"/>
                <a:gd name="connsiteY66" fmla="*/ 124 h 10000"/>
                <a:gd name="connsiteX67" fmla="*/ 4069 w 9495"/>
                <a:gd name="connsiteY67" fmla="*/ 184 h 10000"/>
                <a:gd name="connsiteX68" fmla="*/ 3860 w 9495"/>
                <a:gd name="connsiteY68" fmla="*/ 285 h 10000"/>
                <a:gd name="connsiteX69" fmla="*/ 3652 w 9495"/>
                <a:gd name="connsiteY69" fmla="*/ 388 h 10000"/>
                <a:gd name="connsiteX70" fmla="*/ 3472 w 9495"/>
                <a:gd name="connsiteY70" fmla="*/ 532 h 10000"/>
                <a:gd name="connsiteX71" fmla="*/ 3277 w 9495"/>
                <a:gd name="connsiteY71" fmla="*/ 698 h 10000"/>
                <a:gd name="connsiteX72" fmla="*/ 3110 w 9495"/>
                <a:gd name="connsiteY72" fmla="*/ 881 h 10000"/>
                <a:gd name="connsiteX73" fmla="*/ 2927 w 9495"/>
                <a:gd name="connsiteY73" fmla="*/ 1065 h 10000"/>
                <a:gd name="connsiteX74" fmla="*/ 2759 w 9495"/>
                <a:gd name="connsiteY74" fmla="*/ 1271 h 10000"/>
                <a:gd name="connsiteX75" fmla="*/ 2590 w 9495"/>
                <a:gd name="connsiteY75" fmla="*/ 1497 h 10000"/>
                <a:gd name="connsiteX76" fmla="*/ 2435 w 9495"/>
                <a:gd name="connsiteY76" fmla="*/ 1720 h 10000"/>
                <a:gd name="connsiteX77" fmla="*/ 2266 w 9495"/>
                <a:gd name="connsiteY77" fmla="*/ 1989 h 10000"/>
                <a:gd name="connsiteX78" fmla="*/ 1969 w 9495"/>
                <a:gd name="connsiteY78" fmla="*/ 2540 h 10000"/>
                <a:gd name="connsiteX79" fmla="*/ 1684 w 9495"/>
                <a:gd name="connsiteY79" fmla="*/ 3116 h 10000"/>
                <a:gd name="connsiteX80" fmla="*/ 1413 w 9495"/>
                <a:gd name="connsiteY80" fmla="*/ 3730 h 10000"/>
                <a:gd name="connsiteX81" fmla="*/ 1153 w 9495"/>
                <a:gd name="connsiteY81" fmla="*/ 4386 h 10000"/>
                <a:gd name="connsiteX82" fmla="*/ 907 w 9495"/>
                <a:gd name="connsiteY82" fmla="*/ 5062 h 10000"/>
                <a:gd name="connsiteX83" fmla="*/ 674 w 9495"/>
                <a:gd name="connsiteY83" fmla="*/ 5737 h 10000"/>
                <a:gd name="connsiteX84" fmla="*/ 442 w 9495"/>
                <a:gd name="connsiteY84" fmla="*/ 6455 h 10000"/>
                <a:gd name="connsiteX85" fmla="*/ 0 w 9495"/>
                <a:gd name="connsiteY8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9318 w 10000"/>
                <a:gd name="connsiteY41" fmla="*/ 9465 h 10000"/>
                <a:gd name="connsiteX42" fmla="*/ 10000 w 10000"/>
                <a:gd name="connsiteY42" fmla="*/ 7110 h 10000"/>
                <a:gd name="connsiteX43" fmla="*/ 9727 w 10000"/>
                <a:gd name="connsiteY43" fmla="*/ 6230 h 10000"/>
                <a:gd name="connsiteX44" fmla="*/ 9427 w 10000"/>
                <a:gd name="connsiteY44" fmla="*/ 5349 h 10000"/>
                <a:gd name="connsiteX45" fmla="*/ 9127 w 10000"/>
                <a:gd name="connsiteY45" fmla="*/ 4528 h 10000"/>
                <a:gd name="connsiteX46" fmla="*/ 8787 w 10000"/>
                <a:gd name="connsiteY46" fmla="*/ 3730 h 10000"/>
                <a:gd name="connsiteX47" fmla="*/ 8620 w 10000"/>
                <a:gd name="connsiteY47" fmla="*/ 3340 h 10000"/>
                <a:gd name="connsiteX48" fmla="*/ 8444 w 10000"/>
                <a:gd name="connsiteY48" fmla="*/ 2972 h 10000"/>
                <a:gd name="connsiteX49" fmla="*/ 8266 w 10000"/>
                <a:gd name="connsiteY49" fmla="*/ 2602 h 10000"/>
                <a:gd name="connsiteX50" fmla="*/ 8077 w 10000"/>
                <a:gd name="connsiteY50" fmla="*/ 2252 h 10000"/>
                <a:gd name="connsiteX51" fmla="*/ 7886 w 10000"/>
                <a:gd name="connsiteY51" fmla="*/ 1925 h 10000"/>
                <a:gd name="connsiteX52" fmla="*/ 7681 w 10000"/>
                <a:gd name="connsiteY52" fmla="*/ 1641 h 10000"/>
                <a:gd name="connsiteX53" fmla="*/ 7462 w 10000"/>
                <a:gd name="connsiteY53" fmla="*/ 1334 h 10000"/>
                <a:gd name="connsiteX54" fmla="*/ 7258 w 10000"/>
                <a:gd name="connsiteY54" fmla="*/ 1086 h 10000"/>
                <a:gd name="connsiteX55" fmla="*/ 7026 w 10000"/>
                <a:gd name="connsiteY55" fmla="*/ 863 h 10000"/>
                <a:gd name="connsiteX56" fmla="*/ 6793 w 10000"/>
                <a:gd name="connsiteY56" fmla="*/ 656 h 10000"/>
                <a:gd name="connsiteX57" fmla="*/ 6548 w 10000"/>
                <a:gd name="connsiteY57" fmla="*/ 470 h 10000"/>
                <a:gd name="connsiteX58" fmla="*/ 6303 w 10000"/>
                <a:gd name="connsiteY58" fmla="*/ 307 h 10000"/>
                <a:gd name="connsiteX59" fmla="*/ 6044 w 10000"/>
                <a:gd name="connsiteY59" fmla="*/ 184 h 10000"/>
                <a:gd name="connsiteX60" fmla="*/ 5769 w 10000"/>
                <a:gd name="connsiteY60" fmla="*/ 101 h 10000"/>
                <a:gd name="connsiteX61" fmla="*/ 5484 w 10000"/>
                <a:gd name="connsiteY61" fmla="*/ 21 h 10000"/>
                <a:gd name="connsiteX62" fmla="*/ 5197 w 10000"/>
                <a:gd name="connsiteY62" fmla="*/ 0 h 10000"/>
                <a:gd name="connsiteX63" fmla="*/ 4951 w 10000"/>
                <a:gd name="connsiteY63" fmla="*/ 21 h 10000"/>
                <a:gd name="connsiteX64" fmla="*/ 4721 w 10000"/>
                <a:gd name="connsiteY64" fmla="*/ 61 h 10000"/>
                <a:gd name="connsiteX65" fmla="*/ 4489 w 10000"/>
                <a:gd name="connsiteY65" fmla="*/ 124 h 10000"/>
                <a:gd name="connsiteX66" fmla="*/ 4285 w 10000"/>
                <a:gd name="connsiteY66" fmla="*/ 184 h 10000"/>
                <a:gd name="connsiteX67" fmla="*/ 4065 w 10000"/>
                <a:gd name="connsiteY67" fmla="*/ 285 h 10000"/>
                <a:gd name="connsiteX68" fmla="*/ 3846 w 10000"/>
                <a:gd name="connsiteY68" fmla="*/ 388 h 10000"/>
                <a:gd name="connsiteX69" fmla="*/ 3657 w 10000"/>
                <a:gd name="connsiteY69" fmla="*/ 532 h 10000"/>
                <a:gd name="connsiteX70" fmla="*/ 3451 w 10000"/>
                <a:gd name="connsiteY70" fmla="*/ 698 h 10000"/>
                <a:gd name="connsiteX71" fmla="*/ 3275 w 10000"/>
                <a:gd name="connsiteY71" fmla="*/ 881 h 10000"/>
                <a:gd name="connsiteX72" fmla="*/ 3083 w 10000"/>
                <a:gd name="connsiteY72" fmla="*/ 1065 h 10000"/>
                <a:gd name="connsiteX73" fmla="*/ 2906 w 10000"/>
                <a:gd name="connsiteY73" fmla="*/ 1271 h 10000"/>
                <a:gd name="connsiteX74" fmla="*/ 2728 w 10000"/>
                <a:gd name="connsiteY74" fmla="*/ 1497 h 10000"/>
                <a:gd name="connsiteX75" fmla="*/ 2565 w 10000"/>
                <a:gd name="connsiteY75" fmla="*/ 1720 h 10000"/>
                <a:gd name="connsiteX76" fmla="*/ 2387 w 10000"/>
                <a:gd name="connsiteY76" fmla="*/ 1989 h 10000"/>
                <a:gd name="connsiteX77" fmla="*/ 2074 w 10000"/>
                <a:gd name="connsiteY77" fmla="*/ 2540 h 10000"/>
                <a:gd name="connsiteX78" fmla="*/ 1774 w 10000"/>
                <a:gd name="connsiteY78" fmla="*/ 3116 h 10000"/>
                <a:gd name="connsiteX79" fmla="*/ 1488 w 10000"/>
                <a:gd name="connsiteY79" fmla="*/ 3730 h 10000"/>
                <a:gd name="connsiteX80" fmla="*/ 1214 w 10000"/>
                <a:gd name="connsiteY80" fmla="*/ 4386 h 10000"/>
                <a:gd name="connsiteX81" fmla="*/ 955 w 10000"/>
                <a:gd name="connsiteY81" fmla="*/ 5062 h 10000"/>
                <a:gd name="connsiteX82" fmla="*/ 710 w 10000"/>
                <a:gd name="connsiteY82" fmla="*/ 5737 h 10000"/>
                <a:gd name="connsiteX83" fmla="*/ 466 w 10000"/>
                <a:gd name="connsiteY83" fmla="*/ 6455 h 10000"/>
                <a:gd name="connsiteX84" fmla="*/ 0 w 10000"/>
                <a:gd name="connsiteY8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10000 w 10000"/>
                <a:gd name="connsiteY41" fmla="*/ 7110 h 10000"/>
                <a:gd name="connsiteX42" fmla="*/ 9727 w 10000"/>
                <a:gd name="connsiteY42" fmla="*/ 6230 h 10000"/>
                <a:gd name="connsiteX43" fmla="*/ 9427 w 10000"/>
                <a:gd name="connsiteY43" fmla="*/ 5349 h 10000"/>
                <a:gd name="connsiteX44" fmla="*/ 9127 w 10000"/>
                <a:gd name="connsiteY44" fmla="*/ 4528 h 10000"/>
                <a:gd name="connsiteX45" fmla="*/ 8787 w 10000"/>
                <a:gd name="connsiteY45" fmla="*/ 3730 h 10000"/>
                <a:gd name="connsiteX46" fmla="*/ 8620 w 10000"/>
                <a:gd name="connsiteY46" fmla="*/ 3340 h 10000"/>
                <a:gd name="connsiteX47" fmla="*/ 8444 w 10000"/>
                <a:gd name="connsiteY47" fmla="*/ 2972 h 10000"/>
                <a:gd name="connsiteX48" fmla="*/ 8266 w 10000"/>
                <a:gd name="connsiteY48" fmla="*/ 2602 h 10000"/>
                <a:gd name="connsiteX49" fmla="*/ 8077 w 10000"/>
                <a:gd name="connsiteY49" fmla="*/ 2252 h 10000"/>
                <a:gd name="connsiteX50" fmla="*/ 7886 w 10000"/>
                <a:gd name="connsiteY50" fmla="*/ 1925 h 10000"/>
                <a:gd name="connsiteX51" fmla="*/ 7681 w 10000"/>
                <a:gd name="connsiteY51" fmla="*/ 1641 h 10000"/>
                <a:gd name="connsiteX52" fmla="*/ 7462 w 10000"/>
                <a:gd name="connsiteY52" fmla="*/ 1334 h 10000"/>
                <a:gd name="connsiteX53" fmla="*/ 7258 w 10000"/>
                <a:gd name="connsiteY53" fmla="*/ 1086 h 10000"/>
                <a:gd name="connsiteX54" fmla="*/ 7026 w 10000"/>
                <a:gd name="connsiteY54" fmla="*/ 863 h 10000"/>
                <a:gd name="connsiteX55" fmla="*/ 6793 w 10000"/>
                <a:gd name="connsiteY55" fmla="*/ 656 h 10000"/>
                <a:gd name="connsiteX56" fmla="*/ 6548 w 10000"/>
                <a:gd name="connsiteY56" fmla="*/ 470 h 10000"/>
                <a:gd name="connsiteX57" fmla="*/ 6303 w 10000"/>
                <a:gd name="connsiteY57" fmla="*/ 307 h 10000"/>
                <a:gd name="connsiteX58" fmla="*/ 6044 w 10000"/>
                <a:gd name="connsiteY58" fmla="*/ 184 h 10000"/>
                <a:gd name="connsiteX59" fmla="*/ 5769 w 10000"/>
                <a:gd name="connsiteY59" fmla="*/ 101 h 10000"/>
                <a:gd name="connsiteX60" fmla="*/ 5484 w 10000"/>
                <a:gd name="connsiteY60" fmla="*/ 21 h 10000"/>
                <a:gd name="connsiteX61" fmla="*/ 5197 w 10000"/>
                <a:gd name="connsiteY61" fmla="*/ 0 h 10000"/>
                <a:gd name="connsiteX62" fmla="*/ 4951 w 10000"/>
                <a:gd name="connsiteY62" fmla="*/ 21 h 10000"/>
                <a:gd name="connsiteX63" fmla="*/ 4721 w 10000"/>
                <a:gd name="connsiteY63" fmla="*/ 61 h 10000"/>
                <a:gd name="connsiteX64" fmla="*/ 4489 w 10000"/>
                <a:gd name="connsiteY64" fmla="*/ 124 h 10000"/>
                <a:gd name="connsiteX65" fmla="*/ 4285 w 10000"/>
                <a:gd name="connsiteY65" fmla="*/ 184 h 10000"/>
                <a:gd name="connsiteX66" fmla="*/ 4065 w 10000"/>
                <a:gd name="connsiteY66" fmla="*/ 285 h 10000"/>
                <a:gd name="connsiteX67" fmla="*/ 3846 w 10000"/>
                <a:gd name="connsiteY67" fmla="*/ 388 h 10000"/>
                <a:gd name="connsiteX68" fmla="*/ 3657 w 10000"/>
                <a:gd name="connsiteY68" fmla="*/ 532 h 10000"/>
                <a:gd name="connsiteX69" fmla="*/ 3451 w 10000"/>
                <a:gd name="connsiteY69" fmla="*/ 698 h 10000"/>
                <a:gd name="connsiteX70" fmla="*/ 3275 w 10000"/>
                <a:gd name="connsiteY70" fmla="*/ 881 h 10000"/>
                <a:gd name="connsiteX71" fmla="*/ 3083 w 10000"/>
                <a:gd name="connsiteY71" fmla="*/ 1065 h 10000"/>
                <a:gd name="connsiteX72" fmla="*/ 2906 w 10000"/>
                <a:gd name="connsiteY72" fmla="*/ 1271 h 10000"/>
                <a:gd name="connsiteX73" fmla="*/ 2728 w 10000"/>
                <a:gd name="connsiteY73" fmla="*/ 1497 h 10000"/>
                <a:gd name="connsiteX74" fmla="*/ 2565 w 10000"/>
                <a:gd name="connsiteY74" fmla="*/ 1720 h 10000"/>
                <a:gd name="connsiteX75" fmla="*/ 2387 w 10000"/>
                <a:gd name="connsiteY75" fmla="*/ 1989 h 10000"/>
                <a:gd name="connsiteX76" fmla="*/ 2074 w 10000"/>
                <a:gd name="connsiteY76" fmla="*/ 2540 h 10000"/>
                <a:gd name="connsiteX77" fmla="*/ 1774 w 10000"/>
                <a:gd name="connsiteY77" fmla="*/ 3116 h 10000"/>
                <a:gd name="connsiteX78" fmla="*/ 1488 w 10000"/>
                <a:gd name="connsiteY78" fmla="*/ 3730 h 10000"/>
                <a:gd name="connsiteX79" fmla="*/ 1214 w 10000"/>
                <a:gd name="connsiteY79" fmla="*/ 4386 h 10000"/>
                <a:gd name="connsiteX80" fmla="*/ 955 w 10000"/>
                <a:gd name="connsiteY80" fmla="*/ 5062 h 10000"/>
                <a:gd name="connsiteX81" fmla="*/ 710 w 10000"/>
                <a:gd name="connsiteY81" fmla="*/ 5737 h 10000"/>
                <a:gd name="connsiteX82" fmla="*/ 466 w 10000"/>
                <a:gd name="connsiteY82" fmla="*/ 6455 h 10000"/>
                <a:gd name="connsiteX83" fmla="*/ 0 w 10000"/>
                <a:gd name="connsiteY83" fmla="*/ 7890 h 10000"/>
                <a:gd name="connsiteX0" fmla="*/ 0 w 9727"/>
                <a:gd name="connsiteY0" fmla="*/ 7890 h 10000"/>
                <a:gd name="connsiteX1" fmla="*/ 0 w 9727"/>
                <a:gd name="connsiteY1" fmla="*/ 7890 h 10000"/>
                <a:gd name="connsiteX2" fmla="*/ 341 w 9727"/>
                <a:gd name="connsiteY2" fmla="*/ 8955 h 10000"/>
                <a:gd name="connsiteX3" fmla="*/ 656 w 9727"/>
                <a:gd name="connsiteY3" fmla="*/ 10000 h 10000"/>
                <a:gd name="connsiteX4" fmla="*/ 969 w 9727"/>
                <a:gd name="connsiteY4" fmla="*/ 9222 h 10000"/>
                <a:gd name="connsiteX5" fmla="*/ 1255 w 9727"/>
                <a:gd name="connsiteY5" fmla="*/ 8403 h 10000"/>
                <a:gd name="connsiteX6" fmla="*/ 1555 w 9727"/>
                <a:gd name="connsiteY6" fmla="*/ 7602 h 10000"/>
                <a:gd name="connsiteX7" fmla="*/ 1814 w 9727"/>
                <a:gd name="connsiteY7" fmla="*/ 6782 h 10000"/>
                <a:gd name="connsiteX8" fmla="*/ 2333 w 9727"/>
                <a:gd name="connsiteY8" fmla="*/ 5165 h 10000"/>
                <a:gd name="connsiteX9" fmla="*/ 2593 w 9727"/>
                <a:gd name="connsiteY9" fmla="*/ 4386 h 10000"/>
                <a:gd name="connsiteX10" fmla="*/ 2838 w 9727"/>
                <a:gd name="connsiteY10" fmla="*/ 3647 h 10000"/>
                <a:gd name="connsiteX11" fmla="*/ 3096 w 9727"/>
                <a:gd name="connsiteY11" fmla="*/ 2972 h 10000"/>
                <a:gd name="connsiteX12" fmla="*/ 3355 w 9727"/>
                <a:gd name="connsiteY12" fmla="*/ 2357 h 10000"/>
                <a:gd name="connsiteX13" fmla="*/ 3492 w 9727"/>
                <a:gd name="connsiteY13" fmla="*/ 2048 h 10000"/>
                <a:gd name="connsiteX14" fmla="*/ 3629 w 9727"/>
                <a:gd name="connsiteY14" fmla="*/ 1803 h 10000"/>
                <a:gd name="connsiteX15" fmla="*/ 3779 w 9727"/>
                <a:gd name="connsiteY15" fmla="*/ 1536 h 10000"/>
                <a:gd name="connsiteX16" fmla="*/ 3915 w 9727"/>
                <a:gd name="connsiteY16" fmla="*/ 1312 h 10000"/>
                <a:gd name="connsiteX17" fmla="*/ 4065 w 9727"/>
                <a:gd name="connsiteY17" fmla="*/ 1109 h 10000"/>
                <a:gd name="connsiteX18" fmla="*/ 4216 w 9727"/>
                <a:gd name="connsiteY18" fmla="*/ 922 h 10000"/>
                <a:gd name="connsiteX19" fmla="*/ 4365 w 9727"/>
                <a:gd name="connsiteY19" fmla="*/ 758 h 10000"/>
                <a:gd name="connsiteX20" fmla="*/ 4530 w 9727"/>
                <a:gd name="connsiteY20" fmla="*/ 634 h 10000"/>
                <a:gd name="connsiteX21" fmla="*/ 4680 w 9727"/>
                <a:gd name="connsiteY21" fmla="*/ 512 h 10000"/>
                <a:gd name="connsiteX22" fmla="*/ 4843 w 9727"/>
                <a:gd name="connsiteY22" fmla="*/ 450 h 10000"/>
                <a:gd name="connsiteX23" fmla="*/ 5019 w 9727"/>
                <a:gd name="connsiteY23" fmla="*/ 388 h 10000"/>
                <a:gd name="connsiteX24" fmla="*/ 5197 w 9727"/>
                <a:gd name="connsiteY24" fmla="*/ 388 h 10000"/>
                <a:gd name="connsiteX25" fmla="*/ 5415 w 9727"/>
                <a:gd name="connsiteY25" fmla="*/ 410 h 10000"/>
                <a:gd name="connsiteX26" fmla="*/ 5633 w 9727"/>
                <a:gd name="connsiteY26" fmla="*/ 492 h 10000"/>
                <a:gd name="connsiteX27" fmla="*/ 5825 w 9727"/>
                <a:gd name="connsiteY27" fmla="*/ 634 h 10000"/>
                <a:gd name="connsiteX28" fmla="*/ 6031 w 9727"/>
                <a:gd name="connsiteY28" fmla="*/ 780 h 10000"/>
                <a:gd name="connsiteX29" fmla="*/ 6206 w 9727"/>
                <a:gd name="connsiteY29" fmla="*/ 985 h 10000"/>
                <a:gd name="connsiteX30" fmla="*/ 6398 w 9727"/>
                <a:gd name="connsiteY30" fmla="*/ 1250 h 10000"/>
                <a:gd name="connsiteX31" fmla="*/ 6562 w 9727"/>
                <a:gd name="connsiteY31" fmla="*/ 1536 h 10000"/>
                <a:gd name="connsiteX32" fmla="*/ 6753 w 9727"/>
                <a:gd name="connsiteY32" fmla="*/ 1864 h 10000"/>
                <a:gd name="connsiteX33" fmla="*/ 6904 w 9727"/>
                <a:gd name="connsiteY33" fmla="*/ 2213 h 10000"/>
                <a:gd name="connsiteX34" fmla="*/ 7067 w 9727"/>
                <a:gd name="connsiteY34" fmla="*/ 2602 h 10000"/>
                <a:gd name="connsiteX35" fmla="*/ 7216 w 9727"/>
                <a:gd name="connsiteY35" fmla="*/ 2990 h 10000"/>
                <a:gd name="connsiteX36" fmla="*/ 7393 w 9727"/>
                <a:gd name="connsiteY36" fmla="*/ 3424 h 10000"/>
                <a:gd name="connsiteX37" fmla="*/ 7694 w 9727"/>
                <a:gd name="connsiteY37" fmla="*/ 4344 h 10000"/>
                <a:gd name="connsiteX38" fmla="*/ 8007 w 9727"/>
                <a:gd name="connsiteY38" fmla="*/ 5328 h 10000"/>
                <a:gd name="connsiteX39" fmla="*/ 8635 w 9727"/>
                <a:gd name="connsiteY39" fmla="*/ 7398 h 10000"/>
                <a:gd name="connsiteX40" fmla="*/ 8977 w 9727"/>
                <a:gd name="connsiteY40" fmla="*/ 8464 h 10000"/>
                <a:gd name="connsiteX41" fmla="*/ 9727 w 9727"/>
                <a:gd name="connsiteY41" fmla="*/ 6230 h 10000"/>
                <a:gd name="connsiteX42" fmla="*/ 9427 w 9727"/>
                <a:gd name="connsiteY42" fmla="*/ 5349 h 10000"/>
                <a:gd name="connsiteX43" fmla="*/ 9127 w 9727"/>
                <a:gd name="connsiteY43" fmla="*/ 4528 h 10000"/>
                <a:gd name="connsiteX44" fmla="*/ 8787 w 9727"/>
                <a:gd name="connsiteY44" fmla="*/ 3730 h 10000"/>
                <a:gd name="connsiteX45" fmla="*/ 8620 w 9727"/>
                <a:gd name="connsiteY45" fmla="*/ 3340 h 10000"/>
                <a:gd name="connsiteX46" fmla="*/ 8444 w 9727"/>
                <a:gd name="connsiteY46" fmla="*/ 2972 h 10000"/>
                <a:gd name="connsiteX47" fmla="*/ 8266 w 9727"/>
                <a:gd name="connsiteY47" fmla="*/ 2602 h 10000"/>
                <a:gd name="connsiteX48" fmla="*/ 8077 w 9727"/>
                <a:gd name="connsiteY48" fmla="*/ 2252 h 10000"/>
                <a:gd name="connsiteX49" fmla="*/ 7886 w 9727"/>
                <a:gd name="connsiteY49" fmla="*/ 1925 h 10000"/>
                <a:gd name="connsiteX50" fmla="*/ 7681 w 9727"/>
                <a:gd name="connsiteY50" fmla="*/ 1641 h 10000"/>
                <a:gd name="connsiteX51" fmla="*/ 7462 w 9727"/>
                <a:gd name="connsiteY51" fmla="*/ 1334 h 10000"/>
                <a:gd name="connsiteX52" fmla="*/ 7258 w 9727"/>
                <a:gd name="connsiteY52" fmla="*/ 1086 h 10000"/>
                <a:gd name="connsiteX53" fmla="*/ 7026 w 9727"/>
                <a:gd name="connsiteY53" fmla="*/ 863 h 10000"/>
                <a:gd name="connsiteX54" fmla="*/ 6793 w 9727"/>
                <a:gd name="connsiteY54" fmla="*/ 656 h 10000"/>
                <a:gd name="connsiteX55" fmla="*/ 6548 w 9727"/>
                <a:gd name="connsiteY55" fmla="*/ 470 h 10000"/>
                <a:gd name="connsiteX56" fmla="*/ 6303 w 9727"/>
                <a:gd name="connsiteY56" fmla="*/ 307 h 10000"/>
                <a:gd name="connsiteX57" fmla="*/ 6044 w 9727"/>
                <a:gd name="connsiteY57" fmla="*/ 184 h 10000"/>
                <a:gd name="connsiteX58" fmla="*/ 5769 w 9727"/>
                <a:gd name="connsiteY58" fmla="*/ 101 h 10000"/>
                <a:gd name="connsiteX59" fmla="*/ 5484 w 9727"/>
                <a:gd name="connsiteY59" fmla="*/ 21 h 10000"/>
                <a:gd name="connsiteX60" fmla="*/ 5197 w 9727"/>
                <a:gd name="connsiteY60" fmla="*/ 0 h 10000"/>
                <a:gd name="connsiteX61" fmla="*/ 4951 w 9727"/>
                <a:gd name="connsiteY61" fmla="*/ 21 h 10000"/>
                <a:gd name="connsiteX62" fmla="*/ 4721 w 9727"/>
                <a:gd name="connsiteY62" fmla="*/ 61 h 10000"/>
                <a:gd name="connsiteX63" fmla="*/ 4489 w 9727"/>
                <a:gd name="connsiteY63" fmla="*/ 124 h 10000"/>
                <a:gd name="connsiteX64" fmla="*/ 4285 w 9727"/>
                <a:gd name="connsiteY64" fmla="*/ 184 h 10000"/>
                <a:gd name="connsiteX65" fmla="*/ 4065 w 9727"/>
                <a:gd name="connsiteY65" fmla="*/ 285 h 10000"/>
                <a:gd name="connsiteX66" fmla="*/ 3846 w 9727"/>
                <a:gd name="connsiteY66" fmla="*/ 388 h 10000"/>
                <a:gd name="connsiteX67" fmla="*/ 3657 w 9727"/>
                <a:gd name="connsiteY67" fmla="*/ 532 h 10000"/>
                <a:gd name="connsiteX68" fmla="*/ 3451 w 9727"/>
                <a:gd name="connsiteY68" fmla="*/ 698 h 10000"/>
                <a:gd name="connsiteX69" fmla="*/ 3275 w 9727"/>
                <a:gd name="connsiteY69" fmla="*/ 881 h 10000"/>
                <a:gd name="connsiteX70" fmla="*/ 3083 w 9727"/>
                <a:gd name="connsiteY70" fmla="*/ 1065 h 10000"/>
                <a:gd name="connsiteX71" fmla="*/ 2906 w 9727"/>
                <a:gd name="connsiteY71" fmla="*/ 1271 h 10000"/>
                <a:gd name="connsiteX72" fmla="*/ 2728 w 9727"/>
                <a:gd name="connsiteY72" fmla="*/ 1497 h 10000"/>
                <a:gd name="connsiteX73" fmla="*/ 2565 w 9727"/>
                <a:gd name="connsiteY73" fmla="*/ 1720 h 10000"/>
                <a:gd name="connsiteX74" fmla="*/ 2387 w 9727"/>
                <a:gd name="connsiteY74" fmla="*/ 1989 h 10000"/>
                <a:gd name="connsiteX75" fmla="*/ 2074 w 9727"/>
                <a:gd name="connsiteY75" fmla="*/ 2540 h 10000"/>
                <a:gd name="connsiteX76" fmla="*/ 1774 w 9727"/>
                <a:gd name="connsiteY76" fmla="*/ 3116 h 10000"/>
                <a:gd name="connsiteX77" fmla="*/ 1488 w 9727"/>
                <a:gd name="connsiteY77" fmla="*/ 3730 h 10000"/>
                <a:gd name="connsiteX78" fmla="*/ 1214 w 9727"/>
                <a:gd name="connsiteY78" fmla="*/ 4386 h 10000"/>
                <a:gd name="connsiteX79" fmla="*/ 955 w 9727"/>
                <a:gd name="connsiteY79" fmla="*/ 5062 h 10000"/>
                <a:gd name="connsiteX80" fmla="*/ 710 w 9727"/>
                <a:gd name="connsiteY80" fmla="*/ 5737 h 10000"/>
                <a:gd name="connsiteX81" fmla="*/ 466 w 9727"/>
                <a:gd name="connsiteY81" fmla="*/ 6455 h 10000"/>
                <a:gd name="connsiteX82" fmla="*/ 0 w 9727"/>
                <a:gd name="connsiteY82" fmla="*/ 7890 h 10000"/>
                <a:gd name="connsiteX0" fmla="*/ 0 w 9692"/>
                <a:gd name="connsiteY0" fmla="*/ 7890 h 10000"/>
                <a:gd name="connsiteX1" fmla="*/ 0 w 9692"/>
                <a:gd name="connsiteY1" fmla="*/ 7890 h 10000"/>
                <a:gd name="connsiteX2" fmla="*/ 351 w 9692"/>
                <a:gd name="connsiteY2" fmla="*/ 8955 h 10000"/>
                <a:gd name="connsiteX3" fmla="*/ 674 w 9692"/>
                <a:gd name="connsiteY3" fmla="*/ 10000 h 10000"/>
                <a:gd name="connsiteX4" fmla="*/ 996 w 9692"/>
                <a:gd name="connsiteY4" fmla="*/ 9222 h 10000"/>
                <a:gd name="connsiteX5" fmla="*/ 1290 w 9692"/>
                <a:gd name="connsiteY5" fmla="*/ 8403 h 10000"/>
                <a:gd name="connsiteX6" fmla="*/ 1599 w 9692"/>
                <a:gd name="connsiteY6" fmla="*/ 7602 h 10000"/>
                <a:gd name="connsiteX7" fmla="*/ 1865 w 9692"/>
                <a:gd name="connsiteY7" fmla="*/ 6782 h 10000"/>
                <a:gd name="connsiteX8" fmla="*/ 2398 w 9692"/>
                <a:gd name="connsiteY8" fmla="*/ 5165 h 10000"/>
                <a:gd name="connsiteX9" fmla="*/ 2666 w 9692"/>
                <a:gd name="connsiteY9" fmla="*/ 4386 h 10000"/>
                <a:gd name="connsiteX10" fmla="*/ 2918 w 9692"/>
                <a:gd name="connsiteY10" fmla="*/ 3647 h 10000"/>
                <a:gd name="connsiteX11" fmla="*/ 3183 w 9692"/>
                <a:gd name="connsiteY11" fmla="*/ 2972 h 10000"/>
                <a:gd name="connsiteX12" fmla="*/ 3449 w 9692"/>
                <a:gd name="connsiteY12" fmla="*/ 2357 h 10000"/>
                <a:gd name="connsiteX13" fmla="*/ 3590 w 9692"/>
                <a:gd name="connsiteY13" fmla="*/ 2048 h 10000"/>
                <a:gd name="connsiteX14" fmla="*/ 3731 w 9692"/>
                <a:gd name="connsiteY14" fmla="*/ 1803 h 10000"/>
                <a:gd name="connsiteX15" fmla="*/ 3885 w 9692"/>
                <a:gd name="connsiteY15" fmla="*/ 1536 h 10000"/>
                <a:gd name="connsiteX16" fmla="*/ 4025 w 9692"/>
                <a:gd name="connsiteY16" fmla="*/ 1312 h 10000"/>
                <a:gd name="connsiteX17" fmla="*/ 4179 w 9692"/>
                <a:gd name="connsiteY17" fmla="*/ 1109 h 10000"/>
                <a:gd name="connsiteX18" fmla="*/ 4334 w 9692"/>
                <a:gd name="connsiteY18" fmla="*/ 922 h 10000"/>
                <a:gd name="connsiteX19" fmla="*/ 4488 w 9692"/>
                <a:gd name="connsiteY19" fmla="*/ 758 h 10000"/>
                <a:gd name="connsiteX20" fmla="*/ 4657 w 9692"/>
                <a:gd name="connsiteY20" fmla="*/ 634 h 10000"/>
                <a:gd name="connsiteX21" fmla="*/ 4811 w 9692"/>
                <a:gd name="connsiteY21" fmla="*/ 512 h 10000"/>
                <a:gd name="connsiteX22" fmla="*/ 4979 w 9692"/>
                <a:gd name="connsiteY22" fmla="*/ 450 h 10000"/>
                <a:gd name="connsiteX23" fmla="*/ 5160 w 9692"/>
                <a:gd name="connsiteY23" fmla="*/ 388 h 10000"/>
                <a:gd name="connsiteX24" fmla="*/ 5343 w 9692"/>
                <a:gd name="connsiteY24" fmla="*/ 388 h 10000"/>
                <a:gd name="connsiteX25" fmla="*/ 5567 w 9692"/>
                <a:gd name="connsiteY25" fmla="*/ 410 h 10000"/>
                <a:gd name="connsiteX26" fmla="*/ 5791 w 9692"/>
                <a:gd name="connsiteY26" fmla="*/ 492 h 10000"/>
                <a:gd name="connsiteX27" fmla="*/ 5988 w 9692"/>
                <a:gd name="connsiteY27" fmla="*/ 634 h 10000"/>
                <a:gd name="connsiteX28" fmla="*/ 6200 w 9692"/>
                <a:gd name="connsiteY28" fmla="*/ 780 h 10000"/>
                <a:gd name="connsiteX29" fmla="*/ 6380 w 9692"/>
                <a:gd name="connsiteY29" fmla="*/ 985 h 10000"/>
                <a:gd name="connsiteX30" fmla="*/ 6578 w 9692"/>
                <a:gd name="connsiteY30" fmla="*/ 1250 h 10000"/>
                <a:gd name="connsiteX31" fmla="*/ 6746 w 9692"/>
                <a:gd name="connsiteY31" fmla="*/ 1536 h 10000"/>
                <a:gd name="connsiteX32" fmla="*/ 6943 w 9692"/>
                <a:gd name="connsiteY32" fmla="*/ 1864 h 10000"/>
                <a:gd name="connsiteX33" fmla="*/ 7098 w 9692"/>
                <a:gd name="connsiteY33" fmla="*/ 2213 h 10000"/>
                <a:gd name="connsiteX34" fmla="*/ 7265 w 9692"/>
                <a:gd name="connsiteY34" fmla="*/ 2602 h 10000"/>
                <a:gd name="connsiteX35" fmla="*/ 7419 w 9692"/>
                <a:gd name="connsiteY35" fmla="*/ 2990 h 10000"/>
                <a:gd name="connsiteX36" fmla="*/ 7600 w 9692"/>
                <a:gd name="connsiteY36" fmla="*/ 3424 h 10000"/>
                <a:gd name="connsiteX37" fmla="*/ 7910 w 9692"/>
                <a:gd name="connsiteY37" fmla="*/ 4344 h 10000"/>
                <a:gd name="connsiteX38" fmla="*/ 8232 w 9692"/>
                <a:gd name="connsiteY38" fmla="*/ 5328 h 10000"/>
                <a:gd name="connsiteX39" fmla="*/ 8877 w 9692"/>
                <a:gd name="connsiteY39" fmla="*/ 7398 h 10000"/>
                <a:gd name="connsiteX40" fmla="*/ 9229 w 9692"/>
                <a:gd name="connsiteY40" fmla="*/ 8464 h 10000"/>
                <a:gd name="connsiteX41" fmla="*/ 9692 w 9692"/>
                <a:gd name="connsiteY41" fmla="*/ 5349 h 10000"/>
                <a:gd name="connsiteX42" fmla="*/ 9383 w 9692"/>
                <a:gd name="connsiteY42" fmla="*/ 4528 h 10000"/>
                <a:gd name="connsiteX43" fmla="*/ 9034 w 9692"/>
                <a:gd name="connsiteY43" fmla="*/ 3730 h 10000"/>
                <a:gd name="connsiteX44" fmla="*/ 8862 w 9692"/>
                <a:gd name="connsiteY44" fmla="*/ 3340 h 10000"/>
                <a:gd name="connsiteX45" fmla="*/ 8681 w 9692"/>
                <a:gd name="connsiteY45" fmla="*/ 2972 h 10000"/>
                <a:gd name="connsiteX46" fmla="*/ 8498 w 9692"/>
                <a:gd name="connsiteY46" fmla="*/ 2602 h 10000"/>
                <a:gd name="connsiteX47" fmla="*/ 8304 w 9692"/>
                <a:gd name="connsiteY47" fmla="*/ 2252 h 10000"/>
                <a:gd name="connsiteX48" fmla="*/ 8107 w 9692"/>
                <a:gd name="connsiteY48" fmla="*/ 1925 h 10000"/>
                <a:gd name="connsiteX49" fmla="*/ 7897 w 9692"/>
                <a:gd name="connsiteY49" fmla="*/ 1641 h 10000"/>
                <a:gd name="connsiteX50" fmla="*/ 7671 w 9692"/>
                <a:gd name="connsiteY50" fmla="*/ 1334 h 10000"/>
                <a:gd name="connsiteX51" fmla="*/ 7462 w 9692"/>
                <a:gd name="connsiteY51" fmla="*/ 1086 h 10000"/>
                <a:gd name="connsiteX52" fmla="*/ 7223 w 9692"/>
                <a:gd name="connsiteY52" fmla="*/ 863 h 10000"/>
                <a:gd name="connsiteX53" fmla="*/ 6984 w 9692"/>
                <a:gd name="connsiteY53" fmla="*/ 656 h 10000"/>
                <a:gd name="connsiteX54" fmla="*/ 6732 w 9692"/>
                <a:gd name="connsiteY54" fmla="*/ 470 h 10000"/>
                <a:gd name="connsiteX55" fmla="*/ 6480 w 9692"/>
                <a:gd name="connsiteY55" fmla="*/ 307 h 10000"/>
                <a:gd name="connsiteX56" fmla="*/ 6214 w 9692"/>
                <a:gd name="connsiteY56" fmla="*/ 184 h 10000"/>
                <a:gd name="connsiteX57" fmla="*/ 5931 w 9692"/>
                <a:gd name="connsiteY57" fmla="*/ 101 h 10000"/>
                <a:gd name="connsiteX58" fmla="*/ 5638 w 9692"/>
                <a:gd name="connsiteY58" fmla="*/ 21 h 10000"/>
                <a:gd name="connsiteX59" fmla="*/ 5343 w 9692"/>
                <a:gd name="connsiteY59" fmla="*/ 0 h 10000"/>
                <a:gd name="connsiteX60" fmla="*/ 5090 w 9692"/>
                <a:gd name="connsiteY60" fmla="*/ 21 h 10000"/>
                <a:gd name="connsiteX61" fmla="*/ 4854 w 9692"/>
                <a:gd name="connsiteY61" fmla="*/ 61 h 10000"/>
                <a:gd name="connsiteX62" fmla="*/ 4615 w 9692"/>
                <a:gd name="connsiteY62" fmla="*/ 124 h 10000"/>
                <a:gd name="connsiteX63" fmla="*/ 4405 w 9692"/>
                <a:gd name="connsiteY63" fmla="*/ 184 h 10000"/>
                <a:gd name="connsiteX64" fmla="*/ 4179 w 9692"/>
                <a:gd name="connsiteY64" fmla="*/ 285 h 10000"/>
                <a:gd name="connsiteX65" fmla="*/ 3954 w 9692"/>
                <a:gd name="connsiteY65" fmla="*/ 388 h 10000"/>
                <a:gd name="connsiteX66" fmla="*/ 3760 w 9692"/>
                <a:gd name="connsiteY66" fmla="*/ 532 h 10000"/>
                <a:gd name="connsiteX67" fmla="*/ 3548 w 9692"/>
                <a:gd name="connsiteY67" fmla="*/ 698 h 10000"/>
                <a:gd name="connsiteX68" fmla="*/ 3367 w 9692"/>
                <a:gd name="connsiteY68" fmla="*/ 881 h 10000"/>
                <a:gd name="connsiteX69" fmla="*/ 3170 w 9692"/>
                <a:gd name="connsiteY69" fmla="*/ 1065 h 10000"/>
                <a:gd name="connsiteX70" fmla="*/ 2988 w 9692"/>
                <a:gd name="connsiteY70" fmla="*/ 1271 h 10000"/>
                <a:gd name="connsiteX71" fmla="*/ 2805 w 9692"/>
                <a:gd name="connsiteY71" fmla="*/ 1497 h 10000"/>
                <a:gd name="connsiteX72" fmla="*/ 2637 w 9692"/>
                <a:gd name="connsiteY72" fmla="*/ 1720 h 10000"/>
                <a:gd name="connsiteX73" fmla="*/ 2454 w 9692"/>
                <a:gd name="connsiteY73" fmla="*/ 1989 h 10000"/>
                <a:gd name="connsiteX74" fmla="*/ 2132 w 9692"/>
                <a:gd name="connsiteY74" fmla="*/ 2540 h 10000"/>
                <a:gd name="connsiteX75" fmla="*/ 1824 w 9692"/>
                <a:gd name="connsiteY75" fmla="*/ 3116 h 10000"/>
                <a:gd name="connsiteX76" fmla="*/ 1530 w 9692"/>
                <a:gd name="connsiteY76" fmla="*/ 3730 h 10000"/>
                <a:gd name="connsiteX77" fmla="*/ 1248 w 9692"/>
                <a:gd name="connsiteY77" fmla="*/ 4386 h 10000"/>
                <a:gd name="connsiteX78" fmla="*/ 982 w 9692"/>
                <a:gd name="connsiteY78" fmla="*/ 5062 h 10000"/>
                <a:gd name="connsiteX79" fmla="*/ 730 w 9692"/>
                <a:gd name="connsiteY79" fmla="*/ 5737 h 10000"/>
                <a:gd name="connsiteX80" fmla="*/ 479 w 9692"/>
                <a:gd name="connsiteY80" fmla="*/ 6455 h 10000"/>
                <a:gd name="connsiteX81" fmla="*/ 0 w 9692"/>
                <a:gd name="connsiteY81" fmla="*/ 7890 h 10000"/>
                <a:gd name="connsiteX0" fmla="*/ 0 w 9687"/>
                <a:gd name="connsiteY0" fmla="*/ 7890 h 10000"/>
                <a:gd name="connsiteX1" fmla="*/ 0 w 9687"/>
                <a:gd name="connsiteY1" fmla="*/ 7890 h 10000"/>
                <a:gd name="connsiteX2" fmla="*/ 362 w 9687"/>
                <a:gd name="connsiteY2" fmla="*/ 8955 h 10000"/>
                <a:gd name="connsiteX3" fmla="*/ 695 w 9687"/>
                <a:gd name="connsiteY3" fmla="*/ 10000 h 10000"/>
                <a:gd name="connsiteX4" fmla="*/ 1028 w 9687"/>
                <a:gd name="connsiteY4" fmla="*/ 9222 h 10000"/>
                <a:gd name="connsiteX5" fmla="*/ 1331 w 9687"/>
                <a:gd name="connsiteY5" fmla="*/ 8403 h 10000"/>
                <a:gd name="connsiteX6" fmla="*/ 1650 w 9687"/>
                <a:gd name="connsiteY6" fmla="*/ 7602 h 10000"/>
                <a:gd name="connsiteX7" fmla="*/ 1924 w 9687"/>
                <a:gd name="connsiteY7" fmla="*/ 6782 h 10000"/>
                <a:gd name="connsiteX8" fmla="*/ 2474 w 9687"/>
                <a:gd name="connsiteY8" fmla="*/ 5165 h 10000"/>
                <a:gd name="connsiteX9" fmla="*/ 2751 w 9687"/>
                <a:gd name="connsiteY9" fmla="*/ 4386 h 10000"/>
                <a:gd name="connsiteX10" fmla="*/ 3011 w 9687"/>
                <a:gd name="connsiteY10" fmla="*/ 3647 h 10000"/>
                <a:gd name="connsiteX11" fmla="*/ 3284 w 9687"/>
                <a:gd name="connsiteY11" fmla="*/ 2972 h 10000"/>
                <a:gd name="connsiteX12" fmla="*/ 3559 w 9687"/>
                <a:gd name="connsiteY12" fmla="*/ 2357 h 10000"/>
                <a:gd name="connsiteX13" fmla="*/ 3704 w 9687"/>
                <a:gd name="connsiteY13" fmla="*/ 2048 h 10000"/>
                <a:gd name="connsiteX14" fmla="*/ 3850 w 9687"/>
                <a:gd name="connsiteY14" fmla="*/ 1803 h 10000"/>
                <a:gd name="connsiteX15" fmla="*/ 4008 w 9687"/>
                <a:gd name="connsiteY15" fmla="*/ 1536 h 10000"/>
                <a:gd name="connsiteX16" fmla="*/ 4153 w 9687"/>
                <a:gd name="connsiteY16" fmla="*/ 1312 h 10000"/>
                <a:gd name="connsiteX17" fmla="*/ 4312 w 9687"/>
                <a:gd name="connsiteY17" fmla="*/ 1109 h 10000"/>
                <a:gd name="connsiteX18" fmla="*/ 4472 w 9687"/>
                <a:gd name="connsiteY18" fmla="*/ 922 h 10000"/>
                <a:gd name="connsiteX19" fmla="*/ 4631 w 9687"/>
                <a:gd name="connsiteY19" fmla="*/ 758 h 10000"/>
                <a:gd name="connsiteX20" fmla="*/ 4805 w 9687"/>
                <a:gd name="connsiteY20" fmla="*/ 634 h 10000"/>
                <a:gd name="connsiteX21" fmla="*/ 4964 w 9687"/>
                <a:gd name="connsiteY21" fmla="*/ 512 h 10000"/>
                <a:gd name="connsiteX22" fmla="*/ 5137 w 9687"/>
                <a:gd name="connsiteY22" fmla="*/ 450 h 10000"/>
                <a:gd name="connsiteX23" fmla="*/ 5324 w 9687"/>
                <a:gd name="connsiteY23" fmla="*/ 388 h 10000"/>
                <a:gd name="connsiteX24" fmla="*/ 5513 w 9687"/>
                <a:gd name="connsiteY24" fmla="*/ 388 h 10000"/>
                <a:gd name="connsiteX25" fmla="*/ 5744 w 9687"/>
                <a:gd name="connsiteY25" fmla="*/ 410 h 10000"/>
                <a:gd name="connsiteX26" fmla="*/ 5975 w 9687"/>
                <a:gd name="connsiteY26" fmla="*/ 492 h 10000"/>
                <a:gd name="connsiteX27" fmla="*/ 6178 w 9687"/>
                <a:gd name="connsiteY27" fmla="*/ 634 h 10000"/>
                <a:gd name="connsiteX28" fmla="*/ 6397 w 9687"/>
                <a:gd name="connsiteY28" fmla="*/ 780 h 10000"/>
                <a:gd name="connsiteX29" fmla="*/ 6583 w 9687"/>
                <a:gd name="connsiteY29" fmla="*/ 985 h 10000"/>
                <a:gd name="connsiteX30" fmla="*/ 6787 w 9687"/>
                <a:gd name="connsiteY30" fmla="*/ 1250 h 10000"/>
                <a:gd name="connsiteX31" fmla="*/ 6960 w 9687"/>
                <a:gd name="connsiteY31" fmla="*/ 1536 h 10000"/>
                <a:gd name="connsiteX32" fmla="*/ 7164 w 9687"/>
                <a:gd name="connsiteY32" fmla="*/ 1864 h 10000"/>
                <a:gd name="connsiteX33" fmla="*/ 7324 w 9687"/>
                <a:gd name="connsiteY33" fmla="*/ 2213 h 10000"/>
                <a:gd name="connsiteX34" fmla="*/ 7496 w 9687"/>
                <a:gd name="connsiteY34" fmla="*/ 2602 h 10000"/>
                <a:gd name="connsiteX35" fmla="*/ 7655 w 9687"/>
                <a:gd name="connsiteY35" fmla="*/ 2990 h 10000"/>
                <a:gd name="connsiteX36" fmla="*/ 7842 w 9687"/>
                <a:gd name="connsiteY36" fmla="*/ 3424 h 10000"/>
                <a:gd name="connsiteX37" fmla="*/ 8161 w 9687"/>
                <a:gd name="connsiteY37" fmla="*/ 4344 h 10000"/>
                <a:gd name="connsiteX38" fmla="*/ 8494 w 9687"/>
                <a:gd name="connsiteY38" fmla="*/ 5328 h 10000"/>
                <a:gd name="connsiteX39" fmla="*/ 9159 w 9687"/>
                <a:gd name="connsiteY39" fmla="*/ 7398 h 10000"/>
                <a:gd name="connsiteX40" fmla="*/ 9522 w 9687"/>
                <a:gd name="connsiteY40" fmla="*/ 8464 h 10000"/>
                <a:gd name="connsiteX41" fmla="*/ 9681 w 9687"/>
                <a:gd name="connsiteY41" fmla="*/ 4528 h 10000"/>
                <a:gd name="connsiteX42" fmla="*/ 9321 w 9687"/>
                <a:gd name="connsiteY42" fmla="*/ 3730 h 10000"/>
                <a:gd name="connsiteX43" fmla="*/ 9144 w 9687"/>
                <a:gd name="connsiteY43" fmla="*/ 3340 h 10000"/>
                <a:gd name="connsiteX44" fmla="*/ 8957 w 9687"/>
                <a:gd name="connsiteY44" fmla="*/ 2972 h 10000"/>
                <a:gd name="connsiteX45" fmla="*/ 8768 w 9687"/>
                <a:gd name="connsiteY45" fmla="*/ 2602 h 10000"/>
                <a:gd name="connsiteX46" fmla="*/ 8568 w 9687"/>
                <a:gd name="connsiteY46" fmla="*/ 2252 h 10000"/>
                <a:gd name="connsiteX47" fmla="*/ 8365 w 9687"/>
                <a:gd name="connsiteY47" fmla="*/ 1925 h 10000"/>
                <a:gd name="connsiteX48" fmla="*/ 8148 w 9687"/>
                <a:gd name="connsiteY48" fmla="*/ 1641 h 10000"/>
                <a:gd name="connsiteX49" fmla="*/ 7915 w 9687"/>
                <a:gd name="connsiteY49" fmla="*/ 1334 h 10000"/>
                <a:gd name="connsiteX50" fmla="*/ 7699 w 9687"/>
                <a:gd name="connsiteY50" fmla="*/ 1086 h 10000"/>
                <a:gd name="connsiteX51" fmla="*/ 7453 w 9687"/>
                <a:gd name="connsiteY51" fmla="*/ 863 h 10000"/>
                <a:gd name="connsiteX52" fmla="*/ 7206 w 9687"/>
                <a:gd name="connsiteY52" fmla="*/ 656 h 10000"/>
                <a:gd name="connsiteX53" fmla="*/ 6946 w 9687"/>
                <a:gd name="connsiteY53" fmla="*/ 470 h 10000"/>
                <a:gd name="connsiteX54" fmla="*/ 6686 w 9687"/>
                <a:gd name="connsiteY54" fmla="*/ 307 h 10000"/>
                <a:gd name="connsiteX55" fmla="*/ 6411 w 9687"/>
                <a:gd name="connsiteY55" fmla="*/ 184 h 10000"/>
                <a:gd name="connsiteX56" fmla="*/ 6119 w 9687"/>
                <a:gd name="connsiteY56" fmla="*/ 101 h 10000"/>
                <a:gd name="connsiteX57" fmla="*/ 5817 w 9687"/>
                <a:gd name="connsiteY57" fmla="*/ 21 h 10000"/>
                <a:gd name="connsiteX58" fmla="*/ 5513 w 9687"/>
                <a:gd name="connsiteY58" fmla="*/ 0 h 10000"/>
                <a:gd name="connsiteX59" fmla="*/ 5252 w 9687"/>
                <a:gd name="connsiteY59" fmla="*/ 21 h 10000"/>
                <a:gd name="connsiteX60" fmla="*/ 5008 w 9687"/>
                <a:gd name="connsiteY60" fmla="*/ 61 h 10000"/>
                <a:gd name="connsiteX61" fmla="*/ 4762 w 9687"/>
                <a:gd name="connsiteY61" fmla="*/ 124 h 10000"/>
                <a:gd name="connsiteX62" fmla="*/ 4545 w 9687"/>
                <a:gd name="connsiteY62" fmla="*/ 184 h 10000"/>
                <a:gd name="connsiteX63" fmla="*/ 4312 w 9687"/>
                <a:gd name="connsiteY63" fmla="*/ 285 h 10000"/>
                <a:gd name="connsiteX64" fmla="*/ 4080 w 9687"/>
                <a:gd name="connsiteY64" fmla="*/ 388 h 10000"/>
                <a:gd name="connsiteX65" fmla="*/ 3879 w 9687"/>
                <a:gd name="connsiteY65" fmla="*/ 532 h 10000"/>
                <a:gd name="connsiteX66" fmla="*/ 3661 w 9687"/>
                <a:gd name="connsiteY66" fmla="*/ 698 h 10000"/>
                <a:gd name="connsiteX67" fmla="*/ 3474 w 9687"/>
                <a:gd name="connsiteY67" fmla="*/ 881 h 10000"/>
                <a:gd name="connsiteX68" fmla="*/ 3271 w 9687"/>
                <a:gd name="connsiteY68" fmla="*/ 1065 h 10000"/>
                <a:gd name="connsiteX69" fmla="*/ 3083 w 9687"/>
                <a:gd name="connsiteY69" fmla="*/ 1271 h 10000"/>
                <a:gd name="connsiteX70" fmla="*/ 2894 w 9687"/>
                <a:gd name="connsiteY70" fmla="*/ 1497 h 10000"/>
                <a:gd name="connsiteX71" fmla="*/ 2721 w 9687"/>
                <a:gd name="connsiteY71" fmla="*/ 1720 h 10000"/>
                <a:gd name="connsiteX72" fmla="*/ 2532 w 9687"/>
                <a:gd name="connsiteY72" fmla="*/ 1989 h 10000"/>
                <a:gd name="connsiteX73" fmla="*/ 2200 w 9687"/>
                <a:gd name="connsiteY73" fmla="*/ 2540 h 10000"/>
                <a:gd name="connsiteX74" fmla="*/ 1882 w 9687"/>
                <a:gd name="connsiteY74" fmla="*/ 3116 h 10000"/>
                <a:gd name="connsiteX75" fmla="*/ 1579 w 9687"/>
                <a:gd name="connsiteY75" fmla="*/ 3730 h 10000"/>
                <a:gd name="connsiteX76" fmla="*/ 1288 w 9687"/>
                <a:gd name="connsiteY76" fmla="*/ 4386 h 10000"/>
                <a:gd name="connsiteX77" fmla="*/ 1013 w 9687"/>
                <a:gd name="connsiteY77" fmla="*/ 5062 h 10000"/>
                <a:gd name="connsiteX78" fmla="*/ 753 w 9687"/>
                <a:gd name="connsiteY78" fmla="*/ 5737 h 10000"/>
                <a:gd name="connsiteX79" fmla="*/ 494 w 9687"/>
                <a:gd name="connsiteY79" fmla="*/ 6455 h 10000"/>
                <a:gd name="connsiteX80" fmla="*/ 0 w 9687"/>
                <a:gd name="connsiteY80" fmla="*/ 7890 h 10000"/>
                <a:gd name="connsiteX0" fmla="*/ 0 w 9994"/>
                <a:gd name="connsiteY0" fmla="*/ 7890 h 10000"/>
                <a:gd name="connsiteX1" fmla="*/ 0 w 9994"/>
                <a:gd name="connsiteY1" fmla="*/ 7890 h 10000"/>
                <a:gd name="connsiteX2" fmla="*/ 374 w 9994"/>
                <a:gd name="connsiteY2" fmla="*/ 8955 h 10000"/>
                <a:gd name="connsiteX3" fmla="*/ 717 w 9994"/>
                <a:gd name="connsiteY3" fmla="*/ 10000 h 10000"/>
                <a:gd name="connsiteX4" fmla="*/ 1061 w 9994"/>
                <a:gd name="connsiteY4" fmla="*/ 9222 h 10000"/>
                <a:gd name="connsiteX5" fmla="*/ 1374 w 9994"/>
                <a:gd name="connsiteY5" fmla="*/ 8403 h 10000"/>
                <a:gd name="connsiteX6" fmla="*/ 1703 w 9994"/>
                <a:gd name="connsiteY6" fmla="*/ 7602 h 10000"/>
                <a:gd name="connsiteX7" fmla="*/ 1986 w 9994"/>
                <a:gd name="connsiteY7" fmla="*/ 6782 h 10000"/>
                <a:gd name="connsiteX8" fmla="*/ 2554 w 9994"/>
                <a:gd name="connsiteY8" fmla="*/ 5165 h 10000"/>
                <a:gd name="connsiteX9" fmla="*/ 2840 w 9994"/>
                <a:gd name="connsiteY9" fmla="*/ 4386 h 10000"/>
                <a:gd name="connsiteX10" fmla="*/ 3108 w 9994"/>
                <a:gd name="connsiteY10" fmla="*/ 3647 h 10000"/>
                <a:gd name="connsiteX11" fmla="*/ 3390 w 9994"/>
                <a:gd name="connsiteY11" fmla="*/ 2972 h 10000"/>
                <a:gd name="connsiteX12" fmla="*/ 3674 w 9994"/>
                <a:gd name="connsiteY12" fmla="*/ 2357 h 10000"/>
                <a:gd name="connsiteX13" fmla="*/ 3824 w 9994"/>
                <a:gd name="connsiteY13" fmla="*/ 2048 h 10000"/>
                <a:gd name="connsiteX14" fmla="*/ 3974 w 9994"/>
                <a:gd name="connsiteY14" fmla="*/ 1803 h 10000"/>
                <a:gd name="connsiteX15" fmla="*/ 4138 w 9994"/>
                <a:gd name="connsiteY15" fmla="*/ 1536 h 10000"/>
                <a:gd name="connsiteX16" fmla="*/ 4287 w 9994"/>
                <a:gd name="connsiteY16" fmla="*/ 1312 h 10000"/>
                <a:gd name="connsiteX17" fmla="*/ 4451 w 9994"/>
                <a:gd name="connsiteY17" fmla="*/ 1109 h 10000"/>
                <a:gd name="connsiteX18" fmla="*/ 4616 w 9994"/>
                <a:gd name="connsiteY18" fmla="*/ 922 h 10000"/>
                <a:gd name="connsiteX19" fmla="*/ 4781 w 9994"/>
                <a:gd name="connsiteY19" fmla="*/ 758 h 10000"/>
                <a:gd name="connsiteX20" fmla="*/ 4960 w 9994"/>
                <a:gd name="connsiteY20" fmla="*/ 634 h 10000"/>
                <a:gd name="connsiteX21" fmla="*/ 5124 w 9994"/>
                <a:gd name="connsiteY21" fmla="*/ 512 h 10000"/>
                <a:gd name="connsiteX22" fmla="*/ 5303 w 9994"/>
                <a:gd name="connsiteY22" fmla="*/ 450 h 10000"/>
                <a:gd name="connsiteX23" fmla="*/ 5496 w 9994"/>
                <a:gd name="connsiteY23" fmla="*/ 388 h 10000"/>
                <a:gd name="connsiteX24" fmla="*/ 5691 w 9994"/>
                <a:gd name="connsiteY24" fmla="*/ 388 h 10000"/>
                <a:gd name="connsiteX25" fmla="*/ 5930 w 9994"/>
                <a:gd name="connsiteY25" fmla="*/ 410 h 10000"/>
                <a:gd name="connsiteX26" fmla="*/ 6168 w 9994"/>
                <a:gd name="connsiteY26" fmla="*/ 492 h 10000"/>
                <a:gd name="connsiteX27" fmla="*/ 6378 w 9994"/>
                <a:gd name="connsiteY27" fmla="*/ 634 h 10000"/>
                <a:gd name="connsiteX28" fmla="*/ 6604 w 9994"/>
                <a:gd name="connsiteY28" fmla="*/ 780 h 10000"/>
                <a:gd name="connsiteX29" fmla="*/ 6796 w 9994"/>
                <a:gd name="connsiteY29" fmla="*/ 985 h 10000"/>
                <a:gd name="connsiteX30" fmla="*/ 7006 w 9994"/>
                <a:gd name="connsiteY30" fmla="*/ 1250 h 10000"/>
                <a:gd name="connsiteX31" fmla="*/ 7185 w 9994"/>
                <a:gd name="connsiteY31" fmla="*/ 1536 h 10000"/>
                <a:gd name="connsiteX32" fmla="*/ 7395 w 9994"/>
                <a:gd name="connsiteY32" fmla="*/ 1864 h 10000"/>
                <a:gd name="connsiteX33" fmla="*/ 7561 w 9994"/>
                <a:gd name="connsiteY33" fmla="*/ 2213 h 10000"/>
                <a:gd name="connsiteX34" fmla="*/ 7738 w 9994"/>
                <a:gd name="connsiteY34" fmla="*/ 2602 h 10000"/>
                <a:gd name="connsiteX35" fmla="*/ 7902 w 9994"/>
                <a:gd name="connsiteY35" fmla="*/ 2990 h 10000"/>
                <a:gd name="connsiteX36" fmla="*/ 8095 w 9994"/>
                <a:gd name="connsiteY36" fmla="*/ 3424 h 10000"/>
                <a:gd name="connsiteX37" fmla="*/ 8425 w 9994"/>
                <a:gd name="connsiteY37" fmla="*/ 4344 h 10000"/>
                <a:gd name="connsiteX38" fmla="*/ 8768 w 9994"/>
                <a:gd name="connsiteY38" fmla="*/ 5328 h 10000"/>
                <a:gd name="connsiteX39" fmla="*/ 9455 w 9994"/>
                <a:gd name="connsiteY39" fmla="*/ 7398 h 10000"/>
                <a:gd name="connsiteX40" fmla="*/ 9994 w 9994"/>
                <a:gd name="connsiteY40" fmla="*/ 4528 h 10000"/>
                <a:gd name="connsiteX41" fmla="*/ 9622 w 9994"/>
                <a:gd name="connsiteY41" fmla="*/ 3730 h 10000"/>
                <a:gd name="connsiteX42" fmla="*/ 9439 w 9994"/>
                <a:gd name="connsiteY42" fmla="*/ 3340 h 10000"/>
                <a:gd name="connsiteX43" fmla="*/ 9246 w 9994"/>
                <a:gd name="connsiteY43" fmla="*/ 2972 h 10000"/>
                <a:gd name="connsiteX44" fmla="*/ 9051 w 9994"/>
                <a:gd name="connsiteY44" fmla="*/ 2602 h 10000"/>
                <a:gd name="connsiteX45" fmla="*/ 8845 w 9994"/>
                <a:gd name="connsiteY45" fmla="*/ 2252 h 10000"/>
                <a:gd name="connsiteX46" fmla="*/ 8635 w 9994"/>
                <a:gd name="connsiteY46" fmla="*/ 1925 h 10000"/>
                <a:gd name="connsiteX47" fmla="*/ 8411 w 9994"/>
                <a:gd name="connsiteY47" fmla="*/ 1641 h 10000"/>
                <a:gd name="connsiteX48" fmla="*/ 8171 w 9994"/>
                <a:gd name="connsiteY48" fmla="*/ 1334 h 10000"/>
                <a:gd name="connsiteX49" fmla="*/ 7948 w 9994"/>
                <a:gd name="connsiteY49" fmla="*/ 1086 h 10000"/>
                <a:gd name="connsiteX50" fmla="*/ 7694 w 9994"/>
                <a:gd name="connsiteY50" fmla="*/ 863 h 10000"/>
                <a:gd name="connsiteX51" fmla="*/ 7439 w 9994"/>
                <a:gd name="connsiteY51" fmla="*/ 656 h 10000"/>
                <a:gd name="connsiteX52" fmla="*/ 7170 w 9994"/>
                <a:gd name="connsiteY52" fmla="*/ 470 h 10000"/>
                <a:gd name="connsiteX53" fmla="*/ 6902 w 9994"/>
                <a:gd name="connsiteY53" fmla="*/ 307 h 10000"/>
                <a:gd name="connsiteX54" fmla="*/ 6618 w 9994"/>
                <a:gd name="connsiteY54" fmla="*/ 184 h 10000"/>
                <a:gd name="connsiteX55" fmla="*/ 6317 w 9994"/>
                <a:gd name="connsiteY55" fmla="*/ 101 h 10000"/>
                <a:gd name="connsiteX56" fmla="*/ 6005 w 9994"/>
                <a:gd name="connsiteY56" fmla="*/ 21 h 10000"/>
                <a:gd name="connsiteX57" fmla="*/ 5691 w 9994"/>
                <a:gd name="connsiteY57" fmla="*/ 0 h 10000"/>
                <a:gd name="connsiteX58" fmla="*/ 5422 w 9994"/>
                <a:gd name="connsiteY58" fmla="*/ 21 h 10000"/>
                <a:gd name="connsiteX59" fmla="*/ 5170 w 9994"/>
                <a:gd name="connsiteY59" fmla="*/ 61 h 10000"/>
                <a:gd name="connsiteX60" fmla="*/ 4916 w 9994"/>
                <a:gd name="connsiteY60" fmla="*/ 124 h 10000"/>
                <a:gd name="connsiteX61" fmla="*/ 4692 w 9994"/>
                <a:gd name="connsiteY61" fmla="*/ 184 h 10000"/>
                <a:gd name="connsiteX62" fmla="*/ 4451 w 9994"/>
                <a:gd name="connsiteY62" fmla="*/ 285 h 10000"/>
                <a:gd name="connsiteX63" fmla="*/ 4212 w 9994"/>
                <a:gd name="connsiteY63" fmla="*/ 388 h 10000"/>
                <a:gd name="connsiteX64" fmla="*/ 4004 w 9994"/>
                <a:gd name="connsiteY64" fmla="*/ 532 h 10000"/>
                <a:gd name="connsiteX65" fmla="*/ 3779 w 9994"/>
                <a:gd name="connsiteY65" fmla="*/ 698 h 10000"/>
                <a:gd name="connsiteX66" fmla="*/ 3586 w 9994"/>
                <a:gd name="connsiteY66" fmla="*/ 881 h 10000"/>
                <a:gd name="connsiteX67" fmla="*/ 3377 w 9994"/>
                <a:gd name="connsiteY67" fmla="*/ 1065 h 10000"/>
                <a:gd name="connsiteX68" fmla="*/ 3183 w 9994"/>
                <a:gd name="connsiteY68" fmla="*/ 1271 h 10000"/>
                <a:gd name="connsiteX69" fmla="*/ 2988 w 9994"/>
                <a:gd name="connsiteY69" fmla="*/ 1497 h 10000"/>
                <a:gd name="connsiteX70" fmla="*/ 2809 w 9994"/>
                <a:gd name="connsiteY70" fmla="*/ 1720 h 10000"/>
                <a:gd name="connsiteX71" fmla="*/ 2614 w 9994"/>
                <a:gd name="connsiteY71" fmla="*/ 1989 h 10000"/>
                <a:gd name="connsiteX72" fmla="*/ 2271 w 9994"/>
                <a:gd name="connsiteY72" fmla="*/ 2540 h 10000"/>
                <a:gd name="connsiteX73" fmla="*/ 1943 w 9994"/>
                <a:gd name="connsiteY73" fmla="*/ 3116 h 10000"/>
                <a:gd name="connsiteX74" fmla="*/ 1630 w 9994"/>
                <a:gd name="connsiteY74" fmla="*/ 3730 h 10000"/>
                <a:gd name="connsiteX75" fmla="*/ 1330 w 9994"/>
                <a:gd name="connsiteY75" fmla="*/ 4386 h 10000"/>
                <a:gd name="connsiteX76" fmla="*/ 1046 w 9994"/>
                <a:gd name="connsiteY76" fmla="*/ 5062 h 10000"/>
                <a:gd name="connsiteX77" fmla="*/ 777 w 9994"/>
                <a:gd name="connsiteY77" fmla="*/ 5737 h 10000"/>
                <a:gd name="connsiteX78" fmla="*/ 510 w 9994"/>
                <a:gd name="connsiteY78" fmla="*/ 6455 h 10000"/>
                <a:gd name="connsiteX79" fmla="*/ 0 w 9994"/>
                <a:gd name="connsiteY7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8773 w 10000"/>
                <a:gd name="connsiteY38" fmla="*/ 5328 h 10000"/>
                <a:gd name="connsiteX39" fmla="*/ 10000 w 10000"/>
                <a:gd name="connsiteY39" fmla="*/ 4528 h 10000"/>
                <a:gd name="connsiteX40" fmla="*/ 9628 w 10000"/>
                <a:gd name="connsiteY40" fmla="*/ 3730 h 10000"/>
                <a:gd name="connsiteX41" fmla="*/ 9445 w 10000"/>
                <a:gd name="connsiteY41" fmla="*/ 3340 h 10000"/>
                <a:gd name="connsiteX42" fmla="*/ 9252 w 10000"/>
                <a:gd name="connsiteY42" fmla="*/ 2972 h 10000"/>
                <a:gd name="connsiteX43" fmla="*/ 9056 w 10000"/>
                <a:gd name="connsiteY43" fmla="*/ 2602 h 10000"/>
                <a:gd name="connsiteX44" fmla="*/ 8850 w 10000"/>
                <a:gd name="connsiteY44" fmla="*/ 2252 h 10000"/>
                <a:gd name="connsiteX45" fmla="*/ 8640 w 10000"/>
                <a:gd name="connsiteY45" fmla="*/ 1925 h 10000"/>
                <a:gd name="connsiteX46" fmla="*/ 8416 w 10000"/>
                <a:gd name="connsiteY46" fmla="*/ 1641 h 10000"/>
                <a:gd name="connsiteX47" fmla="*/ 8176 w 10000"/>
                <a:gd name="connsiteY47" fmla="*/ 1334 h 10000"/>
                <a:gd name="connsiteX48" fmla="*/ 7953 w 10000"/>
                <a:gd name="connsiteY48" fmla="*/ 1086 h 10000"/>
                <a:gd name="connsiteX49" fmla="*/ 7699 w 10000"/>
                <a:gd name="connsiteY49" fmla="*/ 863 h 10000"/>
                <a:gd name="connsiteX50" fmla="*/ 7443 w 10000"/>
                <a:gd name="connsiteY50" fmla="*/ 656 h 10000"/>
                <a:gd name="connsiteX51" fmla="*/ 7174 w 10000"/>
                <a:gd name="connsiteY51" fmla="*/ 470 h 10000"/>
                <a:gd name="connsiteX52" fmla="*/ 6906 w 10000"/>
                <a:gd name="connsiteY52" fmla="*/ 307 h 10000"/>
                <a:gd name="connsiteX53" fmla="*/ 6622 w 10000"/>
                <a:gd name="connsiteY53" fmla="*/ 184 h 10000"/>
                <a:gd name="connsiteX54" fmla="*/ 6321 w 10000"/>
                <a:gd name="connsiteY54" fmla="*/ 101 h 10000"/>
                <a:gd name="connsiteX55" fmla="*/ 6009 w 10000"/>
                <a:gd name="connsiteY55" fmla="*/ 21 h 10000"/>
                <a:gd name="connsiteX56" fmla="*/ 5694 w 10000"/>
                <a:gd name="connsiteY56" fmla="*/ 0 h 10000"/>
                <a:gd name="connsiteX57" fmla="*/ 5425 w 10000"/>
                <a:gd name="connsiteY57" fmla="*/ 21 h 10000"/>
                <a:gd name="connsiteX58" fmla="*/ 5173 w 10000"/>
                <a:gd name="connsiteY58" fmla="*/ 61 h 10000"/>
                <a:gd name="connsiteX59" fmla="*/ 4919 w 10000"/>
                <a:gd name="connsiteY59" fmla="*/ 124 h 10000"/>
                <a:gd name="connsiteX60" fmla="*/ 4695 w 10000"/>
                <a:gd name="connsiteY60" fmla="*/ 184 h 10000"/>
                <a:gd name="connsiteX61" fmla="*/ 4454 w 10000"/>
                <a:gd name="connsiteY61" fmla="*/ 285 h 10000"/>
                <a:gd name="connsiteX62" fmla="*/ 4215 w 10000"/>
                <a:gd name="connsiteY62" fmla="*/ 388 h 10000"/>
                <a:gd name="connsiteX63" fmla="*/ 4006 w 10000"/>
                <a:gd name="connsiteY63" fmla="*/ 532 h 10000"/>
                <a:gd name="connsiteX64" fmla="*/ 3781 w 10000"/>
                <a:gd name="connsiteY64" fmla="*/ 698 h 10000"/>
                <a:gd name="connsiteX65" fmla="*/ 3588 w 10000"/>
                <a:gd name="connsiteY65" fmla="*/ 881 h 10000"/>
                <a:gd name="connsiteX66" fmla="*/ 3379 w 10000"/>
                <a:gd name="connsiteY66" fmla="*/ 1065 h 10000"/>
                <a:gd name="connsiteX67" fmla="*/ 3185 w 10000"/>
                <a:gd name="connsiteY67" fmla="*/ 1271 h 10000"/>
                <a:gd name="connsiteX68" fmla="*/ 2990 w 10000"/>
                <a:gd name="connsiteY68" fmla="*/ 1497 h 10000"/>
                <a:gd name="connsiteX69" fmla="*/ 2811 w 10000"/>
                <a:gd name="connsiteY69" fmla="*/ 1720 h 10000"/>
                <a:gd name="connsiteX70" fmla="*/ 2616 w 10000"/>
                <a:gd name="connsiteY70" fmla="*/ 1989 h 10000"/>
                <a:gd name="connsiteX71" fmla="*/ 2272 w 10000"/>
                <a:gd name="connsiteY71" fmla="*/ 2540 h 10000"/>
                <a:gd name="connsiteX72" fmla="*/ 1944 w 10000"/>
                <a:gd name="connsiteY72" fmla="*/ 3116 h 10000"/>
                <a:gd name="connsiteX73" fmla="*/ 1631 w 10000"/>
                <a:gd name="connsiteY73" fmla="*/ 3730 h 10000"/>
                <a:gd name="connsiteX74" fmla="*/ 1331 w 10000"/>
                <a:gd name="connsiteY74" fmla="*/ 4386 h 10000"/>
                <a:gd name="connsiteX75" fmla="*/ 1047 w 10000"/>
                <a:gd name="connsiteY75" fmla="*/ 5062 h 10000"/>
                <a:gd name="connsiteX76" fmla="*/ 777 w 10000"/>
                <a:gd name="connsiteY76" fmla="*/ 5737 h 10000"/>
                <a:gd name="connsiteX77" fmla="*/ 510 w 10000"/>
                <a:gd name="connsiteY77" fmla="*/ 6455 h 10000"/>
                <a:gd name="connsiteX78" fmla="*/ 0 w 10000"/>
                <a:gd name="connsiteY7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10000 w 10000"/>
                <a:gd name="connsiteY38" fmla="*/ 4528 h 10000"/>
                <a:gd name="connsiteX39" fmla="*/ 9628 w 10000"/>
                <a:gd name="connsiteY39" fmla="*/ 3730 h 10000"/>
                <a:gd name="connsiteX40" fmla="*/ 9445 w 10000"/>
                <a:gd name="connsiteY40" fmla="*/ 3340 h 10000"/>
                <a:gd name="connsiteX41" fmla="*/ 9252 w 10000"/>
                <a:gd name="connsiteY41" fmla="*/ 2972 h 10000"/>
                <a:gd name="connsiteX42" fmla="*/ 9056 w 10000"/>
                <a:gd name="connsiteY42" fmla="*/ 2602 h 10000"/>
                <a:gd name="connsiteX43" fmla="*/ 8850 w 10000"/>
                <a:gd name="connsiteY43" fmla="*/ 2252 h 10000"/>
                <a:gd name="connsiteX44" fmla="*/ 8640 w 10000"/>
                <a:gd name="connsiteY44" fmla="*/ 1925 h 10000"/>
                <a:gd name="connsiteX45" fmla="*/ 8416 w 10000"/>
                <a:gd name="connsiteY45" fmla="*/ 1641 h 10000"/>
                <a:gd name="connsiteX46" fmla="*/ 8176 w 10000"/>
                <a:gd name="connsiteY46" fmla="*/ 1334 h 10000"/>
                <a:gd name="connsiteX47" fmla="*/ 7953 w 10000"/>
                <a:gd name="connsiteY47" fmla="*/ 1086 h 10000"/>
                <a:gd name="connsiteX48" fmla="*/ 7699 w 10000"/>
                <a:gd name="connsiteY48" fmla="*/ 863 h 10000"/>
                <a:gd name="connsiteX49" fmla="*/ 7443 w 10000"/>
                <a:gd name="connsiteY49" fmla="*/ 656 h 10000"/>
                <a:gd name="connsiteX50" fmla="*/ 7174 w 10000"/>
                <a:gd name="connsiteY50" fmla="*/ 470 h 10000"/>
                <a:gd name="connsiteX51" fmla="*/ 6906 w 10000"/>
                <a:gd name="connsiteY51" fmla="*/ 307 h 10000"/>
                <a:gd name="connsiteX52" fmla="*/ 6622 w 10000"/>
                <a:gd name="connsiteY52" fmla="*/ 184 h 10000"/>
                <a:gd name="connsiteX53" fmla="*/ 6321 w 10000"/>
                <a:gd name="connsiteY53" fmla="*/ 101 h 10000"/>
                <a:gd name="connsiteX54" fmla="*/ 6009 w 10000"/>
                <a:gd name="connsiteY54" fmla="*/ 21 h 10000"/>
                <a:gd name="connsiteX55" fmla="*/ 5694 w 10000"/>
                <a:gd name="connsiteY55" fmla="*/ 0 h 10000"/>
                <a:gd name="connsiteX56" fmla="*/ 5425 w 10000"/>
                <a:gd name="connsiteY56" fmla="*/ 21 h 10000"/>
                <a:gd name="connsiteX57" fmla="*/ 5173 w 10000"/>
                <a:gd name="connsiteY57" fmla="*/ 61 h 10000"/>
                <a:gd name="connsiteX58" fmla="*/ 4919 w 10000"/>
                <a:gd name="connsiteY58" fmla="*/ 124 h 10000"/>
                <a:gd name="connsiteX59" fmla="*/ 4695 w 10000"/>
                <a:gd name="connsiteY59" fmla="*/ 184 h 10000"/>
                <a:gd name="connsiteX60" fmla="*/ 4454 w 10000"/>
                <a:gd name="connsiteY60" fmla="*/ 285 h 10000"/>
                <a:gd name="connsiteX61" fmla="*/ 4215 w 10000"/>
                <a:gd name="connsiteY61" fmla="*/ 388 h 10000"/>
                <a:gd name="connsiteX62" fmla="*/ 4006 w 10000"/>
                <a:gd name="connsiteY62" fmla="*/ 532 h 10000"/>
                <a:gd name="connsiteX63" fmla="*/ 3781 w 10000"/>
                <a:gd name="connsiteY63" fmla="*/ 698 h 10000"/>
                <a:gd name="connsiteX64" fmla="*/ 3588 w 10000"/>
                <a:gd name="connsiteY64" fmla="*/ 881 h 10000"/>
                <a:gd name="connsiteX65" fmla="*/ 3379 w 10000"/>
                <a:gd name="connsiteY65" fmla="*/ 1065 h 10000"/>
                <a:gd name="connsiteX66" fmla="*/ 3185 w 10000"/>
                <a:gd name="connsiteY66" fmla="*/ 1271 h 10000"/>
                <a:gd name="connsiteX67" fmla="*/ 2990 w 10000"/>
                <a:gd name="connsiteY67" fmla="*/ 1497 h 10000"/>
                <a:gd name="connsiteX68" fmla="*/ 2811 w 10000"/>
                <a:gd name="connsiteY68" fmla="*/ 1720 h 10000"/>
                <a:gd name="connsiteX69" fmla="*/ 2616 w 10000"/>
                <a:gd name="connsiteY69" fmla="*/ 1989 h 10000"/>
                <a:gd name="connsiteX70" fmla="*/ 2272 w 10000"/>
                <a:gd name="connsiteY70" fmla="*/ 2540 h 10000"/>
                <a:gd name="connsiteX71" fmla="*/ 1944 w 10000"/>
                <a:gd name="connsiteY71" fmla="*/ 3116 h 10000"/>
                <a:gd name="connsiteX72" fmla="*/ 1631 w 10000"/>
                <a:gd name="connsiteY72" fmla="*/ 3730 h 10000"/>
                <a:gd name="connsiteX73" fmla="*/ 1331 w 10000"/>
                <a:gd name="connsiteY73" fmla="*/ 4386 h 10000"/>
                <a:gd name="connsiteX74" fmla="*/ 1047 w 10000"/>
                <a:gd name="connsiteY74" fmla="*/ 5062 h 10000"/>
                <a:gd name="connsiteX75" fmla="*/ 777 w 10000"/>
                <a:gd name="connsiteY75" fmla="*/ 5737 h 10000"/>
                <a:gd name="connsiteX76" fmla="*/ 510 w 10000"/>
                <a:gd name="connsiteY76" fmla="*/ 6455 h 10000"/>
                <a:gd name="connsiteX77" fmla="*/ 0 w 10000"/>
                <a:gd name="connsiteY77" fmla="*/ 7890 h 10000"/>
                <a:gd name="connsiteX0" fmla="*/ 0 w 9628"/>
                <a:gd name="connsiteY0" fmla="*/ 7890 h 10000"/>
                <a:gd name="connsiteX1" fmla="*/ 0 w 9628"/>
                <a:gd name="connsiteY1" fmla="*/ 7890 h 10000"/>
                <a:gd name="connsiteX2" fmla="*/ 374 w 9628"/>
                <a:gd name="connsiteY2" fmla="*/ 8955 h 10000"/>
                <a:gd name="connsiteX3" fmla="*/ 717 w 9628"/>
                <a:gd name="connsiteY3" fmla="*/ 10000 h 10000"/>
                <a:gd name="connsiteX4" fmla="*/ 1062 w 9628"/>
                <a:gd name="connsiteY4" fmla="*/ 9222 h 10000"/>
                <a:gd name="connsiteX5" fmla="*/ 1375 w 9628"/>
                <a:gd name="connsiteY5" fmla="*/ 8403 h 10000"/>
                <a:gd name="connsiteX6" fmla="*/ 1704 w 9628"/>
                <a:gd name="connsiteY6" fmla="*/ 7602 h 10000"/>
                <a:gd name="connsiteX7" fmla="*/ 1987 w 9628"/>
                <a:gd name="connsiteY7" fmla="*/ 6782 h 10000"/>
                <a:gd name="connsiteX8" fmla="*/ 2556 w 9628"/>
                <a:gd name="connsiteY8" fmla="*/ 5165 h 10000"/>
                <a:gd name="connsiteX9" fmla="*/ 2842 w 9628"/>
                <a:gd name="connsiteY9" fmla="*/ 4386 h 10000"/>
                <a:gd name="connsiteX10" fmla="*/ 3110 w 9628"/>
                <a:gd name="connsiteY10" fmla="*/ 3647 h 10000"/>
                <a:gd name="connsiteX11" fmla="*/ 3392 w 9628"/>
                <a:gd name="connsiteY11" fmla="*/ 2972 h 10000"/>
                <a:gd name="connsiteX12" fmla="*/ 3676 w 9628"/>
                <a:gd name="connsiteY12" fmla="*/ 2357 h 10000"/>
                <a:gd name="connsiteX13" fmla="*/ 3826 w 9628"/>
                <a:gd name="connsiteY13" fmla="*/ 2048 h 10000"/>
                <a:gd name="connsiteX14" fmla="*/ 3976 w 9628"/>
                <a:gd name="connsiteY14" fmla="*/ 1803 h 10000"/>
                <a:gd name="connsiteX15" fmla="*/ 4140 w 9628"/>
                <a:gd name="connsiteY15" fmla="*/ 1536 h 10000"/>
                <a:gd name="connsiteX16" fmla="*/ 4290 w 9628"/>
                <a:gd name="connsiteY16" fmla="*/ 1312 h 10000"/>
                <a:gd name="connsiteX17" fmla="*/ 4454 w 9628"/>
                <a:gd name="connsiteY17" fmla="*/ 1109 h 10000"/>
                <a:gd name="connsiteX18" fmla="*/ 4619 w 9628"/>
                <a:gd name="connsiteY18" fmla="*/ 922 h 10000"/>
                <a:gd name="connsiteX19" fmla="*/ 4784 w 9628"/>
                <a:gd name="connsiteY19" fmla="*/ 758 h 10000"/>
                <a:gd name="connsiteX20" fmla="*/ 4963 w 9628"/>
                <a:gd name="connsiteY20" fmla="*/ 634 h 10000"/>
                <a:gd name="connsiteX21" fmla="*/ 5127 w 9628"/>
                <a:gd name="connsiteY21" fmla="*/ 512 h 10000"/>
                <a:gd name="connsiteX22" fmla="*/ 5306 w 9628"/>
                <a:gd name="connsiteY22" fmla="*/ 450 h 10000"/>
                <a:gd name="connsiteX23" fmla="*/ 5499 w 9628"/>
                <a:gd name="connsiteY23" fmla="*/ 388 h 10000"/>
                <a:gd name="connsiteX24" fmla="*/ 5694 w 9628"/>
                <a:gd name="connsiteY24" fmla="*/ 388 h 10000"/>
                <a:gd name="connsiteX25" fmla="*/ 5934 w 9628"/>
                <a:gd name="connsiteY25" fmla="*/ 410 h 10000"/>
                <a:gd name="connsiteX26" fmla="*/ 6172 w 9628"/>
                <a:gd name="connsiteY26" fmla="*/ 492 h 10000"/>
                <a:gd name="connsiteX27" fmla="*/ 6382 w 9628"/>
                <a:gd name="connsiteY27" fmla="*/ 634 h 10000"/>
                <a:gd name="connsiteX28" fmla="*/ 6608 w 9628"/>
                <a:gd name="connsiteY28" fmla="*/ 780 h 10000"/>
                <a:gd name="connsiteX29" fmla="*/ 6800 w 9628"/>
                <a:gd name="connsiteY29" fmla="*/ 985 h 10000"/>
                <a:gd name="connsiteX30" fmla="*/ 7010 w 9628"/>
                <a:gd name="connsiteY30" fmla="*/ 1250 h 10000"/>
                <a:gd name="connsiteX31" fmla="*/ 7189 w 9628"/>
                <a:gd name="connsiteY31" fmla="*/ 1536 h 10000"/>
                <a:gd name="connsiteX32" fmla="*/ 7399 w 9628"/>
                <a:gd name="connsiteY32" fmla="*/ 1864 h 10000"/>
                <a:gd name="connsiteX33" fmla="*/ 7566 w 9628"/>
                <a:gd name="connsiteY33" fmla="*/ 2213 h 10000"/>
                <a:gd name="connsiteX34" fmla="*/ 7743 w 9628"/>
                <a:gd name="connsiteY34" fmla="*/ 2602 h 10000"/>
                <a:gd name="connsiteX35" fmla="*/ 7907 w 9628"/>
                <a:gd name="connsiteY35" fmla="*/ 2990 h 10000"/>
                <a:gd name="connsiteX36" fmla="*/ 8100 w 9628"/>
                <a:gd name="connsiteY36" fmla="*/ 3424 h 10000"/>
                <a:gd name="connsiteX37" fmla="*/ 8430 w 9628"/>
                <a:gd name="connsiteY37" fmla="*/ 4344 h 10000"/>
                <a:gd name="connsiteX38" fmla="*/ 9628 w 9628"/>
                <a:gd name="connsiteY38" fmla="*/ 3730 h 10000"/>
                <a:gd name="connsiteX39" fmla="*/ 9445 w 9628"/>
                <a:gd name="connsiteY39" fmla="*/ 3340 h 10000"/>
                <a:gd name="connsiteX40" fmla="*/ 9252 w 9628"/>
                <a:gd name="connsiteY40" fmla="*/ 2972 h 10000"/>
                <a:gd name="connsiteX41" fmla="*/ 9056 w 9628"/>
                <a:gd name="connsiteY41" fmla="*/ 2602 h 10000"/>
                <a:gd name="connsiteX42" fmla="*/ 8850 w 9628"/>
                <a:gd name="connsiteY42" fmla="*/ 2252 h 10000"/>
                <a:gd name="connsiteX43" fmla="*/ 8640 w 9628"/>
                <a:gd name="connsiteY43" fmla="*/ 1925 h 10000"/>
                <a:gd name="connsiteX44" fmla="*/ 8416 w 9628"/>
                <a:gd name="connsiteY44" fmla="*/ 1641 h 10000"/>
                <a:gd name="connsiteX45" fmla="*/ 8176 w 9628"/>
                <a:gd name="connsiteY45" fmla="*/ 1334 h 10000"/>
                <a:gd name="connsiteX46" fmla="*/ 7953 w 9628"/>
                <a:gd name="connsiteY46" fmla="*/ 1086 h 10000"/>
                <a:gd name="connsiteX47" fmla="*/ 7699 w 9628"/>
                <a:gd name="connsiteY47" fmla="*/ 863 h 10000"/>
                <a:gd name="connsiteX48" fmla="*/ 7443 w 9628"/>
                <a:gd name="connsiteY48" fmla="*/ 656 h 10000"/>
                <a:gd name="connsiteX49" fmla="*/ 7174 w 9628"/>
                <a:gd name="connsiteY49" fmla="*/ 470 h 10000"/>
                <a:gd name="connsiteX50" fmla="*/ 6906 w 9628"/>
                <a:gd name="connsiteY50" fmla="*/ 307 h 10000"/>
                <a:gd name="connsiteX51" fmla="*/ 6622 w 9628"/>
                <a:gd name="connsiteY51" fmla="*/ 184 h 10000"/>
                <a:gd name="connsiteX52" fmla="*/ 6321 w 9628"/>
                <a:gd name="connsiteY52" fmla="*/ 101 h 10000"/>
                <a:gd name="connsiteX53" fmla="*/ 6009 w 9628"/>
                <a:gd name="connsiteY53" fmla="*/ 21 h 10000"/>
                <a:gd name="connsiteX54" fmla="*/ 5694 w 9628"/>
                <a:gd name="connsiteY54" fmla="*/ 0 h 10000"/>
                <a:gd name="connsiteX55" fmla="*/ 5425 w 9628"/>
                <a:gd name="connsiteY55" fmla="*/ 21 h 10000"/>
                <a:gd name="connsiteX56" fmla="*/ 5173 w 9628"/>
                <a:gd name="connsiteY56" fmla="*/ 61 h 10000"/>
                <a:gd name="connsiteX57" fmla="*/ 4919 w 9628"/>
                <a:gd name="connsiteY57" fmla="*/ 124 h 10000"/>
                <a:gd name="connsiteX58" fmla="*/ 4695 w 9628"/>
                <a:gd name="connsiteY58" fmla="*/ 184 h 10000"/>
                <a:gd name="connsiteX59" fmla="*/ 4454 w 9628"/>
                <a:gd name="connsiteY59" fmla="*/ 285 h 10000"/>
                <a:gd name="connsiteX60" fmla="*/ 4215 w 9628"/>
                <a:gd name="connsiteY60" fmla="*/ 388 h 10000"/>
                <a:gd name="connsiteX61" fmla="*/ 4006 w 9628"/>
                <a:gd name="connsiteY61" fmla="*/ 532 h 10000"/>
                <a:gd name="connsiteX62" fmla="*/ 3781 w 9628"/>
                <a:gd name="connsiteY62" fmla="*/ 698 h 10000"/>
                <a:gd name="connsiteX63" fmla="*/ 3588 w 9628"/>
                <a:gd name="connsiteY63" fmla="*/ 881 h 10000"/>
                <a:gd name="connsiteX64" fmla="*/ 3379 w 9628"/>
                <a:gd name="connsiteY64" fmla="*/ 1065 h 10000"/>
                <a:gd name="connsiteX65" fmla="*/ 3185 w 9628"/>
                <a:gd name="connsiteY65" fmla="*/ 1271 h 10000"/>
                <a:gd name="connsiteX66" fmla="*/ 2990 w 9628"/>
                <a:gd name="connsiteY66" fmla="*/ 1497 h 10000"/>
                <a:gd name="connsiteX67" fmla="*/ 2811 w 9628"/>
                <a:gd name="connsiteY67" fmla="*/ 1720 h 10000"/>
                <a:gd name="connsiteX68" fmla="*/ 2616 w 9628"/>
                <a:gd name="connsiteY68" fmla="*/ 1989 h 10000"/>
                <a:gd name="connsiteX69" fmla="*/ 2272 w 9628"/>
                <a:gd name="connsiteY69" fmla="*/ 2540 h 10000"/>
                <a:gd name="connsiteX70" fmla="*/ 1944 w 9628"/>
                <a:gd name="connsiteY70" fmla="*/ 3116 h 10000"/>
                <a:gd name="connsiteX71" fmla="*/ 1631 w 9628"/>
                <a:gd name="connsiteY71" fmla="*/ 3730 h 10000"/>
                <a:gd name="connsiteX72" fmla="*/ 1331 w 9628"/>
                <a:gd name="connsiteY72" fmla="*/ 4386 h 10000"/>
                <a:gd name="connsiteX73" fmla="*/ 1047 w 9628"/>
                <a:gd name="connsiteY73" fmla="*/ 5062 h 10000"/>
                <a:gd name="connsiteX74" fmla="*/ 777 w 9628"/>
                <a:gd name="connsiteY74" fmla="*/ 5737 h 10000"/>
                <a:gd name="connsiteX75" fmla="*/ 510 w 9628"/>
                <a:gd name="connsiteY75" fmla="*/ 6455 h 10000"/>
                <a:gd name="connsiteX76" fmla="*/ 0 w 9628"/>
                <a:gd name="connsiteY7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88 w 10000"/>
                <a:gd name="connsiteY2" fmla="*/ 8955 h 10000"/>
                <a:gd name="connsiteX3" fmla="*/ 745 w 10000"/>
                <a:gd name="connsiteY3" fmla="*/ 10000 h 10000"/>
                <a:gd name="connsiteX4" fmla="*/ 1103 w 10000"/>
                <a:gd name="connsiteY4" fmla="*/ 9222 h 10000"/>
                <a:gd name="connsiteX5" fmla="*/ 1428 w 10000"/>
                <a:gd name="connsiteY5" fmla="*/ 8403 h 10000"/>
                <a:gd name="connsiteX6" fmla="*/ 1770 w 10000"/>
                <a:gd name="connsiteY6" fmla="*/ 7602 h 10000"/>
                <a:gd name="connsiteX7" fmla="*/ 2064 w 10000"/>
                <a:gd name="connsiteY7" fmla="*/ 6782 h 10000"/>
                <a:gd name="connsiteX8" fmla="*/ 2655 w 10000"/>
                <a:gd name="connsiteY8" fmla="*/ 5165 h 10000"/>
                <a:gd name="connsiteX9" fmla="*/ 2952 w 10000"/>
                <a:gd name="connsiteY9" fmla="*/ 4386 h 10000"/>
                <a:gd name="connsiteX10" fmla="*/ 3230 w 10000"/>
                <a:gd name="connsiteY10" fmla="*/ 3647 h 10000"/>
                <a:gd name="connsiteX11" fmla="*/ 3523 w 10000"/>
                <a:gd name="connsiteY11" fmla="*/ 2972 h 10000"/>
                <a:gd name="connsiteX12" fmla="*/ 3818 w 10000"/>
                <a:gd name="connsiteY12" fmla="*/ 2357 h 10000"/>
                <a:gd name="connsiteX13" fmla="*/ 3974 w 10000"/>
                <a:gd name="connsiteY13" fmla="*/ 2048 h 10000"/>
                <a:gd name="connsiteX14" fmla="*/ 4130 w 10000"/>
                <a:gd name="connsiteY14" fmla="*/ 1803 h 10000"/>
                <a:gd name="connsiteX15" fmla="*/ 4300 w 10000"/>
                <a:gd name="connsiteY15" fmla="*/ 1536 h 10000"/>
                <a:gd name="connsiteX16" fmla="*/ 4456 w 10000"/>
                <a:gd name="connsiteY16" fmla="*/ 1312 h 10000"/>
                <a:gd name="connsiteX17" fmla="*/ 4626 w 10000"/>
                <a:gd name="connsiteY17" fmla="*/ 1109 h 10000"/>
                <a:gd name="connsiteX18" fmla="*/ 4797 w 10000"/>
                <a:gd name="connsiteY18" fmla="*/ 922 h 10000"/>
                <a:gd name="connsiteX19" fmla="*/ 4969 w 10000"/>
                <a:gd name="connsiteY19" fmla="*/ 758 h 10000"/>
                <a:gd name="connsiteX20" fmla="*/ 5155 w 10000"/>
                <a:gd name="connsiteY20" fmla="*/ 634 h 10000"/>
                <a:gd name="connsiteX21" fmla="*/ 5325 w 10000"/>
                <a:gd name="connsiteY21" fmla="*/ 512 h 10000"/>
                <a:gd name="connsiteX22" fmla="*/ 5511 w 10000"/>
                <a:gd name="connsiteY22" fmla="*/ 450 h 10000"/>
                <a:gd name="connsiteX23" fmla="*/ 5711 w 10000"/>
                <a:gd name="connsiteY23" fmla="*/ 388 h 10000"/>
                <a:gd name="connsiteX24" fmla="*/ 5914 w 10000"/>
                <a:gd name="connsiteY24" fmla="*/ 388 h 10000"/>
                <a:gd name="connsiteX25" fmla="*/ 6163 w 10000"/>
                <a:gd name="connsiteY25" fmla="*/ 410 h 10000"/>
                <a:gd name="connsiteX26" fmla="*/ 6410 w 10000"/>
                <a:gd name="connsiteY26" fmla="*/ 492 h 10000"/>
                <a:gd name="connsiteX27" fmla="*/ 6629 w 10000"/>
                <a:gd name="connsiteY27" fmla="*/ 634 h 10000"/>
                <a:gd name="connsiteX28" fmla="*/ 6863 w 10000"/>
                <a:gd name="connsiteY28" fmla="*/ 780 h 10000"/>
                <a:gd name="connsiteX29" fmla="*/ 7063 w 10000"/>
                <a:gd name="connsiteY29" fmla="*/ 985 h 10000"/>
                <a:gd name="connsiteX30" fmla="*/ 7281 w 10000"/>
                <a:gd name="connsiteY30" fmla="*/ 1250 h 10000"/>
                <a:gd name="connsiteX31" fmla="*/ 7467 w 10000"/>
                <a:gd name="connsiteY31" fmla="*/ 1536 h 10000"/>
                <a:gd name="connsiteX32" fmla="*/ 7685 w 10000"/>
                <a:gd name="connsiteY32" fmla="*/ 1864 h 10000"/>
                <a:gd name="connsiteX33" fmla="*/ 7858 w 10000"/>
                <a:gd name="connsiteY33" fmla="*/ 2213 h 10000"/>
                <a:gd name="connsiteX34" fmla="*/ 8042 w 10000"/>
                <a:gd name="connsiteY34" fmla="*/ 2602 h 10000"/>
                <a:gd name="connsiteX35" fmla="*/ 8213 w 10000"/>
                <a:gd name="connsiteY35" fmla="*/ 2990 h 10000"/>
                <a:gd name="connsiteX36" fmla="*/ 8413 w 10000"/>
                <a:gd name="connsiteY36" fmla="*/ 3424 h 10000"/>
                <a:gd name="connsiteX37" fmla="*/ 8756 w 10000"/>
                <a:gd name="connsiteY37" fmla="*/ 4344 h 10000"/>
                <a:gd name="connsiteX38" fmla="*/ 10000 w 10000"/>
                <a:gd name="connsiteY38" fmla="*/ 3730 h 10000"/>
                <a:gd name="connsiteX39" fmla="*/ 9810 w 10000"/>
                <a:gd name="connsiteY39" fmla="*/ 3340 h 10000"/>
                <a:gd name="connsiteX40" fmla="*/ 9406 w 10000"/>
                <a:gd name="connsiteY40" fmla="*/ 2602 h 10000"/>
                <a:gd name="connsiteX41" fmla="*/ 9192 w 10000"/>
                <a:gd name="connsiteY41" fmla="*/ 2252 h 10000"/>
                <a:gd name="connsiteX42" fmla="*/ 8974 w 10000"/>
                <a:gd name="connsiteY42" fmla="*/ 1925 h 10000"/>
                <a:gd name="connsiteX43" fmla="*/ 8741 w 10000"/>
                <a:gd name="connsiteY43" fmla="*/ 1641 h 10000"/>
                <a:gd name="connsiteX44" fmla="*/ 8492 w 10000"/>
                <a:gd name="connsiteY44" fmla="*/ 1334 h 10000"/>
                <a:gd name="connsiteX45" fmla="*/ 8260 w 10000"/>
                <a:gd name="connsiteY45" fmla="*/ 1086 h 10000"/>
                <a:gd name="connsiteX46" fmla="*/ 7996 w 10000"/>
                <a:gd name="connsiteY46" fmla="*/ 863 h 10000"/>
                <a:gd name="connsiteX47" fmla="*/ 7731 w 10000"/>
                <a:gd name="connsiteY47" fmla="*/ 656 h 10000"/>
                <a:gd name="connsiteX48" fmla="*/ 7451 w 10000"/>
                <a:gd name="connsiteY48" fmla="*/ 470 h 10000"/>
                <a:gd name="connsiteX49" fmla="*/ 7173 w 10000"/>
                <a:gd name="connsiteY49" fmla="*/ 307 h 10000"/>
                <a:gd name="connsiteX50" fmla="*/ 6878 w 10000"/>
                <a:gd name="connsiteY50" fmla="*/ 184 h 10000"/>
                <a:gd name="connsiteX51" fmla="*/ 6565 w 10000"/>
                <a:gd name="connsiteY51" fmla="*/ 101 h 10000"/>
                <a:gd name="connsiteX52" fmla="*/ 6241 w 10000"/>
                <a:gd name="connsiteY52" fmla="*/ 21 h 10000"/>
                <a:gd name="connsiteX53" fmla="*/ 5914 w 10000"/>
                <a:gd name="connsiteY53" fmla="*/ 0 h 10000"/>
                <a:gd name="connsiteX54" fmla="*/ 5635 w 10000"/>
                <a:gd name="connsiteY54" fmla="*/ 21 h 10000"/>
                <a:gd name="connsiteX55" fmla="*/ 5373 w 10000"/>
                <a:gd name="connsiteY55" fmla="*/ 61 h 10000"/>
                <a:gd name="connsiteX56" fmla="*/ 5109 w 10000"/>
                <a:gd name="connsiteY56" fmla="*/ 124 h 10000"/>
                <a:gd name="connsiteX57" fmla="*/ 4876 w 10000"/>
                <a:gd name="connsiteY57" fmla="*/ 184 h 10000"/>
                <a:gd name="connsiteX58" fmla="*/ 4626 w 10000"/>
                <a:gd name="connsiteY58" fmla="*/ 285 h 10000"/>
                <a:gd name="connsiteX59" fmla="*/ 4378 w 10000"/>
                <a:gd name="connsiteY59" fmla="*/ 388 h 10000"/>
                <a:gd name="connsiteX60" fmla="*/ 4161 w 10000"/>
                <a:gd name="connsiteY60" fmla="*/ 532 h 10000"/>
                <a:gd name="connsiteX61" fmla="*/ 3927 w 10000"/>
                <a:gd name="connsiteY61" fmla="*/ 698 h 10000"/>
                <a:gd name="connsiteX62" fmla="*/ 3727 w 10000"/>
                <a:gd name="connsiteY62" fmla="*/ 881 h 10000"/>
                <a:gd name="connsiteX63" fmla="*/ 3510 w 10000"/>
                <a:gd name="connsiteY63" fmla="*/ 1065 h 10000"/>
                <a:gd name="connsiteX64" fmla="*/ 3308 w 10000"/>
                <a:gd name="connsiteY64" fmla="*/ 1271 h 10000"/>
                <a:gd name="connsiteX65" fmla="*/ 3106 w 10000"/>
                <a:gd name="connsiteY65" fmla="*/ 1497 h 10000"/>
                <a:gd name="connsiteX66" fmla="*/ 2920 w 10000"/>
                <a:gd name="connsiteY66" fmla="*/ 1720 h 10000"/>
                <a:gd name="connsiteX67" fmla="*/ 2717 w 10000"/>
                <a:gd name="connsiteY67" fmla="*/ 1989 h 10000"/>
                <a:gd name="connsiteX68" fmla="*/ 2360 w 10000"/>
                <a:gd name="connsiteY68" fmla="*/ 2540 h 10000"/>
                <a:gd name="connsiteX69" fmla="*/ 2019 w 10000"/>
                <a:gd name="connsiteY69" fmla="*/ 3116 h 10000"/>
                <a:gd name="connsiteX70" fmla="*/ 1694 w 10000"/>
                <a:gd name="connsiteY70" fmla="*/ 3730 h 10000"/>
                <a:gd name="connsiteX71" fmla="*/ 1382 w 10000"/>
                <a:gd name="connsiteY71" fmla="*/ 4386 h 10000"/>
                <a:gd name="connsiteX72" fmla="*/ 1087 w 10000"/>
                <a:gd name="connsiteY72" fmla="*/ 5062 h 10000"/>
                <a:gd name="connsiteX73" fmla="*/ 807 w 10000"/>
                <a:gd name="connsiteY73" fmla="*/ 5737 h 10000"/>
                <a:gd name="connsiteX74" fmla="*/ 530 w 10000"/>
                <a:gd name="connsiteY74" fmla="*/ 6455 h 10000"/>
                <a:gd name="connsiteX75" fmla="*/ 0 w 10000"/>
                <a:gd name="connsiteY75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388 w 10013"/>
                <a:gd name="connsiteY2" fmla="*/ 8955 h 10000"/>
                <a:gd name="connsiteX3" fmla="*/ 745 w 10013"/>
                <a:gd name="connsiteY3" fmla="*/ 10000 h 10000"/>
                <a:gd name="connsiteX4" fmla="*/ 1103 w 10013"/>
                <a:gd name="connsiteY4" fmla="*/ 9222 h 10000"/>
                <a:gd name="connsiteX5" fmla="*/ 1428 w 10013"/>
                <a:gd name="connsiteY5" fmla="*/ 8403 h 10000"/>
                <a:gd name="connsiteX6" fmla="*/ 1770 w 10013"/>
                <a:gd name="connsiteY6" fmla="*/ 7602 h 10000"/>
                <a:gd name="connsiteX7" fmla="*/ 2064 w 10013"/>
                <a:gd name="connsiteY7" fmla="*/ 6782 h 10000"/>
                <a:gd name="connsiteX8" fmla="*/ 2655 w 10013"/>
                <a:gd name="connsiteY8" fmla="*/ 5165 h 10000"/>
                <a:gd name="connsiteX9" fmla="*/ 2952 w 10013"/>
                <a:gd name="connsiteY9" fmla="*/ 4386 h 10000"/>
                <a:gd name="connsiteX10" fmla="*/ 3230 w 10013"/>
                <a:gd name="connsiteY10" fmla="*/ 3647 h 10000"/>
                <a:gd name="connsiteX11" fmla="*/ 3523 w 10013"/>
                <a:gd name="connsiteY11" fmla="*/ 2972 h 10000"/>
                <a:gd name="connsiteX12" fmla="*/ 3818 w 10013"/>
                <a:gd name="connsiteY12" fmla="*/ 2357 h 10000"/>
                <a:gd name="connsiteX13" fmla="*/ 3974 w 10013"/>
                <a:gd name="connsiteY13" fmla="*/ 2048 h 10000"/>
                <a:gd name="connsiteX14" fmla="*/ 4130 w 10013"/>
                <a:gd name="connsiteY14" fmla="*/ 1803 h 10000"/>
                <a:gd name="connsiteX15" fmla="*/ 4300 w 10013"/>
                <a:gd name="connsiteY15" fmla="*/ 1536 h 10000"/>
                <a:gd name="connsiteX16" fmla="*/ 4456 w 10013"/>
                <a:gd name="connsiteY16" fmla="*/ 1312 h 10000"/>
                <a:gd name="connsiteX17" fmla="*/ 4626 w 10013"/>
                <a:gd name="connsiteY17" fmla="*/ 1109 h 10000"/>
                <a:gd name="connsiteX18" fmla="*/ 4797 w 10013"/>
                <a:gd name="connsiteY18" fmla="*/ 922 h 10000"/>
                <a:gd name="connsiteX19" fmla="*/ 4969 w 10013"/>
                <a:gd name="connsiteY19" fmla="*/ 758 h 10000"/>
                <a:gd name="connsiteX20" fmla="*/ 5155 w 10013"/>
                <a:gd name="connsiteY20" fmla="*/ 634 h 10000"/>
                <a:gd name="connsiteX21" fmla="*/ 5325 w 10013"/>
                <a:gd name="connsiteY21" fmla="*/ 512 h 10000"/>
                <a:gd name="connsiteX22" fmla="*/ 5511 w 10013"/>
                <a:gd name="connsiteY22" fmla="*/ 450 h 10000"/>
                <a:gd name="connsiteX23" fmla="*/ 5711 w 10013"/>
                <a:gd name="connsiteY23" fmla="*/ 388 h 10000"/>
                <a:gd name="connsiteX24" fmla="*/ 5914 w 10013"/>
                <a:gd name="connsiteY24" fmla="*/ 388 h 10000"/>
                <a:gd name="connsiteX25" fmla="*/ 6163 w 10013"/>
                <a:gd name="connsiteY25" fmla="*/ 410 h 10000"/>
                <a:gd name="connsiteX26" fmla="*/ 6410 w 10013"/>
                <a:gd name="connsiteY26" fmla="*/ 492 h 10000"/>
                <a:gd name="connsiteX27" fmla="*/ 6629 w 10013"/>
                <a:gd name="connsiteY27" fmla="*/ 634 h 10000"/>
                <a:gd name="connsiteX28" fmla="*/ 6863 w 10013"/>
                <a:gd name="connsiteY28" fmla="*/ 780 h 10000"/>
                <a:gd name="connsiteX29" fmla="*/ 7063 w 10013"/>
                <a:gd name="connsiteY29" fmla="*/ 985 h 10000"/>
                <a:gd name="connsiteX30" fmla="*/ 7281 w 10013"/>
                <a:gd name="connsiteY30" fmla="*/ 1250 h 10000"/>
                <a:gd name="connsiteX31" fmla="*/ 7467 w 10013"/>
                <a:gd name="connsiteY31" fmla="*/ 1536 h 10000"/>
                <a:gd name="connsiteX32" fmla="*/ 7685 w 10013"/>
                <a:gd name="connsiteY32" fmla="*/ 1864 h 10000"/>
                <a:gd name="connsiteX33" fmla="*/ 7858 w 10013"/>
                <a:gd name="connsiteY33" fmla="*/ 2213 h 10000"/>
                <a:gd name="connsiteX34" fmla="*/ 8042 w 10013"/>
                <a:gd name="connsiteY34" fmla="*/ 2602 h 10000"/>
                <a:gd name="connsiteX35" fmla="*/ 8213 w 10013"/>
                <a:gd name="connsiteY35" fmla="*/ 2990 h 10000"/>
                <a:gd name="connsiteX36" fmla="*/ 8413 w 10013"/>
                <a:gd name="connsiteY36" fmla="*/ 3424 h 10000"/>
                <a:gd name="connsiteX37" fmla="*/ 8756 w 10013"/>
                <a:gd name="connsiteY37" fmla="*/ 4344 h 10000"/>
                <a:gd name="connsiteX38" fmla="*/ 10000 w 10013"/>
                <a:gd name="connsiteY38" fmla="*/ 3730 h 10000"/>
                <a:gd name="connsiteX39" fmla="*/ 9406 w 10013"/>
                <a:gd name="connsiteY39" fmla="*/ 2602 h 10000"/>
                <a:gd name="connsiteX40" fmla="*/ 9192 w 10013"/>
                <a:gd name="connsiteY40" fmla="*/ 2252 h 10000"/>
                <a:gd name="connsiteX41" fmla="*/ 8974 w 10013"/>
                <a:gd name="connsiteY41" fmla="*/ 1925 h 10000"/>
                <a:gd name="connsiteX42" fmla="*/ 8741 w 10013"/>
                <a:gd name="connsiteY42" fmla="*/ 1641 h 10000"/>
                <a:gd name="connsiteX43" fmla="*/ 8492 w 10013"/>
                <a:gd name="connsiteY43" fmla="*/ 1334 h 10000"/>
                <a:gd name="connsiteX44" fmla="*/ 8260 w 10013"/>
                <a:gd name="connsiteY44" fmla="*/ 1086 h 10000"/>
                <a:gd name="connsiteX45" fmla="*/ 7996 w 10013"/>
                <a:gd name="connsiteY45" fmla="*/ 863 h 10000"/>
                <a:gd name="connsiteX46" fmla="*/ 7731 w 10013"/>
                <a:gd name="connsiteY46" fmla="*/ 656 h 10000"/>
                <a:gd name="connsiteX47" fmla="*/ 7451 w 10013"/>
                <a:gd name="connsiteY47" fmla="*/ 470 h 10000"/>
                <a:gd name="connsiteX48" fmla="*/ 7173 w 10013"/>
                <a:gd name="connsiteY48" fmla="*/ 307 h 10000"/>
                <a:gd name="connsiteX49" fmla="*/ 6878 w 10013"/>
                <a:gd name="connsiteY49" fmla="*/ 184 h 10000"/>
                <a:gd name="connsiteX50" fmla="*/ 6565 w 10013"/>
                <a:gd name="connsiteY50" fmla="*/ 101 h 10000"/>
                <a:gd name="connsiteX51" fmla="*/ 6241 w 10013"/>
                <a:gd name="connsiteY51" fmla="*/ 21 h 10000"/>
                <a:gd name="connsiteX52" fmla="*/ 5914 w 10013"/>
                <a:gd name="connsiteY52" fmla="*/ 0 h 10000"/>
                <a:gd name="connsiteX53" fmla="*/ 5635 w 10013"/>
                <a:gd name="connsiteY53" fmla="*/ 21 h 10000"/>
                <a:gd name="connsiteX54" fmla="*/ 5373 w 10013"/>
                <a:gd name="connsiteY54" fmla="*/ 61 h 10000"/>
                <a:gd name="connsiteX55" fmla="*/ 5109 w 10013"/>
                <a:gd name="connsiteY55" fmla="*/ 124 h 10000"/>
                <a:gd name="connsiteX56" fmla="*/ 4876 w 10013"/>
                <a:gd name="connsiteY56" fmla="*/ 184 h 10000"/>
                <a:gd name="connsiteX57" fmla="*/ 4626 w 10013"/>
                <a:gd name="connsiteY57" fmla="*/ 285 h 10000"/>
                <a:gd name="connsiteX58" fmla="*/ 4378 w 10013"/>
                <a:gd name="connsiteY58" fmla="*/ 388 h 10000"/>
                <a:gd name="connsiteX59" fmla="*/ 4161 w 10013"/>
                <a:gd name="connsiteY59" fmla="*/ 532 h 10000"/>
                <a:gd name="connsiteX60" fmla="*/ 3927 w 10013"/>
                <a:gd name="connsiteY60" fmla="*/ 698 h 10000"/>
                <a:gd name="connsiteX61" fmla="*/ 3727 w 10013"/>
                <a:gd name="connsiteY61" fmla="*/ 881 h 10000"/>
                <a:gd name="connsiteX62" fmla="*/ 3510 w 10013"/>
                <a:gd name="connsiteY62" fmla="*/ 1065 h 10000"/>
                <a:gd name="connsiteX63" fmla="*/ 3308 w 10013"/>
                <a:gd name="connsiteY63" fmla="*/ 1271 h 10000"/>
                <a:gd name="connsiteX64" fmla="*/ 3106 w 10013"/>
                <a:gd name="connsiteY64" fmla="*/ 1497 h 10000"/>
                <a:gd name="connsiteX65" fmla="*/ 2920 w 10013"/>
                <a:gd name="connsiteY65" fmla="*/ 1720 h 10000"/>
                <a:gd name="connsiteX66" fmla="*/ 2717 w 10013"/>
                <a:gd name="connsiteY66" fmla="*/ 1989 h 10000"/>
                <a:gd name="connsiteX67" fmla="*/ 2360 w 10013"/>
                <a:gd name="connsiteY67" fmla="*/ 2540 h 10000"/>
                <a:gd name="connsiteX68" fmla="*/ 2019 w 10013"/>
                <a:gd name="connsiteY68" fmla="*/ 3116 h 10000"/>
                <a:gd name="connsiteX69" fmla="*/ 1694 w 10013"/>
                <a:gd name="connsiteY69" fmla="*/ 3730 h 10000"/>
                <a:gd name="connsiteX70" fmla="*/ 1382 w 10013"/>
                <a:gd name="connsiteY70" fmla="*/ 4386 h 10000"/>
                <a:gd name="connsiteX71" fmla="*/ 1087 w 10013"/>
                <a:gd name="connsiteY71" fmla="*/ 5062 h 10000"/>
                <a:gd name="connsiteX72" fmla="*/ 807 w 10013"/>
                <a:gd name="connsiteY72" fmla="*/ 5737 h 10000"/>
                <a:gd name="connsiteX73" fmla="*/ 530 w 10013"/>
                <a:gd name="connsiteY73" fmla="*/ 6455 h 10000"/>
                <a:gd name="connsiteX74" fmla="*/ 0 w 10013"/>
                <a:gd name="connsiteY74" fmla="*/ 7890 h 10000"/>
                <a:gd name="connsiteX0" fmla="*/ 0 w 9406"/>
                <a:gd name="connsiteY0" fmla="*/ 7890 h 10000"/>
                <a:gd name="connsiteX1" fmla="*/ 0 w 9406"/>
                <a:gd name="connsiteY1" fmla="*/ 7890 h 10000"/>
                <a:gd name="connsiteX2" fmla="*/ 388 w 9406"/>
                <a:gd name="connsiteY2" fmla="*/ 8955 h 10000"/>
                <a:gd name="connsiteX3" fmla="*/ 745 w 9406"/>
                <a:gd name="connsiteY3" fmla="*/ 10000 h 10000"/>
                <a:gd name="connsiteX4" fmla="*/ 1103 w 9406"/>
                <a:gd name="connsiteY4" fmla="*/ 9222 h 10000"/>
                <a:gd name="connsiteX5" fmla="*/ 1428 w 9406"/>
                <a:gd name="connsiteY5" fmla="*/ 8403 h 10000"/>
                <a:gd name="connsiteX6" fmla="*/ 1770 w 9406"/>
                <a:gd name="connsiteY6" fmla="*/ 7602 h 10000"/>
                <a:gd name="connsiteX7" fmla="*/ 2064 w 9406"/>
                <a:gd name="connsiteY7" fmla="*/ 6782 h 10000"/>
                <a:gd name="connsiteX8" fmla="*/ 2655 w 9406"/>
                <a:gd name="connsiteY8" fmla="*/ 5165 h 10000"/>
                <a:gd name="connsiteX9" fmla="*/ 2952 w 9406"/>
                <a:gd name="connsiteY9" fmla="*/ 4386 h 10000"/>
                <a:gd name="connsiteX10" fmla="*/ 3230 w 9406"/>
                <a:gd name="connsiteY10" fmla="*/ 3647 h 10000"/>
                <a:gd name="connsiteX11" fmla="*/ 3523 w 9406"/>
                <a:gd name="connsiteY11" fmla="*/ 2972 h 10000"/>
                <a:gd name="connsiteX12" fmla="*/ 3818 w 9406"/>
                <a:gd name="connsiteY12" fmla="*/ 2357 h 10000"/>
                <a:gd name="connsiteX13" fmla="*/ 3974 w 9406"/>
                <a:gd name="connsiteY13" fmla="*/ 2048 h 10000"/>
                <a:gd name="connsiteX14" fmla="*/ 4130 w 9406"/>
                <a:gd name="connsiteY14" fmla="*/ 1803 h 10000"/>
                <a:gd name="connsiteX15" fmla="*/ 4300 w 9406"/>
                <a:gd name="connsiteY15" fmla="*/ 1536 h 10000"/>
                <a:gd name="connsiteX16" fmla="*/ 4456 w 9406"/>
                <a:gd name="connsiteY16" fmla="*/ 1312 h 10000"/>
                <a:gd name="connsiteX17" fmla="*/ 4626 w 9406"/>
                <a:gd name="connsiteY17" fmla="*/ 1109 h 10000"/>
                <a:gd name="connsiteX18" fmla="*/ 4797 w 9406"/>
                <a:gd name="connsiteY18" fmla="*/ 922 h 10000"/>
                <a:gd name="connsiteX19" fmla="*/ 4969 w 9406"/>
                <a:gd name="connsiteY19" fmla="*/ 758 h 10000"/>
                <a:gd name="connsiteX20" fmla="*/ 5155 w 9406"/>
                <a:gd name="connsiteY20" fmla="*/ 634 h 10000"/>
                <a:gd name="connsiteX21" fmla="*/ 5325 w 9406"/>
                <a:gd name="connsiteY21" fmla="*/ 512 h 10000"/>
                <a:gd name="connsiteX22" fmla="*/ 5511 w 9406"/>
                <a:gd name="connsiteY22" fmla="*/ 450 h 10000"/>
                <a:gd name="connsiteX23" fmla="*/ 5711 w 9406"/>
                <a:gd name="connsiteY23" fmla="*/ 388 h 10000"/>
                <a:gd name="connsiteX24" fmla="*/ 5914 w 9406"/>
                <a:gd name="connsiteY24" fmla="*/ 388 h 10000"/>
                <a:gd name="connsiteX25" fmla="*/ 6163 w 9406"/>
                <a:gd name="connsiteY25" fmla="*/ 410 h 10000"/>
                <a:gd name="connsiteX26" fmla="*/ 6410 w 9406"/>
                <a:gd name="connsiteY26" fmla="*/ 492 h 10000"/>
                <a:gd name="connsiteX27" fmla="*/ 6629 w 9406"/>
                <a:gd name="connsiteY27" fmla="*/ 634 h 10000"/>
                <a:gd name="connsiteX28" fmla="*/ 6863 w 9406"/>
                <a:gd name="connsiteY28" fmla="*/ 780 h 10000"/>
                <a:gd name="connsiteX29" fmla="*/ 7063 w 9406"/>
                <a:gd name="connsiteY29" fmla="*/ 985 h 10000"/>
                <a:gd name="connsiteX30" fmla="*/ 7281 w 9406"/>
                <a:gd name="connsiteY30" fmla="*/ 1250 h 10000"/>
                <a:gd name="connsiteX31" fmla="*/ 7467 w 9406"/>
                <a:gd name="connsiteY31" fmla="*/ 1536 h 10000"/>
                <a:gd name="connsiteX32" fmla="*/ 7685 w 9406"/>
                <a:gd name="connsiteY32" fmla="*/ 1864 h 10000"/>
                <a:gd name="connsiteX33" fmla="*/ 7858 w 9406"/>
                <a:gd name="connsiteY33" fmla="*/ 2213 h 10000"/>
                <a:gd name="connsiteX34" fmla="*/ 8042 w 9406"/>
                <a:gd name="connsiteY34" fmla="*/ 2602 h 10000"/>
                <a:gd name="connsiteX35" fmla="*/ 8213 w 9406"/>
                <a:gd name="connsiteY35" fmla="*/ 2990 h 10000"/>
                <a:gd name="connsiteX36" fmla="*/ 8413 w 9406"/>
                <a:gd name="connsiteY36" fmla="*/ 3424 h 10000"/>
                <a:gd name="connsiteX37" fmla="*/ 8756 w 9406"/>
                <a:gd name="connsiteY37" fmla="*/ 4344 h 10000"/>
                <a:gd name="connsiteX38" fmla="*/ 9406 w 9406"/>
                <a:gd name="connsiteY38" fmla="*/ 2602 h 10000"/>
                <a:gd name="connsiteX39" fmla="*/ 9192 w 9406"/>
                <a:gd name="connsiteY39" fmla="*/ 2252 h 10000"/>
                <a:gd name="connsiteX40" fmla="*/ 8974 w 9406"/>
                <a:gd name="connsiteY40" fmla="*/ 1925 h 10000"/>
                <a:gd name="connsiteX41" fmla="*/ 8741 w 9406"/>
                <a:gd name="connsiteY41" fmla="*/ 1641 h 10000"/>
                <a:gd name="connsiteX42" fmla="*/ 8492 w 9406"/>
                <a:gd name="connsiteY42" fmla="*/ 1334 h 10000"/>
                <a:gd name="connsiteX43" fmla="*/ 8260 w 9406"/>
                <a:gd name="connsiteY43" fmla="*/ 1086 h 10000"/>
                <a:gd name="connsiteX44" fmla="*/ 7996 w 9406"/>
                <a:gd name="connsiteY44" fmla="*/ 863 h 10000"/>
                <a:gd name="connsiteX45" fmla="*/ 7731 w 9406"/>
                <a:gd name="connsiteY45" fmla="*/ 656 h 10000"/>
                <a:gd name="connsiteX46" fmla="*/ 7451 w 9406"/>
                <a:gd name="connsiteY46" fmla="*/ 470 h 10000"/>
                <a:gd name="connsiteX47" fmla="*/ 7173 w 9406"/>
                <a:gd name="connsiteY47" fmla="*/ 307 h 10000"/>
                <a:gd name="connsiteX48" fmla="*/ 6878 w 9406"/>
                <a:gd name="connsiteY48" fmla="*/ 184 h 10000"/>
                <a:gd name="connsiteX49" fmla="*/ 6565 w 9406"/>
                <a:gd name="connsiteY49" fmla="*/ 101 h 10000"/>
                <a:gd name="connsiteX50" fmla="*/ 6241 w 9406"/>
                <a:gd name="connsiteY50" fmla="*/ 21 h 10000"/>
                <a:gd name="connsiteX51" fmla="*/ 5914 w 9406"/>
                <a:gd name="connsiteY51" fmla="*/ 0 h 10000"/>
                <a:gd name="connsiteX52" fmla="*/ 5635 w 9406"/>
                <a:gd name="connsiteY52" fmla="*/ 21 h 10000"/>
                <a:gd name="connsiteX53" fmla="*/ 5373 w 9406"/>
                <a:gd name="connsiteY53" fmla="*/ 61 h 10000"/>
                <a:gd name="connsiteX54" fmla="*/ 5109 w 9406"/>
                <a:gd name="connsiteY54" fmla="*/ 124 h 10000"/>
                <a:gd name="connsiteX55" fmla="*/ 4876 w 9406"/>
                <a:gd name="connsiteY55" fmla="*/ 184 h 10000"/>
                <a:gd name="connsiteX56" fmla="*/ 4626 w 9406"/>
                <a:gd name="connsiteY56" fmla="*/ 285 h 10000"/>
                <a:gd name="connsiteX57" fmla="*/ 4378 w 9406"/>
                <a:gd name="connsiteY57" fmla="*/ 388 h 10000"/>
                <a:gd name="connsiteX58" fmla="*/ 4161 w 9406"/>
                <a:gd name="connsiteY58" fmla="*/ 532 h 10000"/>
                <a:gd name="connsiteX59" fmla="*/ 3927 w 9406"/>
                <a:gd name="connsiteY59" fmla="*/ 698 h 10000"/>
                <a:gd name="connsiteX60" fmla="*/ 3727 w 9406"/>
                <a:gd name="connsiteY60" fmla="*/ 881 h 10000"/>
                <a:gd name="connsiteX61" fmla="*/ 3510 w 9406"/>
                <a:gd name="connsiteY61" fmla="*/ 1065 h 10000"/>
                <a:gd name="connsiteX62" fmla="*/ 3308 w 9406"/>
                <a:gd name="connsiteY62" fmla="*/ 1271 h 10000"/>
                <a:gd name="connsiteX63" fmla="*/ 3106 w 9406"/>
                <a:gd name="connsiteY63" fmla="*/ 1497 h 10000"/>
                <a:gd name="connsiteX64" fmla="*/ 2920 w 9406"/>
                <a:gd name="connsiteY64" fmla="*/ 1720 h 10000"/>
                <a:gd name="connsiteX65" fmla="*/ 2717 w 9406"/>
                <a:gd name="connsiteY65" fmla="*/ 1989 h 10000"/>
                <a:gd name="connsiteX66" fmla="*/ 2360 w 9406"/>
                <a:gd name="connsiteY66" fmla="*/ 2540 h 10000"/>
                <a:gd name="connsiteX67" fmla="*/ 2019 w 9406"/>
                <a:gd name="connsiteY67" fmla="*/ 3116 h 10000"/>
                <a:gd name="connsiteX68" fmla="*/ 1694 w 9406"/>
                <a:gd name="connsiteY68" fmla="*/ 3730 h 10000"/>
                <a:gd name="connsiteX69" fmla="*/ 1382 w 9406"/>
                <a:gd name="connsiteY69" fmla="*/ 4386 h 10000"/>
                <a:gd name="connsiteX70" fmla="*/ 1087 w 9406"/>
                <a:gd name="connsiteY70" fmla="*/ 5062 h 10000"/>
                <a:gd name="connsiteX71" fmla="*/ 807 w 9406"/>
                <a:gd name="connsiteY71" fmla="*/ 5737 h 10000"/>
                <a:gd name="connsiteX72" fmla="*/ 530 w 9406"/>
                <a:gd name="connsiteY72" fmla="*/ 6455 h 10000"/>
                <a:gd name="connsiteX73" fmla="*/ 0 w 9406"/>
                <a:gd name="connsiteY7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13 w 10000"/>
                <a:gd name="connsiteY2" fmla="*/ 8955 h 10000"/>
                <a:gd name="connsiteX3" fmla="*/ 792 w 10000"/>
                <a:gd name="connsiteY3" fmla="*/ 10000 h 10000"/>
                <a:gd name="connsiteX4" fmla="*/ 1173 w 10000"/>
                <a:gd name="connsiteY4" fmla="*/ 9222 h 10000"/>
                <a:gd name="connsiteX5" fmla="*/ 1518 w 10000"/>
                <a:gd name="connsiteY5" fmla="*/ 8403 h 10000"/>
                <a:gd name="connsiteX6" fmla="*/ 1882 w 10000"/>
                <a:gd name="connsiteY6" fmla="*/ 7602 h 10000"/>
                <a:gd name="connsiteX7" fmla="*/ 2194 w 10000"/>
                <a:gd name="connsiteY7" fmla="*/ 6782 h 10000"/>
                <a:gd name="connsiteX8" fmla="*/ 2823 w 10000"/>
                <a:gd name="connsiteY8" fmla="*/ 5165 h 10000"/>
                <a:gd name="connsiteX9" fmla="*/ 3138 w 10000"/>
                <a:gd name="connsiteY9" fmla="*/ 4386 h 10000"/>
                <a:gd name="connsiteX10" fmla="*/ 3434 w 10000"/>
                <a:gd name="connsiteY10" fmla="*/ 3647 h 10000"/>
                <a:gd name="connsiteX11" fmla="*/ 3745 w 10000"/>
                <a:gd name="connsiteY11" fmla="*/ 2972 h 10000"/>
                <a:gd name="connsiteX12" fmla="*/ 4059 w 10000"/>
                <a:gd name="connsiteY12" fmla="*/ 2357 h 10000"/>
                <a:gd name="connsiteX13" fmla="*/ 4225 w 10000"/>
                <a:gd name="connsiteY13" fmla="*/ 2048 h 10000"/>
                <a:gd name="connsiteX14" fmla="*/ 4391 w 10000"/>
                <a:gd name="connsiteY14" fmla="*/ 1803 h 10000"/>
                <a:gd name="connsiteX15" fmla="*/ 4572 w 10000"/>
                <a:gd name="connsiteY15" fmla="*/ 1536 h 10000"/>
                <a:gd name="connsiteX16" fmla="*/ 4737 w 10000"/>
                <a:gd name="connsiteY16" fmla="*/ 1312 h 10000"/>
                <a:gd name="connsiteX17" fmla="*/ 4918 w 10000"/>
                <a:gd name="connsiteY17" fmla="*/ 1109 h 10000"/>
                <a:gd name="connsiteX18" fmla="*/ 5100 w 10000"/>
                <a:gd name="connsiteY18" fmla="*/ 922 h 10000"/>
                <a:gd name="connsiteX19" fmla="*/ 5283 w 10000"/>
                <a:gd name="connsiteY19" fmla="*/ 758 h 10000"/>
                <a:gd name="connsiteX20" fmla="*/ 5481 w 10000"/>
                <a:gd name="connsiteY20" fmla="*/ 634 h 10000"/>
                <a:gd name="connsiteX21" fmla="*/ 5661 w 10000"/>
                <a:gd name="connsiteY21" fmla="*/ 512 h 10000"/>
                <a:gd name="connsiteX22" fmla="*/ 5859 w 10000"/>
                <a:gd name="connsiteY22" fmla="*/ 450 h 10000"/>
                <a:gd name="connsiteX23" fmla="*/ 6072 w 10000"/>
                <a:gd name="connsiteY23" fmla="*/ 388 h 10000"/>
                <a:gd name="connsiteX24" fmla="*/ 6287 w 10000"/>
                <a:gd name="connsiteY24" fmla="*/ 388 h 10000"/>
                <a:gd name="connsiteX25" fmla="*/ 6552 w 10000"/>
                <a:gd name="connsiteY25" fmla="*/ 410 h 10000"/>
                <a:gd name="connsiteX26" fmla="*/ 6815 w 10000"/>
                <a:gd name="connsiteY26" fmla="*/ 492 h 10000"/>
                <a:gd name="connsiteX27" fmla="*/ 7048 w 10000"/>
                <a:gd name="connsiteY27" fmla="*/ 634 h 10000"/>
                <a:gd name="connsiteX28" fmla="*/ 7296 w 10000"/>
                <a:gd name="connsiteY28" fmla="*/ 780 h 10000"/>
                <a:gd name="connsiteX29" fmla="*/ 7509 w 10000"/>
                <a:gd name="connsiteY29" fmla="*/ 985 h 10000"/>
                <a:gd name="connsiteX30" fmla="*/ 7741 w 10000"/>
                <a:gd name="connsiteY30" fmla="*/ 1250 h 10000"/>
                <a:gd name="connsiteX31" fmla="*/ 7939 w 10000"/>
                <a:gd name="connsiteY31" fmla="*/ 1536 h 10000"/>
                <a:gd name="connsiteX32" fmla="*/ 8170 w 10000"/>
                <a:gd name="connsiteY32" fmla="*/ 1864 h 10000"/>
                <a:gd name="connsiteX33" fmla="*/ 8354 w 10000"/>
                <a:gd name="connsiteY33" fmla="*/ 2213 h 10000"/>
                <a:gd name="connsiteX34" fmla="*/ 8550 w 10000"/>
                <a:gd name="connsiteY34" fmla="*/ 2602 h 10000"/>
                <a:gd name="connsiteX35" fmla="*/ 8732 w 10000"/>
                <a:gd name="connsiteY35" fmla="*/ 2990 h 10000"/>
                <a:gd name="connsiteX36" fmla="*/ 8944 w 10000"/>
                <a:gd name="connsiteY36" fmla="*/ 3424 h 10000"/>
                <a:gd name="connsiteX37" fmla="*/ 10000 w 10000"/>
                <a:gd name="connsiteY37" fmla="*/ 2602 h 10000"/>
                <a:gd name="connsiteX38" fmla="*/ 9772 w 10000"/>
                <a:gd name="connsiteY38" fmla="*/ 2252 h 10000"/>
                <a:gd name="connsiteX39" fmla="*/ 9541 w 10000"/>
                <a:gd name="connsiteY39" fmla="*/ 1925 h 10000"/>
                <a:gd name="connsiteX40" fmla="*/ 9293 w 10000"/>
                <a:gd name="connsiteY40" fmla="*/ 1641 h 10000"/>
                <a:gd name="connsiteX41" fmla="*/ 9028 w 10000"/>
                <a:gd name="connsiteY41" fmla="*/ 1334 h 10000"/>
                <a:gd name="connsiteX42" fmla="*/ 8782 w 10000"/>
                <a:gd name="connsiteY42" fmla="*/ 1086 h 10000"/>
                <a:gd name="connsiteX43" fmla="*/ 8501 w 10000"/>
                <a:gd name="connsiteY43" fmla="*/ 863 h 10000"/>
                <a:gd name="connsiteX44" fmla="*/ 8219 w 10000"/>
                <a:gd name="connsiteY44" fmla="*/ 656 h 10000"/>
                <a:gd name="connsiteX45" fmla="*/ 7922 w 10000"/>
                <a:gd name="connsiteY45" fmla="*/ 470 h 10000"/>
                <a:gd name="connsiteX46" fmla="*/ 7626 w 10000"/>
                <a:gd name="connsiteY46" fmla="*/ 307 h 10000"/>
                <a:gd name="connsiteX47" fmla="*/ 7312 w 10000"/>
                <a:gd name="connsiteY47" fmla="*/ 184 h 10000"/>
                <a:gd name="connsiteX48" fmla="*/ 6980 w 10000"/>
                <a:gd name="connsiteY48" fmla="*/ 101 h 10000"/>
                <a:gd name="connsiteX49" fmla="*/ 6635 w 10000"/>
                <a:gd name="connsiteY49" fmla="*/ 21 h 10000"/>
                <a:gd name="connsiteX50" fmla="*/ 6287 w 10000"/>
                <a:gd name="connsiteY50" fmla="*/ 0 h 10000"/>
                <a:gd name="connsiteX51" fmla="*/ 5991 w 10000"/>
                <a:gd name="connsiteY51" fmla="*/ 21 h 10000"/>
                <a:gd name="connsiteX52" fmla="*/ 5712 w 10000"/>
                <a:gd name="connsiteY52" fmla="*/ 61 h 10000"/>
                <a:gd name="connsiteX53" fmla="*/ 5432 w 10000"/>
                <a:gd name="connsiteY53" fmla="*/ 124 h 10000"/>
                <a:gd name="connsiteX54" fmla="*/ 5184 w 10000"/>
                <a:gd name="connsiteY54" fmla="*/ 184 h 10000"/>
                <a:gd name="connsiteX55" fmla="*/ 4918 w 10000"/>
                <a:gd name="connsiteY55" fmla="*/ 285 h 10000"/>
                <a:gd name="connsiteX56" fmla="*/ 4654 w 10000"/>
                <a:gd name="connsiteY56" fmla="*/ 388 h 10000"/>
                <a:gd name="connsiteX57" fmla="*/ 4424 w 10000"/>
                <a:gd name="connsiteY57" fmla="*/ 532 h 10000"/>
                <a:gd name="connsiteX58" fmla="*/ 4175 w 10000"/>
                <a:gd name="connsiteY58" fmla="*/ 698 h 10000"/>
                <a:gd name="connsiteX59" fmla="*/ 3962 w 10000"/>
                <a:gd name="connsiteY59" fmla="*/ 881 h 10000"/>
                <a:gd name="connsiteX60" fmla="*/ 3732 w 10000"/>
                <a:gd name="connsiteY60" fmla="*/ 1065 h 10000"/>
                <a:gd name="connsiteX61" fmla="*/ 3517 w 10000"/>
                <a:gd name="connsiteY61" fmla="*/ 1271 h 10000"/>
                <a:gd name="connsiteX62" fmla="*/ 3302 w 10000"/>
                <a:gd name="connsiteY62" fmla="*/ 1497 h 10000"/>
                <a:gd name="connsiteX63" fmla="*/ 3104 w 10000"/>
                <a:gd name="connsiteY63" fmla="*/ 1720 h 10000"/>
                <a:gd name="connsiteX64" fmla="*/ 2889 w 10000"/>
                <a:gd name="connsiteY64" fmla="*/ 1989 h 10000"/>
                <a:gd name="connsiteX65" fmla="*/ 2509 w 10000"/>
                <a:gd name="connsiteY65" fmla="*/ 2540 h 10000"/>
                <a:gd name="connsiteX66" fmla="*/ 2147 w 10000"/>
                <a:gd name="connsiteY66" fmla="*/ 3116 h 10000"/>
                <a:gd name="connsiteX67" fmla="*/ 1801 w 10000"/>
                <a:gd name="connsiteY67" fmla="*/ 3730 h 10000"/>
                <a:gd name="connsiteX68" fmla="*/ 1469 w 10000"/>
                <a:gd name="connsiteY68" fmla="*/ 4386 h 10000"/>
                <a:gd name="connsiteX69" fmla="*/ 1156 w 10000"/>
                <a:gd name="connsiteY69" fmla="*/ 5062 h 10000"/>
                <a:gd name="connsiteX70" fmla="*/ 858 w 10000"/>
                <a:gd name="connsiteY70" fmla="*/ 5737 h 10000"/>
                <a:gd name="connsiteX71" fmla="*/ 563 w 10000"/>
                <a:gd name="connsiteY71" fmla="*/ 6455 h 10000"/>
                <a:gd name="connsiteX72" fmla="*/ 0 w 10000"/>
                <a:gd name="connsiteY72" fmla="*/ 7890 h 10000"/>
                <a:gd name="connsiteX0" fmla="*/ 0 w 9772"/>
                <a:gd name="connsiteY0" fmla="*/ 7890 h 10000"/>
                <a:gd name="connsiteX1" fmla="*/ 0 w 9772"/>
                <a:gd name="connsiteY1" fmla="*/ 7890 h 10000"/>
                <a:gd name="connsiteX2" fmla="*/ 413 w 9772"/>
                <a:gd name="connsiteY2" fmla="*/ 8955 h 10000"/>
                <a:gd name="connsiteX3" fmla="*/ 792 w 9772"/>
                <a:gd name="connsiteY3" fmla="*/ 10000 h 10000"/>
                <a:gd name="connsiteX4" fmla="*/ 1173 w 9772"/>
                <a:gd name="connsiteY4" fmla="*/ 9222 h 10000"/>
                <a:gd name="connsiteX5" fmla="*/ 1518 w 9772"/>
                <a:gd name="connsiteY5" fmla="*/ 8403 h 10000"/>
                <a:gd name="connsiteX6" fmla="*/ 1882 w 9772"/>
                <a:gd name="connsiteY6" fmla="*/ 7602 h 10000"/>
                <a:gd name="connsiteX7" fmla="*/ 2194 w 9772"/>
                <a:gd name="connsiteY7" fmla="*/ 6782 h 10000"/>
                <a:gd name="connsiteX8" fmla="*/ 2823 w 9772"/>
                <a:gd name="connsiteY8" fmla="*/ 5165 h 10000"/>
                <a:gd name="connsiteX9" fmla="*/ 3138 w 9772"/>
                <a:gd name="connsiteY9" fmla="*/ 4386 h 10000"/>
                <a:gd name="connsiteX10" fmla="*/ 3434 w 9772"/>
                <a:gd name="connsiteY10" fmla="*/ 3647 h 10000"/>
                <a:gd name="connsiteX11" fmla="*/ 3745 w 9772"/>
                <a:gd name="connsiteY11" fmla="*/ 2972 h 10000"/>
                <a:gd name="connsiteX12" fmla="*/ 4059 w 9772"/>
                <a:gd name="connsiteY12" fmla="*/ 2357 h 10000"/>
                <a:gd name="connsiteX13" fmla="*/ 4225 w 9772"/>
                <a:gd name="connsiteY13" fmla="*/ 2048 h 10000"/>
                <a:gd name="connsiteX14" fmla="*/ 4391 w 9772"/>
                <a:gd name="connsiteY14" fmla="*/ 1803 h 10000"/>
                <a:gd name="connsiteX15" fmla="*/ 4572 w 9772"/>
                <a:gd name="connsiteY15" fmla="*/ 1536 h 10000"/>
                <a:gd name="connsiteX16" fmla="*/ 4737 w 9772"/>
                <a:gd name="connsiteY16" fmla="*/ 1312 h 10000"/>
                <a:gd name="connsiteX17" fmla="*/ 4918 w 9772"/>
                <a:gd name="connsiteY17" fmla="*/ 1109 h 10000"/>
                <a:gd name="connsiteX18" fmla="*/ 5100 w 9772"/>
                <a:gd name="connsiteY18" fmla="*/ 922 h 10000"/>
                <a:gd name="connsiteX19" fmla="*/ 5283 w 9772"/>
                <a:gd name="connsiteY19" fmla="*/ 758 h 10000"/>
                <a:gd name="connsiteX20" fmla="*/ 5481 w 9772"/>
                <a:gd name="connsiteY20" fmla="*/ 634 h 10000"/>
                <a:gd name="connsiteX21" fmla="*/ 5661 w 9772"/>
                <a:gd name="connsiteY21" fmla="*/ 512 h 10000"/>
                <a:gd name="connsiteX22" fmla="*/ 5859 w 9772"/>
                <a:gd name="connsiteY22" fmla="*/ 450 h 10000"/>
                <a:gd name="connsiteX23" fmla="*/ 6072 w 9772"/>
                <a:gd name="connsiteY23" fmla="*/ 388 h 10000"/>
                <a:gd name="connsiteX24" fmla="*/ 6287 w 9772"/>
                <a:gd name="connsiteY24" fmla="*/ 388 h 10000"/>
                <a:gd name="connsiteX25" fmla="*/ 6552 w 9772"/>
                <a:gd name="connsiteY25" fmla="*/ 410 h 10000"/>
                <a:gd name="connsiteX26" fmla="*/ 6815 w 9772"/>
                <a:gd name="connsiteY26" fmla="*/ 492 h 10000"/>
                <a:gd name="connsiteX27" fmla="*/ 7048 w 9772"/>
                <a:gd name="connsiteY27" fmla="*/ 634 h 10000"/>
                <a:gd name="connsiteX28" fmla="*/ 7296 w 9772"/>
                <a:gd name="connsiteY28" fmla="*/ 780 h 10000"/>
                <a:gd name="connsiteX29" fmla="*/ 7509 w 9772"/>
                <a:gd name="connsiteY29" fmla="*/ 985 h 10000"/>
                <a:gd name="connsiteX30" fmla="*/ 7741 w 9772"/>
                <a:gd name="connsiteY30" fmla="*/ 1250 h 10000"/>
                <a:gd name="connsiteX31" fmla="*/ 7939 w 9772"/>
                <a:gd name="connsiteY31" fmla="*/ 1536 h 10000"/>
                <a:gd name="connsiteX32" fmla="*/ 8170 w 9772"/>
                <a:gd name="connsiteY32" fmla="*/ 1864 h 10000"/>
                <a:gd name="connsiteX33" fmla="*/ 8354 w 9772"/>
                <a:gd name="connsiteY33" fmla="*/ 2213 h 10000"/>
                <a:gd name="connsiteX34" fmla="*/ 8550 w 9772"/>
                <a:gd name="connsiteY34" fmla="*/ 2602 h 10000"/>
                <a:gd name="connsiteX35" fmla="*/ 8732 w 9772"/>
                <a:gd name="connsiteY35" fmla="*/ 2990 h 10000"/>
                <a:gd name="connsiteX36" fmla="*/ 8944 w 9772"/>
                <a:gd name="connsiteY36" fmla="*/ 3424 h 10000"/>
                <a:gd name="connsiteX37" fmla="*/ 9772 w 9772"/>
                <a:gd name="connsiteY37" fmla="*/ 2252 h 10000"/>
                <a:gd name="connsiteX38" fmla="*/ 9541 w 9772"/>
                <a:gd name="connsiteY38" fmla="*/ 1925 h 10000"/>
                <a:gd name="connsiteX39" fmla="*/ 9293 w 9772"/>
                <a:gd name="connsiteY39" fmla="*/ 1641 h 10000"/>
                <a:gd name="connsiteX40" fmla="*/ 9028 w 9772"/>
                <a:gd name="connsiteY40" fmla="*/ 1334 h 10000"/>
                <a:gd name="connsiteX41" fmla="*/ 8782 w 9772"/>
                <a:gd name="connsiteY41" fmla="*/ 1086 h 10000"/>
                <a:gd name="connsiteX42" fmla="*/ 8501 w 9772"/>
                <a:gd name="connsiteY42" fmla="*/ 863 h 10000"/>
                <a:gd name="connsiteX43" fmla="*/ 8219 w 9772"/>
                <a:gd name="connsiteY43" fmla="*/ 656 h 10000"/>
                <a:gd name="connsiteX44" fmla="*/ 7922 w 9772"/>
                <a:gd name="connsiteY44" fmla="*/ 470 h 10000"/>
                <a:gd name="connsiteX45" fmla="*/ 7626 w 9772"/>
                <a:gd name="connsiteY45" fmla="*/ 307 h 10000"/>
                <a:gd name="connsiteX46" fmla="*/ 7312 w 9772"/>
                <a:gd name="connsiteY46" fmla="*/ 184 h 10000"/>
                <a:gd name="connsiteX47" fmla="*/ 6980 w 9772"/>
                <a:gd name="connsiteY47" fmla="*/ 101 h 10000"/>
                <a:gd name="connsiteX48" fmla="*/ 6635 w 9772"/>
                <a:gd name="connsiteY48" fmla="*/ 21 h 10000"/>
                <a:gd name="connsiteX49" fmla="*/ 6287 w 9772"/>
                <a:gd name="connsiteY49" fmla="*/ 0 h 10000"/>
                <a:gd name="connsiteX50" fmla="*/ 5991 w 9772"/>
                <a:gd name="connsiteY50" fmla="*/ 21 h 10000"/>
                <a:gd name="connsiteX51" fmla="*/ 5712 w 9772"/>
                <a:gd name="connsiteY51" fmla="*/ 61 h 10000"/>
                <a:gd name="connsiteX52" fmla="*/ 5432 w 9772"/>
                <a:gd name="connsiteY52" fmla="*/ 124 h 10000"/>
                <a:gd name="connsiteX53" fmla="*/ 5184 w 9772"/>
                <a:gd name="connsiteY53" fmla="*/ 184 h 10000"/>
                <a:gd name="connsiteX54" fmla="*/ 4918 w 9772"/>
                <a:gd name="connsiteY54" fmla="*/ 285 h 10000"/>
                <a:gd name="connsiteX55" fmla="*/ 4654 w 9772"/>
                <a:gd name="connsiteY55" fmla="*/ 388 h 10000"/>
                <a:gd name="connsiteX56" fmla="*/ 4424 w 9772"/>
                <a:gd name="connsiteY56" fmla="*/ 532 h 10000"/>
                <a:gd name="connsiteX57" fmla="*/ 4175 w 9772"/>
                <a:gd name="connsiteY57" fmla="*/ 698 h 10000"/>
                <a:gd name="connsiteX58" fmla="*/ 3962 w 9772"/>
                <a:gd name="connsiteY58" fmla="*/ 881 h 10000"/>
                <a:gd name="connsiteX59" fmla="*/ 3732 w 9772"/>
                <a:gd name="connsiteY59" fmla="*/ 1065 h 10000"/>
                <a:gd name="connsiteX60" fmla="*/ 3517 w 9772"/>
                <a:gd name="connsiteY60" fmla="*/ 1271 h 10000"/>
                <a:gd name="connsiteX61" fmla="*/ 3302 w 9772"/>
                <a:gd name="connsiteY61" fmla="*/ 1497 h 10000"/>
                <a:gd name="connsiteX62" fmla="*/ 3104 w 9772"/>
                <a:gd name="connsiteY62" fmla="*/ 1720 h 10000"/>
                <a:gd name="connsiteX63" fmla="*/ 2889 w 9772"/>
                <a:gd name="connsiteY63" fmla="*/ 1989 h 10000"/>
                <a:gd name="connsiteX64" fmla="*/ 2509 w 9772"/>
                <a:gd name="connsiteY64" fmla="*/ 2540 h 10000"/>
                <a:gd name="connsiteX65" fmla="*/ 2147 w 9772"/>
                <a:gd name="connsiteY65" fmla="*/ 3116 h 10000"/>
                <a:gd name="connsiteX66" fmla="*/ 1801 w 9772"/>
                <a:gd name="connsiteY66" fmla="*/ 3730 h 10000"/>
                <a:gd name="connsiteX67" fmla="*/ 1469 w 9772"/>
                <a:gd name="connsiteY67" fmla="*/ 4386 h 10000"/>
                <a:gd name="connsiteX68" fmla="*/ 1156 w 9772"/>
                <a:gd name="connsiteY68" fmla="*/ 5062 h 10000"/>
                <a:gd name="connsiteX69" fmla="*/ 858 w 9772"/>
                <a:gd name="connsiteY69" fmla="*/ 5737 h 10000"/>
                <a:gd name="connsiteX70" fmla="*/ 563 w 9772"/>
                <a:gd name="connsiteY70" fmla="*/ 6455 h 10000"/>
                <a:gd name="connsiteX71" fmla="*/ 0 w 9772"/>
                <a:gd name="connsiteY7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23 w 10000"/>
                <a:gd name="connsiteY2" fmla="*/ 8955 h 10000"/>
                <a:gd name="connsiteX3" fmla="*/ 810 w 10000"/>
                <a:gd name="connsiteY3" fmla="*/ 10000 h 10000"/>
                <a:gd name="connsiteX4" fmla="*/ 1200 w 10000"/>
                <a:gd name="connsiteY4" fmla="*/ 9222 h 10000"/>
                <a:gd name="connsiteX5" fmla="*/ 1553 w 10000"/>
                <a:gd name="connsiteY5" fmla="*/ 8403 h 10000"/>
                <a:gd name="connsiteX6" fmla="*/ 1926 w 10000"/>
                <a:gd name="connsiteY6" fmla="*/ 7602 h 10000"/>
                <a:gd name="connsiteX7" fmla="*/ 2245 w 10000"/>
                <a:gd name="connsiteY7" fmla="*/ 6782 h 10000"/>
                <a:gd name="connsiteX8" fmla="*/ 2889 w 10000"/>
                <a:gd name="connsiteY8" fmla="*/ 5165 h 10000"/>
                <a:gd name="connsiteX9" fmla="*/ 3211 w 10000"/>
                <a:gd name="connsiteY9" fmla="*/ 4386 h 10000"/>
                <a:gd name="connsiteX10" fmla="*/ 3514 w 10000"/>
                <a:gd name="connsiteY10" fmla="*/ 3647 h 10000"/>
                <a:gd name="connsiteX11" fmla="*/ 3832 w 10000"/>
                <a:gd name="connsiteY11" fmla="*/ 2972 h 10000"/>
                <a:gd name="connsiteX12" fmla="*/ 4154 w 10000"/>
                <a:gd name="connsiteY12" fmla="*/ 2357 h 10000"/>
                <a:gd name="connsiteX13" fmla="*/ 4324 w 10000"/>
                <a:gd name="connsiteY13" fmla="*/ 2048 h 10000"/>
                <a:gd name="connsiteX14" fmla="*/ 4493 w 10000"/>
                <a:gd name="connsiteY14" fmla="*/ 1803 h 10000"/>
                <a:gd name="connsiteX15" fmla="*/ 4679 w 10000"/>
                <a:gd name="connsiteY15" fmla="*/ 1536 h 10000"/>
                <a:gd name="connsiteX16" fmla="*/ 4848 w 10000"/>
                <a:gd name="connsiteY16" fmla="*/ 1312 h 10000"/>
                <a:gd name="connsiteX17" fmla="*/ 5033 w 10000"/>
                <a:gd name="connsiteY17" fmla="*/ 1109 h 10000"/>
                <a:gd name="connsiteX18" fmla="*/ 5219 w 10000"/>
                <a:gd name="connsiteY18" fmla="*/ 922 h 10000"/>
                <a:gd name="connsiteX19" fmla="*/ 5406 w 10000"/>
                <a:gd name="connsiteY19" fmla="*/ 758 h 10000"/>
                <a:gd name="connsiteX20" fmla="*/ 5609 w 10000"/>
                <a:gd name="connsiteY20" fmla="*/ 634 h 10000"/>
                <a:gd name="connsiteX21" fmla="*/ 5793 w 10000"/>
                <a:gd name="connsiteY21" fmla="*/ 512 h 10000"/>
                <a:gd name="connsiteX22" fmla="*/ 5996 w 10000"/>
                <a:gd name="connsiteY22" fmla="*/ 450 h 10000"/>
                <a:gd name="connsiteX23" fmla="*/ 6214 w 10000"/>
                <a:gd name="connsiteY23" fmla="*/ 388 h 10000"/>
                <a:gd name="connsiteX24" fmla="*/ 6434 w 10000"/>
                <a:gd name="connsiteY24" fmla="*/ 388 h 10000"/>
                <a:gd name="connsiteX25" fmla="*/ 6705 w 10000"/>
                <a:gd name="connsiteY25" fmla="*/ 410 h 10000"/>
                <a:gd name="connsiteX26" fmla="*/ 6974 w 10000"/>
                <a:gd name="connsiteY26" fmla="*/ 492 h 10000"/>
                <a:gd name="connsiteX27" fmla="*/ 7212 w 10000"/>
                <a:gd name="connsiteY27" fmla="*/ 634 h 10000"/>
                <a:gd name="connsiteX28" fmla="*/ 7466 w 10000"/>
                <a:gd name="connsiteY28" fmla="*/ 780 h 10000"/>
                <a:gd name="connsiteX29" fmla="*/ 7684 w 10000"/>
                <a:gd name="connsiteY29" fmla="*/ 985 h 10000"/>
                <a:gd name="connsiteX30" fmla="*/ 7922 w 10000"/>
                <a:gd name="connsiteY30" fmla="*/ 1250 h 10000"/>
                <a:gd name="connsiteX31" fmla="*/ 8124 w 10000"/>
                <a:gd name="connsiteY31" fmla="*/ 1536 h 10000"/>
                <a:gd name="connsiteX32" fmla="*/ 8361 w 10000"/>
                <a:gd name="connsiteY32" fmla="*/ 1864 h 10000"/>
                <a:gd name="connsiteX33" fmla="*/ 8549 w 10000"/>
                <a:gd name="connsiteY33" fmla="*/ 2213 h 10000"/>
                <a:gd name="connsiteX34" fmla="*/ 8749 w 10000"/>
                <a:gd name="connsiteY34" fmla="*/ 2602 h 10000"/>
                <a:gd name="connsiteX35" fmla="*/ 8936 w 10000"/>
                <a:gd name="connsiteY35" fmla="*/ 2990 h 10000"/>
                <a:gd name="connsiteX36" fmla="*/ 10000 w 10000"/>
                <a:gd name="connsiteY36" fmla="*/ 2252 h 10000"/>
                <a:gd name="connsiteX37" fmla="*/ 9764 w 10000"/>
                <a:gd name="connsiteY37" fmla="*/ 1925 h 10000"/>
                <a:gd name="connsiteX38" fmla="*/ 9510 w 10000"/>
                <a:gd name="connsiteY38" fmla="*/ 1641 h 10000"/>
                <a:gd name="connsiteX39" fmla="*/ 9239 w 10000"/>
                <a:gd name="connsiteY39" fmla="*/ 1334 h 10000"/>
                <a:gd name="connsiteX40" fmla="*/ 8987 w 10000"/>
                <a:gd name="connsiteY40" fmla="*/ 1086 h 10000"/>
                <a:gd name="connsiteX41" fmla="*/ 8699 w 10000"/>
                <a:gd name="connsiteY41" fmla="*/ 863 h 10000"/>
                <a:gd name="connsiteX42" fmla="*/ 8411 w 10000"/>
                <a:gd name="connsiteY42" fmla="*/ 656 h 10000"/>
                <a:gd name="connsiteX43" fmla="*/ 8107 w 10000"/>
                <a:gd name="connsiteY43" fmla="*/ 470 h 10000"/>
                <a:gd name="connsiteX44" fmla="*/ 7804 w 10000"/>
                <a:gd name="connsiteY44" fmla="*/ 307 h 10000"/>
                <a:gd name="connsiteX45" fmla="*/ 7483 w 10000"/>
                <a:gd name="connsiteY45" fmla="*/ 184 h 10000"/>
                <a:gd name="connsiteX46" fmla="*/ 7143 w 10000"/>
                <a:gd name="connsiteY46" fmla="*/ 101 h 10000"/>
                <a:gd name="connsiteX47" fmla="*/ 6790 w 10000"/>
                <a:gd name="connsiteY47" fmla="*/ 21 h 10000"/>
                <a:gd name="connsiteX48" fmla="*/ 6434 w 10000"/>
                <a:gd name="connsiteY48" fmla="*/ 0 h 10000"/>
                <a:gd name="connsiteX49" fmla="*/ 6131 w 10000"/>
                <a:gd name="connsiteY49" fmla="*/ 21 h 10000"/>
                <a:gd name="connsiteX50" fmla="*/ 5845 w 10000"/>
                <a:gd name="connsiteY50" fmla="*/ 61 h 10000"/>
                <a:gd name="connsiteX51" fmla="*/ 5559 w 10000"/>
                <a:gd name="connsiteY51" fmla="*/ 124 h 10000"/>
                <a:gd name="connsiteX52" fmla="*/ 5305 w 10000"/>
                <a:gd name="connsiteY52" fmla="*/ 184 h 10000"/>
                <a:gd name="connsiteX53" fmla="*/ 5033 w 10000"/>
                <a:gd name="connsiteY53" fmla="*/ 285 h 10000"/>
                <a:gd name="connsiteX54" fmla="*/ 4763 w 10000"/>
                <a:gd name="connsiteY54" fmla="*/ 388 h 10000"/>
                <a:gd name="connsiteX55" fmla="*/ 4527 w 10000"/>
                <a:gd name="connsiteY55" fmla="*/ 532 h 10000"/>
                <a:gd name="connsiteX56" fmla="*/ 4272 w 10000"/>
                <a:gd name="connsiteY56" fmla="*/ 698 h 10000"/>
                <a:gd name="connsiteX57" fmla="*/ 4054 w 10000"/>
                <a:gd name="connsiteY57" fmla="*/ 881 h 10000"/>
                <a:gd name="connsiteX58" fmla="*/ 3819 w 10000"/>
                <a:gd name="connsiteY58" fmla="*/ 1065 h 10000"/>
                <a:gd name="connsiteX59" fmla="*/ 3599 w 10000"/>
                <a:gd name="connsiteY59" fmla="*/ 1271 h 10000"/>
                <a:gd name="connsiteX60" fmla="*/ 3379 w 10000"/>
                <a:gd name="connsiteY60" fmla="*/ 1497 h 10000"/>
                <a:gd name="connsiteX61" fmla="*/ 3176 w 10000"/>
                <a:gd name="connsiteY61" fmla="*/ 1720 h 10000"/>
                <a:gd name="connsiteX62" fmla="*/ 2956 w 10000"/>
                <a:gd name="connsiteY62" fmla="*/ 1989 h 10000"/>
                <a:gd name="connsiteX63" fmla="*/ 2568 w 10000"/>
                <a:gd name="connsiteY63" fmla="*/ 2540 h 10000"/>
                <a:gd name="connsiteX64" fmla="*/ 2197 w 10000"/>
                <a:gd name="connsiteY64" fmla="*/ 3116 h 10000"/>
                <a:gd name="connsiteX65" fmla="*/ 1843 w 10000"/>
                <a:gd name="connsiteY65" fmla="*/ 3730 h 10000"/>
                <a:gd name="connsiteX66" fmla="*/ 1503 w 10000"/>
                <a:gd name="connsiteY66" fmla="*/ 4386 h 10000"/>
                <a:gd name="connsiteX67" fmla="*/ 1183 w 10000"/>
                <a:gd name="connsiteY67" fmla="*/ 5062 h 10000"/>
                <a:gd name="connsiteX68" fmla="*/ 878 w 10000"/>
                <a:gd name="connsiteY68" fmla="*/ 5737 h 10000"/>
                <a:gd name="connsiteX69" fmla="*/ 576 w 10000"/>
                <a:gd name="connsiteY69" fmla="*/ 6455 h 10000"/>
                <a:gd name="connsiteX70" fmla="*/ 0 w 10000"/>
                <a:gd name="connsiteY70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423 w 10013"/>
                <a:gd name="connsiteY2" fmla="*/ 8955 h 10000"/>
                <a:gd name="connsiteX3" fmla="*/ 810 w 10013"/>
                <a:gd name="connsiteY3" fmla="*/ 10000 h 10000"/>
                <a:gd name="connsiteX4" fmla="*/ 1200 w 10013"/>
                <a:gd name="connsiteY4" fmla="*/ 9222 h 10000"/>
                <a:gd name="connsiteX5" fmla="*/ 1553 w 10013"/>
                <a:gd name="connsiteY5" fmla="*/ 8403 h 10000"/>
                <a:gd name="connsiteX6" fmla="*/ 1926 w 10013"/>
                <a:gd name="connsiteY6" fmla="*/ 7602 h 10000"/>
                <a:gd name="connsiteX7" fmla="*/ 2245 w 10013"/>
                <a:gd name="connsiteY7" fmla="*/ 6782 h 10000"/>
                <a:gd name="connsiteX8" fmla="*/ 2889 w 10013"/>
                <a:gd name="connsiteY8" fmla="*/ 5165 h 10000"/>
                <a:gd name="connsiteX9" fmla="*/ 3211 w 10013"/>
                <a:gd name="connsiteY9" fmla="*/ 4386 h 10000"/>
                <a:gd name="connsiteX10" fmla="*/ 3514 w 10013"/>
                <a:gd name="connsiteY10" fmla="*/ 3647 h 10000"/>
                <a:gd name="connsiteX11" fmla="*/ 3832 w 10013"/>
                <a:gd name="connsiteY11" fmla="*/ 2972 h 10000"/>
                <a:gd name="connsiteX12" fmla="*/ 4154 w 10013"/>
                <a:gd name="connsiteY12" fmla="*/ 2357 h 10000"/>
                <a:gd name="connsiteX13" fmla="*/ 4324 w 10013"/>
                <a:gd name="connsiteY13" fmla="*/ 2048 h 10000"/>
                <a:gd name="connsiteX14" fmla="*/ 4493 w 10013"/>
                <a:gd name="connsiteY14" fmla="*/ 1803 h 10000"/>
                <a:gd name="connsiteX15" fmla="*/ 4679 w 10013"/>
                <a:gd name="connsiteY15" fmla="*/ 1536 h 10000"/>
                <a:gd name="connsiteX16" fmla="*/ 4848 w 10013"/>
                <a:gd name="connsiteY16" fmla="*/ 1312 h 10000"/>
                <a:gd name="connsiteX17" fmla="*/ 5033 w 10013"/>
                <a:gd name="connsiteY17" fmla="*/ 1109 h 10000"/>
                <a:gd name="connsiteX18" fmla="*/ 5219 w 10013"/>
                <a:gd name="connsiteY18" fmla="*/ 922 h 10000"/>
                <a:gd name="connsiteX19" fmla="*/ 5406 w 10013"/>
                <a:gd name="connsiteY19" fmla="*/ 758 h 10000"/>
                <a:gd name="connsiteX20" fmla="*/ 5609 w 10013"/>
                <a:gd name="connsiteY20" fmla="*/ 634 h 10000"/>
                <a:gd name="connsiteX21" fmla="*/ 5793 w 10013"/>
                <a:gd name="connsiteY21" fmla="*/ 512 h 10000"/>
                <a:gd name="connsiteX22" fmla="*/ 5996 w 10013"/>
                <a:gd name="connsiteY22" fmla="*/ 450 h 10000"/>
                <a:gd name="connsiteX23" fmla="*/ 6214 w 10013"/>
                <a:gd name="connsiteY23" fmla="*/ 388 h 10000"/>
                <a:gd name="connsiteX24" fmla="*/ 6434 w 10013"/>
                <a:gd name="connsiteY24" fmla="*/ 388 h 10000"/>
                <a:gd name="connsiteX25" fmla="*/ 6705 w 10013"/>
                <a:gd name="connsiteY25" fmla="*/ 410 h 10000"/>
                <a:gd name="connsiteX26" fmla="*/ 6974 w 10013"/>
                <a:gd name="connsiteY26" fmla="*/ 492 h 10000"/>
                <a:gd name="connsiteX27" fmla="*/ 7212 w 10013"/>
                <a:gd name="connsiteY27" fmla="*/ 634 h 10000"/>
                <a:gd name="connsiteX28" fmla="*/ 7466 w 10013"/>
                <a:gd name="connsiteY28" fmla="*/ 780 h 10000"/>
                <a:gd name="connsiteX29" fmla="*/ 7684 w 10013"/>
                <a:gd name="connsiteY29" fmla="*/ 985 h 10000"/>
                <a:gd name="connsiteX30" fmla="*/ 7922 w 10013"/>
                <a:gd name="connsiteY30" fmla="*/ 1250 h 10000"/>
                <a:gd name="connsiteX31" fmla="*/ 8124 w 10013"/>
                <a:gd name="connsiteY31" fmla="*/ 1536 h 10000"/>
                <a:gd name="connsiteX32" fmla="*/ 8361 w 10013"/>
                <a:gd name="connsiteY32" fmla="*/ 1864 h 10000"/>
                <a:gd name="connsiteX33" fmla="*/ 8549 w 10013"/>
                <a:gd name="connsiteY33" fmla="*/ 2213 h 10000"/>
                <a:gd name="connsiteX34" fmla="*/ 8749 w 10013"/>
                <a:gd name="connsiteY34" fmla="*/ 2602 h 10000"/>
                <a:gd name="connsiteX35" fmla="*/ 8936 w 10013"/>
                <a:gd name="connsiteY35" fmla="*/ 2990 h 10000"/>
                <a:gd name="connsiteX36" fmla="*/ 10000 w 10013"/>
                <a:gd name="connsiteY36" fmla="*/ 2252 h 10000"/>
                <a:gd name="connsiteX37" fmla="*/ 9510 w 10013"/>
                <a:gd name="connsiteY37" fmla="*/ 1641 h 10000"/>
                <a:gd name="connsiteX38" fmla="*/ 9239 w 10013"/>
                <a:gd name="connsiteY38" fmla="*/ 1334 h 10000"/>
                <a:gd name="connsiteX39" fmla="*/ 8987 w 10013"/>
                <a:gd name="connsiteY39" fmla="*/ 1086 h 10000"/>
                <a:gd name="connsiteX40" fmla="*/ 8699 w 10013"/>
                <a:gd name="connsiteY40" fmla="*/ 863 h 10000"/>
                <a:gd name="connsiteX41" fmla="*/ 8411 w 10013"/>
                <a:gd name="connsiteY41" fmla="*/ 656 h 10000"/>
                <a:gd name="connsiteX42" fmla="*/ 8107 w 10013"/>
                <a:gd name="connsiteY42" fmla="*/ 470 h 10000"/>
                <a:gd name="connsiteX43" fmla="*/ 7804 w 10013"/>
                <a:gd name="connsiteY43" fmla="*/ 307 h 10000"/>
                <a:gd name="connsiteX44" fmla="*/ 7483 w 10013"/>
                <a:gd name="connsiteY44" fmla="*/ 184 h 10000"/>
                <a:gd name="connsiteX45" fmla="*/ 7143 w 10013"/>
                <a:gd name="connsiteY45" fmla="*/ 101 h 10000"/>
                <a:gd name="connsiteX46" fmla="*/ 6790 w 10013"/>
                <a:gd name="connsiteY46" fmla="*/ 21 h 10000"/>
                <a:gd name="connsiteX47" fmla="*/ 6434 w 10013"/>
                <a:gd name="connsiteY47" fmla="*/ 0 h 10000"/>
                <a:gd name="connsiteX48" fmla="*/ 6131 w 10013"/>
                <a:gd name="connsiteY48" fmla="*/ 21 h 10000"/>
                <a:gd name="connsiteX49" fmla="*/ 5845 w 10013"/>
                <a:gd name="connsiteY49" fmla="*/ 61 h 10000"/>
                <a:gd name="connsiteX50" fmla="*/ 5559 w 10013"/>
                <a:gd name="connsiteY50" fmla="*/ 124 h 10000"/>
                <a:gd name="connsiteX51" fmla="*/ 5305 w 10013"/>
                <a:gd name="connsiteY51" fmla="*/ 184 h 10000"/>
                <a:gd name="connsiteX52" fmla="*/ 5033 w 10013"/>
                <a:gd name="connsiteY52" fmla="*/ 285 h 10000"/>
                <a:gd name="connsiteX53" fmla="*/ 4763 w 10013"/>
                <a:gd name="connsiteY53" fmla="*/ 388 h 10000"/>
                <a:gd name="connsiteX54" fmla="*/ 4527 w 10013"/>
                <a:gd name="connsiteY54" fmla="*/ 532 h 10000"/>
                <a:gd name="connsiteX55" fmla="*/ 4272 w 10013"/>
                <a:gd name="connsiteY55" fmla="*/ 698 h 10000"/>
                <a:gd name="connsiteX56" fmla="*/ 4054 w 10013"/>
                <a:gd name="connsiteY56" fmla="*/ 881 h 10000"/>
                <a:gd name="connsiteX57" fmla="*/ 3819 w 10013"/>
                <a:gd name="connsiteY57" fmla="*/ 1065 h 10000"/>
                <a:gd name="connsiteX58" fmla="*/ 3599 w 10013"/>
                <a:gd name="connsiteY58" fmla="*/ 1271 h 10000"/>
                <a:gd name="connsiteX59" fmla="*/ 3379 w 10013"/>
                <a:gd name="connsiteY59" fmla="*/ 1497 h 10000"/>
                <a:gd name="connsiteX60" fmla="*/ 3176 w 10013"/>
                <a:gd name="connsiteY60" fmla="*/ 1720 h 10000"/>
                <a:gd name="connsiteX61" fmla="*/ 2956 w 10013"/>
                <a:gd name="connsiteY61" fmla="*/ 1989 h 10000"/>
                <a:gd name="connsiteX62" fmla="*/ 2568 w 10013"/>
                <a:gd name="connsiteY62" fmla="*/ 2540 h 10000"/>
                <a:gd name="connsiteX63" fmla="*/ 2197 w 10013"/>
                <a:gd name="connsiteY63" fmla="*/ 3116 h 10000"/>
                <a:gd name="connsiteX64" fmla="*/ 1843 w 10013"/>
                <a:gd name="connsiteY64" fmla="*/ 3730 h 10000"/>
                <a:gd name="connsiteX65" fmla="*/ 1503 w 10013"/>
                <a:gd name="connsiteY65" fmla="*/ 4386 h 10000"/>
                <a:gd name="connsiteX66" fmla="*/ 1183 w 10013"/>
                <a:gd name="connsiteY66" fmla="*/ 5062 h 10000"/>
                <a:gd name="connsiteX67" fmla="*/ 878 w 10013"/>
                <a:gd name="connsiteY67" fmla="*/ 5737 h 10000"/>
                <a:gd name="connsiteX68" fmla="*/ 576 w 10013"/>
                <a:gd name="connsiteY68" fmla="*/ 6455 h 10000"/>
                <a:gd name="connsiteX69" fmla="*/ 0 w 10013"/>
                <a:gd name="connsiteY69" fmla="*/ 7890 h 10000"/>
                <a:gd name="connsiteX0" fmla="*/ 0 w 9510"/>
                <a:gd name="connsiteY0" fmla="*/ 7890 h 10000"/>
                <a:gd name="connsiteX1" fmla="*/ 0 w 9510"/>
                <a:gd name="connsiteY1" fmla="*/ 7890 h 10000"/>
                <a:gd name="connsiteX2" fmla="*/ 423 w 9510"/>
                <a:gd name="connsiteY2" fmla="*/ 8955 h 10000"/>
                <a:gd name="connsiteX3" fmla="*/ 810 w 9510"/>
                <a:gd name="connsiteY3" fmla="*/ 10000 h 10000"/>
                <a:gd name="connsiteX4" fmla="*/ 1200 w 9510"/>
                <a:gd name="connsiteY4" fmla="*/ 9222 h 10000"/>
                <a:gd name="connsiteX5" fmla="*/ 1553 w 9510"/>
                <a:gd name="connsiteY5" fmla="*/ 8403 h 10000"/>
                <a:gd name="connsiteX6" fmla="*/ 1926 w 9510"/>
                <a:gd name="connsiteY6" fmla="*/ 7602 h 10000"/>
                <a:gd name="connsiteX7" fmla="*/ 2245 w 9510"/>
                <a:gd name="connsiteY7" fmla="*/ 6782 h 10000"/>
                <a:gd name="connsiteX8" fmla="*/ 2889 w 9510"/>
                <a:gd name="connsiteY8" fmla="*/ 5165 h 10000"/>
                <a:gd name="connsiteX9" fmla="*/ 3211 w 9510"/>
                <a:gd name="connsiteY9" fmla="*/ 4386 h 10000"/>
                <a:gd name="connsiteX10" fmla="*/ 3514 w 9510"/>
                <a:gd name="connsiteY10" fmla="*/ 3647 h 10000"/>
                <a:gd name="connsiteX11" fmla="*/ 3832 w 9510"/>
                <a:gd name="connsiteY11" fmla="*/ 2972 h 10000"/>
                <a:gd name="connsiteX12" fmla="*/ 4154 w 9510"/>
                <a:gd name="connsiteY12" fmla="*/ 2357 h 10000"/>
                <a:gd name="connsiteX13" fmla="*/ 4324 w 9510"/>
                <a:gd name="connsiteY13" fmla="*/ 2048 h 10000"/>
                <a:gd name="connsiteX14" fmla="*/ 4493 w 9510"/>
                <a:gd name="connsiteY14" fmla="*/ 1803 h 10000"/>
                <a:gd name="connsiteX15" fmla="*/ 4679 w 9510"/>
                <a:gd name="connsiteY15" fmla="*/ 1536 h 10000"/>
                <a:gd name="connsiteX16" fmla="*/ 4848 w 9510"/>
                <a:gd name="connsiteY16" fmla="*/ 1312 h 10000"/>
                <a:gd name="connsiteX17" fmla="*/ 5033 w 9510"/>
                <a:gd name="connsiteY17" fmla="*/ 1109 h 10000"/>
                <a:gd name="connsiteX18" fmla="*/ 5219 w 9510"/>
                <a:gd name="connsiteY18" fmla="*/ 922 h 10000"/>
                <a:gd name="connsiteX19" fmla="*/ 5406 w 9510"/>
                <a:gd name="connsiteY19" fmla="*/ 758 h 10000"/>
                <a:gd name="connsiteX20" fmla="*/ 5609 w 9510"/>
                <a:gd name="connsiteY20" fmla="*/ 634 h 10000"/>
                <a:gd name="connsiteX21" fmla="*/ 5793 w 9510"/>
                <a:gd name="connsiteY21" fmla="*/ 512 h 10000"/>
                <a:gd name="connsiteX22" fmla="*/ 5996 w 9510"/>
                <a:gd name="connsiteY22" fmla="*/ 450 h 10000"/>
                <a:gd name="connsiteX23" fmla="*/ 6214 w 9510"/>
                <a:gd name="connsiteY23" fmla="*/ 388 h 10000"/>
                <a:gd name="connsiteX24" fmla="*/ 6434 w 9510"/>
                <a:gd name="connsiteY24" fmla="*/ 388 h 10000"/>
                <a:gd name="connsiteX25" fmla="*/ 6705 w 9510"/>
                <a:gd name="connsiteY25" fmla="*/ 410 h 10000"/>
                <a:gd name="connsiteX26" fmla="*/ 6974 w 9510"/>
                <a:gd name="connsiteY26" fmla="*/ 492 h 10000"/>
                <a:gd name="connsiteX27" fmla="*/ 7212 w 9510"/>
                <a:gd name="connsiteY27" fmla="*/ 634 h 10000"/>
                <a:gd name="connsiteX28" fmla="*/ 7466 w 9510"/>
                <a:gd name="connsiteY28" fmla="*/ 780 h 10000"/>
                <a:gd name="connsiteX29" fmla="*/ 7684 w 9510"/>
                <a:gd name="connsiteY29" fmla="*/ 985 h 10000"/>
                <a:gd name="connsiteX30" fmla="*/ 7922 w 9510"/>
                <a:gd name="connsiteY30" fmla="*/ 1250 h 10000"/>
                <a:gd name="connsiteX31" fmla="*/ 8124 w 9510"/>
                <a:gd name="connsiteY31" fmla="*/ 1536 h 10000"/>
                <a:gd name="connsiteX32" fmla="*/ 8361 w 9510"/>
                <a:gd name="connsiteY32" fmla="*/ 1864 h 10000"/>
                <a:gd name="connsiteX33" fmla="*/ 8549 w 9510"/>
                <a:gd name="connsiteY33" fmla="*/ 2213 h 10000"/>
                <a:gd name="connsiteX34" fmla="*/ 8749 w 9510"/>
                <a:gd name="connsiteY34" fmla="*/ 2602 h 10000"/>
                <a:gd name="connsiteX35" fmla="*/ 8936 w 9510"/>
                <a:gd name="connsiteY35" fmla="*/ 2990 h 10000"/>
                <a:gd name="connsiteX36" fmla="*/ 9510 w 9510"/>
                <a:gd name="connsiteY36" fmla="*/ 1641 h 10000"/>
                <a:gd name="connsiteX37" fmla="*/ 9239 w 9510"/>
                <a:gd name="connsiteY37" fmla="*/ 1334 h 10000"/>
                <a:gd name="connsiteX38" fmla="*/ 8987 w 9510"/>
                <a:gd name="connsiteY38" fmla="*/ 1086 h 10000"/>
                <a:gd name="connsiteX39" fmla="*/ 8699 w 9510"/>
                <a:gd name="connsiteY39" fmla="*/ 863 h 10000"/>
                <a:gd name="connsiteX40" fmla="*/ 8411 w 9510"/>
                <a:gd name="connsiteY40" fmla="*/ 656 h 10000"/>
                <a:gd name="connsiteX41" fmla="*/ 8107 w 9510"/>
                <a:gd name="connsiteY41" fmla="*/ 470 h 10000"/>
                <a:gd name="connsiteX42" fmla="*/ 7804 w 9510"/>
                <a:gd name="connsiteY42" fmla="*/ 307 h 10000"/>
                <a:gd name="connsiteX43" fmla="*/ 7483 w 9510"/>
                <a:gd name="connsiteY43" fmla="*/ 184 h 10000"/>
                <a:gd name="connsiteX44" fmla="*/ 7143 w 9510"/>
                <a:gd name="connsiteY44" fmla="*/ 101 h 10000"/>
                <a:gd name="connsiteX45" fmla="*/ 6790 w 9510"/>
                <a:gd name="connsiteY45" fmla="*/ 21 h 10000"/>
                <a:gd name="connsiteX46" fmla="*/ 6434 w 9510"/>
                <a:gd name="connsiteY46" fmla="*/ 0 h 10000"/>
                <a:gd name="connsiteX47" fmla="*/ 6131 w 9510"/>
                <a:gd name="connsiteY47" fmla="*/ 21 h 10000"/>
                <a:gd name="connsiteX48" fmla="*/ 5845 w 9510"/>
                <a:gd name="connsiteY48" fmla="*/ 61 h 10000"/>
                <a:gd name="connsiteX49" fmla="*/ 5559 w 9510"/>
                <a:gd name="connsiteY49" fmla="*/ 124 h 10000"/>
                <a:gd name="connsiteX50" fmla="*/ 5305 w 9510"/>
                <a:gd name="connsiteY50" fmla="*/ 184 h 10000"/>
                <a:gd name="connsiteX51" fmla="*/ 5033 w 9510"/>
                <a:gd name="connsiteY51" fmla="*/ 285 h 10000"/>
                <a:gd name="connsiteX52" fmla="*/ 4763 w 9510"/>
                <a:gd name="connsiteY52" fmla="*/ 388 h 10000"/>
                <a:gd name="connsiteX53" fmla="*/ 4527 w 9510"/>
                <a:gd name="connsiteY53" fmla="*/ 532 h 10000"/>
                <a:gd name="connsiteX54" fmla="*/ 4272 w 9510"/>
                <a:gd name="connsiteY54" fmla="*/ 698 h 10000"/>
                <a:gd name="connsiteX55" fmla="*/ 4054 w 9510"/>
                <a:gd name="connsiteY55" fmla="*/ 881 h 10000"/>
                <a:gd name="connsiteX56" fmla="*/ 3819 w 9510"/>
                <a:gd name="connsiteY56" fmla="*/ 1065 h 10000"/>
                <a:gd name="connsiteX57" fmla="*/ 3599 w 9510"/>
                <a:gd name="connsiteY57" fmla="*/ 1271 h 10000"/>
                <a:gd name="connsiteX58" fmla="*/ 3379 w 9510"/>
                <a:gd name="connsiteY58" fmla="*/ 1497 h 10000"/>
                <a:gd name="connsiteX59" fmla="*/ 3176 w 9510"/>
                <a:gd name="connsiteY59" fmla="*/ 1720 h 10000"/>
                <a:gd name="connsiteX60" fmla="*/ 2956 w 9510"/>
                <a:gd name="connsiteY60" fmla="*/ 1989 h 10000"/>
                <a:gd name="connsiteX61" fmla="*/ 2568 w 9510"/>
                <a:gd name="connsiteY61" fmla="*/ 2540 h 10000"/>
                <a:gd name="connsiteX62" fmla="*/ 2197 w 9510"/>
                <a:gd name="connsiteY62" fmla="*/ 3116 h 10000"/>
                <a:gd name="connsiteX63" fmla="*/ 1843 w 9510"/>
                <a:gd name="connsiteY63" fmla="*/ 3730 h 10000"/>
                <a:gd name="connsiteX64" fmla="*/ 1503 w 9510"/>
                <a:gd name="connsiteY64" fmla="*/ 4386 h 10000"/>
                <a:gd name="connsiteX65" fmla="*/ 1183 w 9510"/>
                <a:gd name="connsiteY65" fmla="*/ 5062 h 10000"/>
                <a:gd name="connsiteX66" fmla="*/ 878 w 9510"/>
                <a:gd name="connsiteY66" fmla="*/ 5737 h 10000"/>
                <a:gd name="connsiteX67" fmla="*/ 576 w 9510"/>
                <a:gd name="connsiteY67" fmla="*/ 6455 h 10000"/>
                <a:gd name="connsiteX68" fmla="*/ 0 w 9510"/>
                <a:gd name="connsiteY6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45 w 10000"/>
                <a:gd name="connsiteY2" fmla="*/ 8955 h 10000"/>
                <a:gd name="connsiteX3" fmla="*/ 852 w 10000"/>
                <a:gd name="connsiteY3" fmla="*/ 10000 h 10000"/>
                <a:gd name="connsiteX4" fmla="*/ 1262 w 10000"/>
                <a:gd name="connsiteY4" fmla="*/ 9222 h 10000"/>
                <a:gd name="connsiteX5" fmla="*/ 1633 w 10000"/>
                <a:gd name="connsiteY5" fmla="*/ 8403 h 10000"/>
                <a:gd name="connsiteX6" fmla="*/ 2025 w 10000"/>
                <a:gd name="connsiteY6" fmla="*/ 7602 h 10000"/>
                <a:gd name="connsiteX7" fmla="*/ 2361 w 10000"/>
                <a:gd name="connsiteY7" fmla="*/ 6782 h 10000"/>
                <a:gd name="connsiteX8" fmla="*/ 3038 w 10000"/>
                <a:gd name="connsiteY8" fmla="*/ 5165 h 10000"/>
                <a:gd name="connsiteX9" fmla="*/ 3376 w 10000"/>
                <a:gd name="connsiteY9" fmla="*/ 4386 h 10000"/>
                <a:gd name="connsiteX10" fmla="*/ 3695 w 10000"/>
                <a:gd name="connsiteY10" fmla="*/ 3647 h 10000"/>
                <a:gd name="connsiteX11" fmla="*/ 4029 w 10000"/>
                <a:gd name="connsiteY11" fmla="*/ 2972 h 10000"/>
                <a:gd name="connsiteX12" fmla="*/ 4368 w 10000"/>
                <a:gd name="connsiteY12" fmla="*/ 2357 h 10000"/>
                <a:gd name="connsiteX13" fmla="*/ 4547 w 10000"/>
                <a:gd name="connsiteY13" fmla="*/ 2048 h 10000"/>
                <a:gd name="connsiteX14" fmla="*/ 4725 w 10000"/>
                <a:gd name="connsiteY14" fmla="*/ 1803 h 10000"/>
                <a:gd name="connsiteX15" fmla="*/ 4920 w 10000"/>
                <a:gd name="connsiteY15" fmla="*/ 1536 h 10000"/>
                <a:gd name="connsiteX16" fmla="*/ 5098 w 10000"/>
                <a:gd name="connsiteY16" fmla="*/ 1312 h 10000"/>
                <a:gd name="connsiteX17" fmla="*/ 5292 w 10000"/>
                <a:gd name="connsiteY17" fmla="*/ 1109 h 10000"/>
                <a:gd name="connsiteX18" fmla="*/ 5488 w 10000"/>
                <a:gd name="connsiteY18" fmla="*/ 922 h 10000"/>
                <a:gd name="connsiteX19" fmla="*/ 5685 w 10000"/>
                <a:gd name="connsiteY19" fmla="*/ 758 h 10000"/>
                <a:gd name="connsiteX20" fmla="*/ 5898 w 10000"/>
                <a:gd name="connsiteY20" fmla="*/ 634 h 10000"/>
                <a:gd name="connsiteX21" fmla="*/ 6091 w 10000"/>
                <a:gd name="connsiteY21" fmla="*/ 512 h 10000"/>
                <a:gd name="connsiteX22" fmla="*/ 6305 w 10000"/>
                <a:gd name="connsiteY22" fmla="*/ 450 h 10000"/>
                <a:gd name="connsiteX23" fmla="*/ 6534 w 10000"/>
                <a:gd name="connsiteY23" fmla="*/ 388 h 10000"/>
                <a:gd name="connsiteX24" fmla="*/ 6766 w 10000"/>
                <a:gd name="connsiteY24" fmla="*/ 388 h 10000"/>
                <a:gd name="connsiteX25" fmla="*/ 7050 w 10000"/>
                <a:gd name="connsiteY25" fmla="*/ 410 h 10000"/>
                <a:gd name="connsiteX26" fmla="*/ 7333 w 10000"/>
                <a:gd name="connsiteY26" fmla="*/ 492 h 10000"/>
                <a:gd name="connsiteX27" fmla="*/ 7584 w 10000"/>
                <a:gd name="connsiteY27" fmla="*/ 634 h 10000"/>
                <a:gd name="connsiteX28" fmla="*/ 7851 w 10000"/>
                <a:gd name="connsiteY28" fmla="*/ 780 h 10000"/>
                <a:gd name="connsiteX29" fmla="*/ 8080 w 10000"/>
                <a:gd name="connsiteY29" fmla="*/ 985 h 10000"/>
                <a:gd name="connsiteX30" fmla="*/ 8330 w 10000"/>
                <a:gd name="connsiteY30" fmla="*/ 1250 h 10000"/>
                <a:gd name="connsiteX31" fmla="*/ 8543 w 10000"/>
                <a:gd name="connsiteY31" fmla="*/ 1536 h 10000"/>
                <a:gd name="connsiteX32" fmla="*/ 8792 w 10000"/>
                <a:gd name="connsiteY32" fmla="*/ 1864 h 10000"/>
                <a:gd name="connsiteX33" fmla="*/ 8989 w 10000"/>
                <a:gd name="connsiteY33" fmla="*/ 2213 h 10000"/>
                <a:gd name="connsiteX34" fmla="*/ 9200 w 10000"/>
                <a:gd name="connsiteY34" fmla="*/ 2602 h 10000"/>
                <a:gd name="connsiteX35" fmla="*/ 10000 w 10000"/>
                <a:gd name="connsiteY35" fmla="*/ 1641 h 10000"/>
                <a:gd name="connsiteX36" fmla="*/ 9715 w 10000"/>
                <a:gd name="connsiteY36" fmla="*/ 1334 h 10000"/>
                <a:gd name="connsiteX37" fmla="*/ 9450 w 10000"/>
                <a:gd name="connsiteY37" fmla="*/ 1086 h 10000"/>
                <a:gd name="connsiteX38" fmla="*/ 9147 w 10000"/>
                <a:gd name="connsiteY38" fmla="*/ 863 h 10000"/>
                <a:gd name="connsiteX39" fmla="*/ 8844 w 10000"/>
                <a:gd name="connsiteY39" fmla="*/ 656 h 10000"/>
                <a:gd name="connsiteX40" fmla="*/ 8525 w 10000"/>
                <a:gd name="connsiteY40" fmla="*/ 470 h 10000"/>
                <a:gd name="connsiteX41" fmla="*/ 8206 w 10000"/>
                <a:gd name="connsiteY41" fmla="*/ 307 h 10000"/>
                <a:gd name="connsiteX42" fmla="*/ 7869 w 10000"/>
                <a:gd name="connsiteY42" fmla="*/ 184 h 10000"/>
                <a:gd name="connsiteX43" fmla="*/ 7511 w 10000"/>
                <a:gd name="connsiteY43" fmla="*/ 101 h 10000"/>
                <a:gd name="connsiteX44" fmla="*/ 7140 w 10000"/>
                <a:gd name="connsiteY44" fmla="*/ 21 h 10000"/>
                <a:gd name="connsiteX45" fmla="*/ 6766 w 10000"/>
                <a:gd name="connsiteY45" fmla="*/ 0 h 10000"/>
                <a:gd name="connsiteX46" fmla="*/ 6447 w 10000"/>
                <a:gd name="connsiteY46" fmla="*/ 21 h 10000"/>
                <a:gd name="connsiteX47" fmla="*/ 6146 w 10000"/>
                <a:gd name="connsiteY47" fmla="*/ 61 h 10000"/>
                <a:gd name="connsiteX48" fmla="*/ 5845 w 10000"/>
                <a:gd name="connsiteY48" fmla="*/ 124 h 10000"/>
                <a:gd name="connsiteX49" fmla="*/ 5578 w 10000"/>
                <a:gd name="connsiteY49" fmla="*/ 184 h 10000"/>
                <a:gd name="connsiteX50" fmla="*/ 5292 w 10000"/>
                <a:gd name="connsiteY50" fmla="*/ 285 h 10000"/>
                <a:gd name="connsiteX51" fmla="*/ 5008 w 10000"/>
                <a:gd name="connsiteY51" fmla="*/ 388 h 10000"/>
                <a:gd name="connsiteX52" fmla="*/ 4760 w 10000"/>
                <a:gd name="connsiteY52" fmla="*/ 532 h 10000"/>
                <a:gd name="connsiteX53" fmla="*/ 4492 w 10000"/>
                <a:gd name="connsiteY53" fmla="*/ 698 h 10000"/>
                <a:gd name="connsiteX54" fmla="*/ 4263 w 10000"/>
                <a:gd name="connsiteY54" fmla="*/ 881 h 10000"/>
                <a:gd name="connsiteX55" fmla="*/ 4016 w 10000"/>
                <a:gd name="connsiteY55" fmla="*/ 1065 h 10000"/>
                <a:gd name="connsiteX56" fmla="*/ 3784 w 10000"/>
                <a:gd name="connsiteY56" fmla="*/ 1271 h 10000"/>
                <a:gd name="connsiteX57" fmla="*/ 3553 w 10000"/>
                <a:gd name="connsiteY57" fmla="*/ 1497 h 10000"/>
                <a:gd name="connsiteX58" fmla="*/ 3340 w 10000"/>
                <a:gd name="connsiteY58" fmla="*/ 1720 h 10000"/>
                <a:gd name="connsiteX59" fmla="*/ 3108 w 10000"/>
                <a:gd name="connsiteY59" fmla="*/ 1989 h 10000"/>
                <a:gd name="connsiteX60" fmla="*/ 2700 w 10000"/>
                <a:gd name="connsiteY60" fmla="*/ 2540 h 10000"/>
                <a:gd name="connsiteX61" fmla="*/ 2310 w 10000"/>
                <a:gd name="connsiteY61" fmla="*/ 3116 h 10000"/>
                <a:gd name="connsiteX62" fmla="*/ 1938 w 10000"/>
                <a:gd name="connsiteY62" fmla="*/ 3730 h 10000"/>
                <a:gd name="connsiteX63" fmla="*/ 1580 w 10000"/>
                <a:gd name="connsiteY63" fmla="*/ 4386 h 10000"/>
                <a:gd name="connsiteX64" fmla="*/ 1244 w 10000"/>
                <a:gd name="connsiteY64" fmla="*/ 5062 h 10000"/>
                <a:gd name="connsiteX65" fmla="*/ 923 w 10000"/>
                <a:gd name="connsiteY65" fmla="*/ 5737 h 10000"/>
                <a:gd name="connsiteX66" fmla="*/ 606 w 10000"/>
                <a:gd name="connsiteY66" fmla="*/ 6455 h 10000"/>
                <a:gd name="connsiteX67" fmla="*/ 0 w 10000"/>
                <a:gd name="connsiteY67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9147 w 10002"/>
                <a:gd name="connsiteY37" fmla="*/ 863 h 10000"/>
                <a:gd name="connsiteX38" fmla="*/ 8844 w 10002"/>
                <a:gd name="connsiteY38" fmla="*/ 656 h 10000"/>
                <a:gd name="connsiteX39" fmla="*/ 8525 w 10002"/>
                <a:gd name="connsiteY39" fmla="*/ 470 h 10000"/>
                <a:gd name="connsiteX40" fmla="*/ 8206 w 10002"/>
                <a:gd name="connsiteY40" fmla="*/ 307 h 10000"/>
                <a:gd name="connsiteX41" fmla="*/ 7869 w 10002"/>
                <a:gd name="connsiteY41" fmla="*/ 184 h 10000"/>
                <a:gd name="connsiteX42" fmla="*/ 7511 w 10002"/>
                <a:gd name="connsiteY42" fmla="*/ 101 h 10000"/>
                <a:gd name="connsiteX43" fmla="*/ 7140 w 10002"/>
                <a:gd name="connsiteY43" fmla="*/ 21 h 10000"/>
                <a:gd name="connsiteX44" fmla="*/ 6766 w 10002"/>
                <a:gd name="connsiteY44" fmla="*/ 0 h 10000"/>
                <a:gd name="connsiteX45" fmla="*/ 6447 w 10002"/>
                <a:gd name="connsiteY45" fmla="*/ 21 h 10000"/>
                <a:gd name="connsiteX46" fmla="*/ 6146 w 10002"/>
                <a:gd name="connsiteY46" fmla="*/ 61 h 10000"/>
                <a:gd name="connsiteX47" fmla="*/ 5845 w 10002"/>
                <a:gd name="connsiteY47" fmla="*/ 124 h 10000"/>
                <a:gd name="connsiteX48" fmla="*/ 5578 w 10002"/>
                <a:gd name="connsiteY48" fmla="*/ 184 h 10000"/>
                <a:gd name="connsiteX49" fmla="*/ 5292 w 10002"/>
                <a:gd name="connsiteY49" fmla="*/ 285 h 10000"/>
                <a:gd name="connsiteX50" fmla="*/ 5008 w 10002"/>
                <a:gd name="connsiteY50" fmla="*/ 388 h 10000"/>
                <a:gd name="connsiteX51" fmla="*/ 4760 w 10002"/>
                <a:gd name="connsiteY51" fmla="*/ 532 h 10000"/>
                <a:gd name="connsiteX52" fmla="*/ 4492 w 10002"/>
                <a:gd name="connsiteY52" fmla="*/ 698 h 10000"/>
                <a:gd name="connsiteX53" fmla="*/ 4263 w 10002"/>
                <a:gd name="connsiteY53" fmla="*/ 881 h 10000"/>
                <a:gd name="connsiteX54" fmla="*/ 4016 w 10002"/>
                <a:gd name="connsiteY54" fmla="*/ 1065 h 10000"/>
                <a:gd name="connsiteX55" fmla="*/ 3784 w 10002"/>
                <a:gd name="connsiteY55" fmla="*/ 1271 h 10000"/>
                <a:gd name="connsiteX56" fmla="*/ 3553 w 10002"/>
                <a:gd name="connsiteY56" fmla="*/ 1497 h 10000"/>
                <a:gd name="connsiteX57" fmla="*/ 3340 w 10002"/>
                <a:gd name="connsiteY57" fmla="*/ 1720 h 10000"/>
                <a:gd name="connsiteX58" fmla="*/ 3108 w 10002"/>
                <a:gd name="connsiteY58" fmla="*/ 1989 h 10000"/>
                <a:gd name="connsiteX59" fmla="*/ 2700 w 10002"/>
                <a:gd name="connsiteY59" fmla="*/ 2540 h 10000"/>
                <a:gd name="connsiteX60" fmla="*/ 2310 w 10002"/>
                <a:gd name="connsiteY60" fmla="*/ 3116 h 10000"/>
                <a:gd name="connsiteX61" fmla="*/ 1938 w 10002"/>
                <a:gd name="connsiteY61" fmla="*/ 3730 h 10000"/>
                <a:gd name="connsiteX62" fmla="*/ 1580 w 10002"/>
                <a:gd name="connsiteY62" fmla="*/ 4386 h 10000"/>
                <a:gd name="connsiteX63" fmla="*/ 1244 w 10002"/>
                <a:gd name="connsiteY63" fmla="*/ 5062 h 10000"/>
                <a:gd name="connsiteX64" fmla="*/ 923 w 10002"/>
                <a:gd name="connsiteY64" fmla="*/ 5737 h 10000"/>
                <a:gd name="connsiteX65" fmla="*/ 606 w 10002"/>
                <a:gd name="connsiteY65" fmla="*/ 6455 h 10000"/>
                <a:gd name="connsiteX66" fmla="*/ 0 w 10002"/>
                <a:gd name="connsiteY66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8844 w 10002"/>
                <a:gd name="connsiteY37" fmla="*/ 656 h 10000"/>
                <a:gd name="connsiteX38" fmla="*/ 8525 w 10002"/>
                <a:gd name="connsiteY38" fmla="*/ 470 h 10000"/>
                <a:gd name="connsiteX39" fmla="*/ 8206 w 10002"/>
                <a:gd name="connsiteY39" fmla="*/ 307 h 10000"/>
                <a:gd name="connsiteX40" fmla="*/ 7869 w 10002"/>
                <a:gd name="connsiteY40" fmla="*/ 184 h 10000"/>
                <a:gd name="connsiteX41" fmla="*/ 7511 w 10002"/>
                <a:gd name="connsiteY41" fmla="*/ 101 h 10000"/>
                <a:gd name="connsiteX42" fmla="*/ 7140 w 10002"/>
                <a:gd name="connsiteY42" fmla="*/ 21 h 10000"/>
                <a:gd name="connsiteX43" fmla="*/ 6766 w 10002"/>
                <a:gd name="connsiteY43" fmla="*/ 0 h 10000"/>
                <a:gd name="connsiteX44" fmla="*/ 6447 w 10002"/>
                <a:gd name="connsiteY44" fmla="*/ 21 h 10000"/>
                <a:gd name="connsiteX45" fmla="*/ 6146 w 10002"/>
                <a:gd name="connsiteY45" fmla="*/ 61 h 10000"/>
                <a:gd name="connsiteX46" fmla="*/ 5845 w 10002"/>
                <a:gd name="connsiteY46" fmla="*/ 124 h 10000"/>
                <a:gd name="connsiteX47" fmla="*/ 5578 w 10002"/>
                <a:gd name="connsiteY47" fmla="*/ 184 h 10000"/>
                <a:gd name="connsiteX48" fmla="*/ 5292 w 10002"/>
                <a:gd name="connsiteY48" fmla="*/ 285 h 10000"/>
                <a:gd name="connsiteX49" fmla="*/ 5008 w 10002"/>
                <a:gd name="connsiteY49" fmla="*/ 388 h 10000"/>
                <a:gd name="connsiteX50" fmla="*/ 4760 w 10002"/>
                <a:gd name="connsiteY50" fmla="*/ 532 h 10000"/>
                <a:gd name="connsiteX51" fmla="*/ 4492 w 10002"/>
                <a:gd name="connsiteY51" fmla="*/ 698 h 10000"/>
                <a:gd name="connsiteX52" fmla="*/ 4263 w 10002"/>
                <a:gd name="connsiteY52" fmla="*/ 881 h 10000"/>
                <a:gd name="connsiteX53" fmla="*/ 4016 w 10002"/>
                <a:gd name="connsiteY53" fmla="*/ 1065 h 10000"/>
                <a:gd name="connsiteX54" fmla="*/ 3784 w 10002"/>
                <a:gd name="connsiteY54" fmla="*/ 1271 h 10000"/>
                <a:gd name="connsiteX55" fmla="*/ 3553 w 10002"/>
                <a:gd name="connsiteY55" fmla="*/ 1497 h 10000"/>
                <a:gd name="connsiteX56" fmla="*/ 3340 w 10002"/>
                <a:gd name="connsiteY56" fmla="*/ 1720 h 10000"/>
                <a:gd name="connsiteX57" fmla="*/ 3108 w 10002"/>
                <a:gd name="connsiteY57" fmla="*/ 1989 h 10000"/>
                <a:gd name="connsiteX58" fmla="*/ 2700 w 10002"/>
                <a:gd name="connsiteY58" fmla="*/ 2540 h 10000"/>
                <a:gd name="connsiteX59" fmla="*/ 2310 w 10002"/>
                <a:gd name="connsiteY59" fmla="*/ 3116 h 10000"/>
                <a:gd name="connsiteX60" fmla="*/ 1938 w 10002"/>
                <a:gd name="connsiteY60" fmla="*/ 3730 h 10000"/>
                <a:gd name="connsiteX61" fmla="*/ 1580 w 10002"/>
                <a:gd name="connsiteY61" fmla="*/ 4386 h 10000"/>
                <a:gd name="connsiteX62" fmla="*/ 1244 w 10002"/>
                <a:gd name="connsiteY62" fmla="*/ 5062 h 10000"/>
                <a:gd name="connsiteX63" fmla="*/ 923 w 10002"/>
                <a:gd name="connsiteY63" fmla="*/ 5737 h 10000"/>
                <a:gd name="connsiteX64" fmla="*/ 606 w 10002"/>
                <a:gd name="connsiteY64" fmla="*/ 6455 h 10000"/>
                <a:gd name="connsiteX65" fmla="*/ 0 w 10002"/>
                <a:gd name="connsiteY65" fmla="*/ 7890 h 10000"/>
                <a:gd name="connsiteX0" fmla="*/ 0 w 9459"/>
                <a:gd name="connsiteY0" fmla="*/ 7890 h 10000"/>
                <a:gd name="connsiteX1" fmla="*/ 0 w 9459"/>
                <a:gd name="connsiteY1" fmla="*/ 7890 h 10000"/>
                <a:gd name="connsiteX2" fmla="*/ 445 w 9459"/>
                <a:gd name="connsiteY2" fmla="*/ 8955 h 10000"/>
                <a:gd name="connsiteX3" fmla="*/ 852 w 9459"/>
                <a:gd name="connsiteY3" fmla="*/ 10000 h 10000"/>
                <a:gd name="connsiteX4" fmla="*/ 1262 w 9459"/>
                <a:gd name="connsiteY4" fmla="*/ 9222 h 10000"/>
                <a:gd name="connsiteX5" fmla="*/ 1633 w 9459"/>
                <a:gd name="connsiteY5" fmla="*/ 8403 h 10000"/>
                <a:gd name="connsiteX6" fmla="*/ 2025 w 9459"/>
                <a:gd name="connsiteY6" fmla="*/ 7602 h 10000"/>
                <a:gd name="connsiteX7" fmla="*/ 2361 w 9459"/>
                <a:gd name="connsiteY7" fmla="*/ 6782 h 10000"/>
                <a:gd name="connsiteX8" fmla="*/ 3038 w 9459"/>
                <a:gd name="connsiteY8" fmla="*/ 5165 h 10000"/>
                <a:gd name="connsiteX9" fmla="*/ 3376 w 9459"/>
                <a:gd name="connsiteY9" fmla="*/ 4386 h 10000"/>
                <a:gd name="connsiteX10" fmla="*/ 3695 w 9459"/>
                <a:gd name="connsiteY10" fmla="*/ 3647 h 10000"/>
                <a:gd name="connsiteX11" fmla="*/ 4029 w 9459"/>
                <a:gd name="connsiteY11" fmla="*/ 2972 h 10000"/>
                <a:gd name="connsiteX12" fmla="*/ 4368 w 9459"/>
                <a:gd name="connsiteY12" fmla="*/ 2357 h 10000"/>
                <a:gd name="connsiteX13" fmla="*/ 4547 w 9459"/>
                <a:gd name="connsiteY13" fmla="*/ 2048 h 10000"/>
                <a:gd name="connsiteX14" fmla="*/ 4725 w 9459"/>
                <a:gd name="connsiteY14" fmla="*/ 1803 h 10000"/>
                <a:gd name="connsiteX15" fmla="*/ 4920 w 9459"/>
                <a:gd name="connsiteY15" fmla="*/ 1536 h 10000"/>
                <a:gd name="connsiteX16" fmla="*/ 5098 w 9459"/>
                <a:gd name="connsiteY16" fmla="*/ 1312 h 10000"/>
                <a:gd name="connsiteX17" fmla="*/ 5292 w 9459"/>
                <a:gd name="connsiteY17" fmla="*/ 1109 h 10000"/>
                <a:gd name="connsiteX18" fmla="*/ 5488 w 9459"/>
                <a:gd name="connsiteY18" fmla="*/ 922 h 10000"/>
                <a:gd name="connsiteX19" fmla="*/ 5685 w 9459"/>
                <a:gd name="connsiteY19" fmla="*/ 758 h 10000"/>
                <a:gd name="connsiteX20" fmla="*/ 5898 w 9459"/>
                <a:gd name="connsiteY20" fmla="*/ 634 h 10000"/>
                <a:gd name="connsiteX21" fmla="*/ 6091 w 9459"/>
                <a:gd name="connsiteY21" fmla="*/ 512 h 10000"/>
                <a:gd name="connsiteX22" fmla="*/ 6305 w 9459"/>
                <a:gd name="connsiteY22" fmla="*/ 450 h 10000"/>
                <a:gd name="connsiteX23" fmla="*/ 6534 w 9459"/>
                <a:gd name="connsiteY23" fmla="*/ 388 h 10000"/>
                <a:gd name="connsiteX24" fmla="*/ 6766 w 9459"/>
                <a:gd name="connsiteY24" fmla="*/ 388 h 10000"/>
                <a:gd name="connsiteX25" fmla="*/ 7050 w 9459"/>
                <a:gd name="connsiteY25" fmla="*/ 410 h 10000"/>
                <a:gd name="connsiteX26" fmla="*/ 7333 w 9459"/>
                <a:gd name="connsiteY26" fmla="*/ 492 h 10000"/>
                <a:gd name="connsiteX27" fmla="*/ 7584 w 9459"/>
                <a:gd name="connsiteY27" fmla="*/ 634 h 10000"/>
                <a:gd name="connsiteX28" fmla="*/ 7851 w 9459"/>
                <a:gd name="connsiteY28" fmla="*/ 780 h 10000"/>
                <a:gd name="connsiteX29" fmla="*/ 8080 w 9459"/>
                <a:gd name="connsiteY29" fmla="*/ 985 h 10000"/>
                <a:gd name="connsiteX30" fmla="*/ 8330 w 9459"/>
                <a:gd name="connsiteY30" fmla="*/ 1250 h 10000"/>
                <a:gd name="connsiteX31" fmla="*/ 8543 w 9459"/>
                <a:gd name="connsiteY31" fmla="*/ 1536 h 10000"/>
                <a:gd name="connsiteX32" fmla="*/ 8792 w 9459"/>
                <a:gd name="connsiteY32" fmla="*/ 1864 h 10000"/>
                <a:gd name="connsiteX33" fmla="*/ 8989 w 9459"/>
                <a:gd name="connsiteY33" fmla="*/ 2213 h 10000"/>
                <a:gd name="connsiteX34" fmla="*/ 9200 w 9459"/>
                <a:gd name="connsiteY34" fmla="*/ 2602 h 10000"/>
                <a:gd name="connsiteX35" fmla="*/ 9450 w 9459"/>
                <a:gd name="connsiteY35" fmla="*/ 1086 h 10000"/>
                <a:gd name="connsiteX36" fmla="*/ 8844 w 9459"/>
                <a:gd name="connsiteY36" fmla="*/ 656 h 10000"/>
                <a:gd name="connsiteX37" fmla="*/ 8525 w 9459"/>
                <a:gd name="connsiteY37" fmla="*/ 470 h 10000"/>
                <a:gd name="connsiteX38" fmla="*/ 8206 w 9459"/>
                <a:gd name="connsiteY38" fmla="*/ 307 h 10000"/>
                <a:gd name="connsiteX39" fmla="*/ 7869 w 9459"/>
                <a:gd name="connsiteY39" fmla="*/ 184 h 10000"/>
                <a:gd name="connsiteX40" fmla="*/ 7511 w 9459"/>
                <a:gd name="connsiteY40" fmla="*/ 101 h 10000"/>
                <a:gd name="connsiteX41" fmla="*/ 7140 w 9459"/>
                <a:gd name="connsiteY41" fmla="*/ 21 h 10000"/>
                <a:gd name="connsiteX42" fmla="*/ 6766 w 9459"/>
                <a:gd name="connsiteY42" fmla="*/ 0 h 10000"/>
                <a:gd name="connsiteX43" fmla="*/ 6447 w 9459"/>
                <a:gd name="connsiteY43" fmla="*/ 21 h 10000"/>
                <a:gd name="connsiteX44" fmla="*/ 6146 w 9459"/>
                <a:gd name="connsiteY44" fmla="*/ 61 h 10000"/>
                <a:gd name="connsiteX45" fmla="*/ 5845 w 9459"/>
                <a:gd name="connsiteY45" fmla="*/ 124 h 10000"/>
                <a:gd name="connsiteX46" fmla="*/ 5578 w 9459"/>
                <a:gd name="connsiteY46" fmla="*/ 184 h 10000"/>
                <a:gd name="connsiteX47" fmla="*/ 5292 w 9459"/>
                <a:gd name="connsiteY47" fmla="*/ 285 h 10000"/>
                <a:gd name="connsiteX48" fmla="*/ 5008 w 9459"/>
                <a:gd name="connsiteY48" fmla="*/ 388 h 10000"/>
                <a:gd name="connsiteX49" fmla="*/ 4760 w 9459"/>
                <a:gd name="connsiteY49" fmla="*/ 532 h 10000"/>
                <a:gd name="connsiteX50" fmla="*/ 4492 w 9459"/>
                <a:gd name="connsiteY50" fmla="*/ 698 h 10000"/>
                <a:gd name="connsiteX51" fmla="*/ 4263 w 9459"/>
                <a:gd name="connsiteY51" fmla="*/ 881 h 10000"/>
                <a:gd name="connsiteX52" fmla="*/ 4016 w 9459"/>
                <a:gd name="connsiteY52" fmla="*/ 1065 h 10000"/>
                <a:gd name="connsiteX53" fmla="*/ 3784 w 9459"/>
                <a:gd name="connsiteY53" fmla="*/ 1271 h 10000"/>
                <a:gd name="connsiteX54" fmla="*/ 3553 w 9459"/>
                <a:gd name="connsiteY54" fmla="*/ 1497 h 10000"/>
                <a:gd name="connsiteX55" fmla="*/ 3340 w 9459"/>
                <a:gd name="connsiteY55" fmla="*/ 1720 h 10000"/>
                <a:gd name="connsiteX56" fmla="*/ 3108 w 9459"/>
                <a:gd name="connsiteY56" fmla="*/ 1989 h 10000"/>
                <a:gd name="connsiteX57" fmla="*/ 2700 w 9459"/>
                <a:gd name="connsiteY57" fmla="*/ 2540 h 10000"/>
                <a:gd name="connsiteX58" fmla="*/ 2310 w 9459"/>
                <a:gd name="connsiteY58" fmla="*/ 3116 h 10000"/>
                <a:gd name="connsiteX59" fmla="*/ 1938 w 9459"/>
                <a:gd name="connsiteY59" fmla="*/ 3730 h 10000"/>
                <a:gd name="connsiteX60" fmla="*/ 1580 w 9459"/>
                <a:gd name="connsiteY60" fmla="*/ 4386 h 10000"/>
                <a:gd name="connsiteX61" fmla="*/ 1244 w 9459"/>
                <a:gd name="connsiteY61" fmla="*/ 5062 h 10000"/>
                <a:gd name="connsiteX62" fmla="*/ 923 w 9459"/>
                <a:gd name="connsiteY62" fmla="*/ 5737 h 10000"/>
                <a:gd name="connsiteX63" fmla="*/ 606 w 9459"/>
                <a:gd name="connsiteY63" fmla="*/ 6455 h 10000"/>
                <a:gd name="connsiteX64" fmla="*/ 0 w 9459"/>
                <a:gd name="connsiteY64" fmla="*/ 7890 h 10000"/>
                <a:gd name="connsiteX0" fmla="*/ 0 w 9821"/>
                <a:gd name="connsiteY0" fmla="*/ 7890 h 10000"/>
                <a:gd name="connsiteX1" fmla="*/ 0 w 9821"/>
                <a:gd name="connsiteY1" fmla="*/ 7890 h 10000"/>
                <a:gd name="connsiteX2" fmla="*/ 470 w 9821"/>
                <a:gd name="connsiteY2" fmla="*/ 8955 h 10000"/>
                <a:gd name="connsiteX3" fmla="*/ 901 w 9821"/>
                <a:gd name="connsiteY3" fmla="*/ 10000 h 10000"/>
                <a:gd name="connsiteX4" fmla="*/ 1334 w 9821"/>
                <a:gd name="connsiteY4" fmla="*/ 9222 h 10000"/>
                <a:gd name="connsiteX5" fmla="*/ 1726 w 9821"/>
                <a:gd name="connsiteY5" fmla="*/ 8403 h 10000"/>
                <a:gd name="connsiteX6" fmla="*/ 2141 w 9821"/>
                <a:gd name="connsiteY6" fmla="*/ 7602 h 10000"/>
                <a:gd name="connsiteX7" fmla="*/ 2496 w 9821"/>
                <a:gd name="connsiteY7" fmla="*/ 6782 h 10000"/>
                <a:gd name="connsiteX8" fmla="*/ 3212 w 9821"/>
                <a:gd name="connsiteY8" fmla="*/ 5165 h 10000"/>
                <a:gd name="connsiteX9" fmla="*/ 3569 w 9821"/>
                <a:gd name="connsiteY9" fmla="*/ 4386 h 10000"/>
                <a:gd name="connsiteX10" fmla="*/ 3906 w 9821"/>
                <a:gd name="connsiteY10" fmla="*/ 3647 h 10000"/>
                <a:gd name="connsiteX11" fmla="*/ 4259 w 9821"/>
                <a:gd name="connsiteY11" fmla="*/ 2972 h 10000"/>
                <a:gd name="connsiteX12" fmla="*/ 4618 w 9821"/>
                <a:gd name="connsiteY12" fmla="*/ 2357 h 10000"/>
                <a:gd name="connsiteX13" fmla="*/ 4807 w 9821"/>
                <a:gd name="connsiteY13" fmla="*/ 2048 h 10000"/>
                <a:gd name="connsiteX14" fmla="*/ 4995 w 9821"/>
                <a:gd name="connsiteY14" fmla="*/ 1803 h 10000"/>
                <a:gd name="connsiteX15" fmla="*/ 5201 w 9821"/>
                <a:gd name="connsiteY15" fmla="*/ 1536 h 10000"/>
                <a:gd name="connsiteX16" fmla="*/ 5390 w 9821"/>
                <a:gd name="connsiteY16" fmla="*/ 1312 h 10000"/>
                <a:gd name="connsiteX17" fmla="*/ 5595 w 9821"/>
                <a:gd name="connsiteY17" fmla="*/ 1109 h 10000"/>
                <a:gd name="connsiteX18" fmla="*/ 5802 w 9821"/>
                <a:gd name="connsiteY18" fmla="*/ 922 h 10000"/>
                <a:gd name="connsiteX19" fmla="*/ 6010 w 9821"/>
                <a:gd name="connsiteY19" fmla="*/ 758 h 10000"/>
                <a:gd name="connsiteX20" fmla="*/ 6235 w 9821"/>
                <a:gd name="connsiteY20" fmla="*/ 634 h 10000"/>
                <a:gd name="connsiteX21" fmla="*/ 6439 w 9821"/>
                <a:gd name="connsiteY21" fmla="*/ 512 h 10000"/>
                <a:gd name="connsiteX22" fmla="*/ 6666 w 9821"/>
                <a:gd name="connsiteY22" fmla="*/ 450 h 10000"/>
                <a:gd name="connsiteX23" fmla="*/ 6908 w 9821"/>
                <a:gd name="connsiteY23" fmla="*/ 388 h 10000"/>
                <a:gd name="connsiteX24" fmla="*/ 7153 w 9821"/>
                <a:gd name="connsiteY24" fmla="*/ 388 h 10000"/>
                <a:gd name="connsiteX25" fmla="*/ 7453 w 9821"/>
                <a:gd name="connsiteY25" fmla="*/ 410 h 10000"/>
                <a:gd name="connsiteX26" fmla="*/ 7752 w 9821"/>
                <a:gd name="connsiteY26" fmla="*/ 492 h 10000"/>
                <a:gd name="connsiteX27" fmla="*/ 8018 w 9821"/>
                <a:gd name="connsiteY27" fmla="*/ 634 h 10000"/>
                <a:gd name="connsiteX28" fmla="*/ 8300 w 9821"/>
                <a:gd name="connsiteY28" fmla="*/ 780 h 10000"/>
                <a:gd name="connsiteX29" fmla="*/ 8542 w 9821"/>
                <a:gd name="connsiteY29" fmla="*/ 985 h 10000"/>
                <a:gd name="connsiteX30" fmla="*/ 8806 w 9821"/>
                <a:gd name="connsiteY30" fmla="*/ 1250 h 10000"/>
                <a:gd name="connsiteX31" fmla="*/ 9032 w 9821"/>
                <a:gd name="connsiteY31" fmla="*/ 1536 h 10000"/>
                <a:gd name="connsiteX32" fmla="*/ 9295 w 9821"/>
                <a:gd name="connsiteY32" fmla="*/ 1864 h 10000"/>
                <a:gd name="connsiteX33" fmla="*/ 9503 w 9821"/>
                <a:gd name="connsiteY33" fmla="*/ 2213 h 10000"/>
                <a:gd name="connsiteX34" fmla="*/ 9726 w 9821"/>
                <a:gd name="connsiteY34" fmla="*/ 2602 h 10000"/>
                <a:gd name="connsiteX35" fmla="*/ 9792 w 9821"/>
                <a:gd name="connsiteY35" fmla="*/ 1086 h 10000"/>
                <a:gd name="connsiteX36" fmla="*/ 9350 w 9821"/>
                <a:gd name="connsiteY36" fmla="*/ 656 h 10000"/>
                <a:gd name="connsiteX37" fmla="*/ 9013 w 9821"/>
                <a:gd name="connsiteY37" fmla="*/ 470 h 10000"/>
                <a:gd name="connsiteX38" fmla="*/ 8675 w 9821"/>
                <a:gd name="connsiteY38" fmla="*/ 307 h 10000"/>
                <a:gd name="connsiteX39" fmla="*/ 8319 w 9821"/>
                <a:gd name="connsiteY39" fmla="*/ 184 h 10000"/>
                <a:gd name="connsiteX40" fmla="*/ 7941 w 9821"/>
                <a:gd name="connsiteY40" fmla="*/ 101 h 10000"/>
                <a:gd name="connsiteX41" fmla="*/ 7548 w 9821"/>
                <a:gd name="connsiteY41" fmla="*/ 21 h 10000"/>
                <a:gd name="connsiteX42" fmla="*/ 7153 w 9821"/>
                <a:gd name="connsiteY42" fmla="*/ 0 h 10000"/>
                <a:gd name="connsiteX43" fmla="*/ 6816 w 9821"/>
                <a:gd name="connsiteY43" fmla="*/ 21 h 10000"/>
                <a:gd name="connsiteX44" fmla="*/ 6498 w 9821"/>
                <a:gd name="connsiteY44" fmla="*/ 61 h 10000"/>
                <a:gd name="connsiteX45" fmla="*/ 6179 w 9821"/>
                <a:gd name="connsiteY45" fmla="*/ 124 h 10000"/>
                <a:gd name="connsiteX46" fmla="*/ 5897 w 9821"/>
                <a:gd name="connsiteY46" fmla="*/ 184 h 10000"/>
                <a:gd name="connsiteX47" fmla="*/ 5595 w 9821"/>
                <a:gd name="connsiteY47" fmla="*/ 285 h 10000"/>
                <a:gd name="connsiteX48" fmla="*/ 5294 w 9821"/>
                <a:gd name="connsiteY48" fmla="*/ 388 h 10000"/>
                <a:gd name="connsiteX49" fmla="*/ 5032 w 9821"/>
                <a:gd name="connsiteY49" fmla="*/ 532 h 10000"/>
                <a:gd name="connsiteX50" fmla="*/ 4749 w 9821"/>
                <a:gd name="connsiteY50" fmla="*/ 698 h 10000"/>
                <a:gd name="connsiteX51" fmla="*/ 4507 w 9821"/>
                <a:gd name="connsiteY51" fmla="*/ 881 h 10000"/>
                <a:gd name="connsiteX52" fmla="*/ 4246 w 9821"/>
                <a:gd name="connsiteY52" fmla="*/ 1065 h 10000"/>
                <a:gd name="connsiteX53" fmla="*/ 4000 w 9821"/>
                <a:gd name="connsiteY53" fmla="*/ 1271 h 10000"/>
                <a:gd name="connsiteX54" fmla="*/ 3756 w 9821"/>
                <a:gd name="connsiteY54" fmla="*/ 1497 h 10000"/>
                <a:gd name="connsiteX55" fmla="*/ 3531 w 9821"/>
                <a:gd name="connsiteY55" fmla="*/ 1720 h 10000"/>
                <a:gd name="connsiteX56" fmla="*/ 3286 w 9821"/>
                <a:gd name="connsiteY56" fmla="*/ 1989 h 10000"/>
                <a:gd name="connsiteX57" fmla="*/ 2854 w 9821"/>
                <a:gd name="connsiteY57" fmla="*/ 2540 h 10000"/>
                <a:gd name="connsiteX58" fmla="*/ 2442 w 9821"/>
                <a:gd name="connsiteY58" fmla="*/ 3116 h 10000"/>
                <a:gd name="connsiteX59" fmla="*/ 2049 w 9821"/>
                <a:gd name="connsiteY59" fmla="*/ 3730 h 10000"/>
                <a:gd name="connsiteX60" fmla="*/ 1670 w 9821"/>
                <a:gd name="connsiteY60" fmla="*/ 4386 h 10000"/>
                <a:gd name="connsiteX61" fmla="*/ 1315 w 9821"/>
                <a:gd name="connsiteY61" fmla="*/ 5062 h 10000"/>
                <a:gd name="connsiteX62" fmla="*/ 976 w 9821"/>
                <a:gd name="connsiteY62" fmla="*/ 5737 h 10000"/>
                <a:gd name="connsiteX63" fmla="*/ 641 w 9821"/>
                <a:gd name="connsiteY63" fmla="*/ 6455 h 10000"/>
                <a:gd name="connsiteX64" fmla="*/ 0 w 9821"/>
                <a:gd name="connsiteY64" fmla="*/ 7890 h 10000"/>
                <a:gd name="connsiteX0" fmla="*/ 0 w 9903"/>
                <a:gd name="connsiteY0" fmla="*/ 7890 h 10000"/>
                <a:gd name="connsiteX1" fmla="*/ 0 w 9903"/>
                <a:gd name="connsiteY1" fmla="*/ 7890 h 10000"/>
                <a:gd name="connsiteX2" fmla="*/ 479 w 9903"/>
                <a:gd name="connsiteY2" fmla="*/ 8955 h 10000"/>
                <a:gd name="connsiteX3" fmla="*/ 917 w 9903"/>
                <a:gd name="connsiteY3" fmla="*/ 10000 h 10000"/>
                <a:gd name="connsiteX4" fmla="*/ 1358 w 9903"/>
                <a:gd name="connsiteY4" fmla="*/ 9222 h 10000"/>
                <a:gd name="connsiteX5" fmla="*/ 1757 w 9903"/>
                <a:gd name="connsiteY5" fmla="*/ 8403 h 10000"/>
                <a:gd name="connsiteX6" fmla="*/ 2180 w 9903"/>
                <a:gd name="connsiteY6" fmla="*/ 7602 h 10000"/>
                <a:gd name="connsiteX7" fmla="*/ 2541 w 9903"/>
                <a:gd name="connsiteY7" fmla="*/ 6782 h 10000"/>
                <a:gd name="connsiteX8" fmla="*/ 3271 w 9903"/>
                <a:gd name="connsiteY8" fmla="*/ 5165 h 10000"/>
                <a:gd name="connsiteX9" fmla="*/ 3634 w 9903"/>
                <a:gd name="connsiteY9" fmla="*/ 4386 h 10000"/>
                <a:gd name="connsiteX10" fmla="*/ 3977 w 9903"/>
                <a:gd name="connsiteY10" fmla="*/ 3647 h 10000"/>
                <a:gd name="connsiteX11" fmla="*/ 4337 w 9903"/>
                <a:gd name="connsiteY11" fmla="*/ 2972 h 10000"/>
                <a:gd name="connsiteX12" fmla="*/ 4702 w 9903"/>
                <a:gd name="connsiteY12" fmla="*/ 2357 h 10000"/>
                <a:gd name="connsiteX13" fmla="*/ 4895 w 9903"/>
                <a:gd name="connsiteY13" fmla="*/ 2048 h 10000"/>
                <a:gd name="connsiteX14" fmla="*/ 5086 w 9903"/>
                <a:gd name="connsiteY14" fmla="*/ 1803 h 10000"/>
                <a:gd name="connsiteX15" fmla="*/ 5296 w 9903"/>
                <a:gd name="connsiteY15" fmla="*/ 1536 h 10000"/>
                <a:gd name="connsiteX16" fmla="*/ 5488 w 9903"/>
                <a:gd name="connsiteY16" fmla="*/ 1312 h 10000"/>
                <a:gd name="connsiteX17" fmla="*/ 5697 w 9903"/>
                <a:gd name="connsiteY17" fmla="*/ 1109 h 10000"/>
                <a:gd name="connsiteX18" fmla="*/ 5908 w 9903"/>
                <a:gd name="connsiteY18" fmla="*/ 922 h 10000"/>
                <a:gd name="connsiteX19" fmla="*/ 6120 w 9903"/>
                <a:gd name="connsiteY19" fmla="*/ 758 h 10000"/>
                <a:gd name="connsiteX20" fmla="*/ 6349 w 9903"/>
                <a:gd name="connsiteY20" fmla="*/ 634 h 10000"/>
                <a:gd name="connsiteX21" fmla="*/ 6556 w 9903"/>
                <a:gd name="connsiteY21" fmla="*/ 512 h 10000"/>
                <a:gd name="connsiteX22" fmla="*/ 6787 w 9903"/>
                <a:gd name="connsiteY22" fmla="*/ 450 h 10000"/>
                <a:gd name="connsiteX23" fmla="*/ 7034 w 9903"/>
                <a:gd name="connsiteY23" fmla="*/ 388 h 10000"/>
                <a:gd name="connsiteX24" fmla="*/ 7283 w 9903"/>
                <a:gd name="connsiteY24" fmla="*/ 388 h 10000"/>
                <a:gd name="connsiteX25" fmla="*/ 7589 w 9903"/>
                <a:gd name="connsiteY25" fmla="*/ 410 h 10000"/>
                <a:gd name="connsiteX26" fmla="*/ 7893 w 9903"/>
                <a:gd name="connsiteY26" fmla="*/ 492 h 10000"/>
                <a:gd name="connsiteX27" fmla="*/ 8164 w 9903"/>
                <a:gd name="connsiteY27" fmla="*/ 634 h 10000"/>
                <a:gd name="connsiteX28" fmla="*/ 8451 w 9903"/>
                <a:gd name="connsiteY28" fmla="*/ 780 h 10000"/>
                <a:gd name="connsiteX29" fmla="*/ 8698 w 9903"/>
                <a:gd name="connsiteY29" fmla="*/ 985 h 10000"/>
                <a:gd name="connsiteX30" fmla="*/ 8967 w 9903"/>
                <a:gd name="connsiteY30" fmla="*/ 1250 h 10000"/>
                <a:gd name="connsiteX31" fmla="*/ 9197 w 9903"/>
                <a:gd name="connsiteY31" fmla="*/ 1536 h 10000"/>
                <a:gd name="connsiteX32" fmla="*/ 9464 w 9903"/>
                <a:gd name="connsiteY32" fmla="*/ 1864 h 10000"/>
                <a:gd name="connsiteX33" fmla="*/ 9676 w 9903"/>
                <a:gd name="connsiteY33" fmla="*/ 2213 h 10000"/>
                <a:gd name="connsiteX34" fmla="*/ 9903 w 9903"/>
                <a:gd name="connsiteY34" fmla="*/ 2602 h 10000"/>
                <a:gd name="connsiteX35" fmla="*/ 9520 w 9903"/>
                <a:gd name="connsiteY35" fmla="*/ 656 h 10000"/>
                <a:gd name="connsiteX36" fmla="*/ 9177 w 9903"/>
                <a:gd name="connsiteY36" fmla="*/ 470 h 10000"/>
                <a:gd name="connsiteX37" fmla="*/ 8833 w 9903"/>
                <a:gd name="connsiteY37" fmla="*/ 307 h 10000"/>
                <a:gd name="connsiteX38" fmla="*/ 8471 w 9903"/>
                <a:gd name="connsiteY38" fmla="*/ 184 h 10000"/>
                <a:gd name="connsiteX39" fmla="*/ 8086 w 9903"/>
                <a:gd name="connsiteY39" fmla="*/ 101 h 10000"/>
                <a:gd name="connsiteX40" fmla="*/ 7686 w 9903"/>
                <a:gd name="connsiteY40" fmla="*/ 21 h 10000"/>
                <a:gd name="connsiteX41" fmla="*/ 7283 w 9903"/>
                <a:gd name="connsiteY41" fmla="*/ 0 h 10000"/>
                <a:gd name="connsiteX42" fmla="*/ 6940 w 9903"/>
                <a:gd name="connsiteY42" fmla="*/ 21 h 10000"/>
                <a:gd name="connsiteX43" fmla="*/ 6616 w 9903"/>
                <a:gd name="connsiteY43" fmla="*/ 61 h 10000"/>
                <a:gd name="connsiteX44" fmla="*/ 6292 w 9903"/>
                <a:gd name="connsiteY44" fmla="*/ 124 h 10000"/>
                <a:gd name="connsiteX45" fmla="*/ 6004 w 9903"/>
                <a:gd name="connsiteY45" fmla="*/ 184 h 10000"/>
                <a:gd name="connsiteX46" fmla="*/ 5697 w 9903"/>
                <a:gd name="connsiteY46" fmla="*/ 285 h 10000"/>
                <a:gd name="connsiteX47" fmla="*/ 5390 w 9903"/>
                <a:gd name="connsiteY47" fmla="*/ 388 h 10000"/>
                <a:gd name="connsiteX48" fmla="*/ 5124 w 9903"/>
                <a:gd name="connsiteY48" fmla="*/ 532 h 10000"/>
                <a:gd name="connsiteX49" fmla="*/ 4836 w 9903"/>
                <a:gd name="connsiteY49" fmla="*/ 698 h 10000"/>
                <a:gd name="connsiteX50" fmla="*/ 4589 w 9903"/>
                <a:gd name="connsiteY50" fmla="*/ 881 h 10000"/>
                <a:gd name="connsiteX51" fmla="*/ 4323 w 9903"/>
                <a:gd name="connsiteY51" fmla="*/ 1065 h 10000"/>
                <a:gd name="connsiteX52" fmla="*/ 4073 w 9903"/>
                <a:gd name="connsiteY52" fmla="*/ 1271 h 10000"/>
                <a:gd name="connsiteX53" fmla="*/ 3824 w 9903"/>
                <a:gd name="connsiteY53" fmla="*/ 1497 h 10000"/>
                <a:gd name="connsiteX54" fmla="*/ 3595 w 9903"/>
                <a:gd name="connsiteY54" fmla="*/ 1720 h 10000"/>
                <a:gd name="connsiteX55" fmla="*/ 3346 w 9903"/>
                <a:gd name="connsiteY55" fmla="*/ 1989 h 10000"/>
                <a:gd name="connsiteX56" fmla="*/ 2906 w 9903"/>
                <a:gd name="connsiteY56" fmla="*/ 2540 h 10000"/>
                <a:gd name="connsiteX57" fmla="*/ 2487 w 9903"/>
                <a:gd name="connsiteY57" fmla="*/ 3116 h 10000"/>
                <a:gd name="connsiteX58" fmla="*/ 2086 w 9903"/>
                <a:gd name="connsiteY58" fmla="*/ 3730 h 10000"/>
                <a:gd name="connsiteX59" fmla="*/ 1700 w 9903"/>
                <a:gd name="connsiteY59" fmla="*/ 4386 h 10000"/>
                <a:gd name="connsiteX60" fmla="*/ 1339 w 9903"/>
                <a:gd name="connsiteY60" fmla="*/ 5062 h 10000"/>
                <a:gd name="connsiteX61" fmla="*/ 994 w 9903"/>
                <a:gd name="connsiteY61" fmla="*/ 5737 h 10000"/>
                <a:gd name="connsiteX62" fmla="*/ 653 w 9903"/>
                <a:gd name="connsiteY62" fmla="*/ 6455 h 10000"/>
                <a:gd name="connsiteX63" fmla="*/ 0 w 9903"/>
                <a:gd name="connsiteY63" fmla="*/ 7890 h 10000"/>
                <a:gd name="connsiteX0" fmla="*/ 0 w 9771"/>
                <a:gd name="connsiteY0" fmla="*/ 7890 h 10000"/>
                <a:gd name="connsiteX1" fmla="*/ 0 w 9771"/>
                <a:gd name="connsiteY1" fmla="*/ 7890 h 10000"/>
                <a:gd name="connsiteX2" fmla="*/ 484 w 9771"/>
                <a:gd name="connsiteY2" fmla="*/ 8955 h 10000"/>
                <a:gd name="connsiteX3" fmla="*/ 926 w 9771"/>
                <a:gd name="connsiteY3" fmla="*/ 10000 h 10000"/>
                <a:gd name="connsiteX4" fmla="*/ 1371 w 9771"/>
                <a:gd name="connsiteY4" fmla="*/ 9222 h 10000"/>
                <a:gd name="connsiteX5" fmla="*/ 1774 w 9771"/>
                <a:gd name="connsiteY5" fmla="*/ 8403 h 10000"/>
                <a:gd name="connsiteX6" fmla="*/ 2201 w 9771"/>
                <a:gd name="connsiteY6" fmla="*/ 7602 h 10000"/>
                <a:gd name="connsiteX7" fmla="*/ 2566 w 9771"/>
                <a:gd name="connsiteY7" fmla="*/ 6782 h 10000"/>
                <a:gd name="connsiteX8" fmla="*/ 3303 w 9771"/>
                <a:gd name="connsiteY8" fmla="*/ 5165 h 10000"/>
                <a:gd name="connsiteX9" fmla="*/ 3670 w 9771"/>
                <a:gd name="connsiteY9" fmla="*/ 4386 h 10000"/>
                <a:gd name="connsiteX10" fmla="*/ 4016 w 9771"/>
                <a:gd name="connsiteY10" fmla="*/ 3647 h 10000"/>
                <a:gd name="connsiteX11" fmla="*/ 4379 w 9771"/>
                <a:gd name="connsiteY11" fmla="*/ 2972 h 10000"/>
                <a:gd name="connsiteX12" fmla="*/ 4748 w 9771"/>
                <a:gd name="connsiteY12" fmla="*/ 2357 h 10000"/>
                <a:gd name="connsiteX13" fmla="*/ 4943 w 9771"/>
                <a:gd name="connsiteY13" fmla="*/ 2048 h 10000"/>
                <a:gd name="connsiteX14" fmla="*/ 5136 w 9771"/>
                <a:gd name="connsiteY14" fmla="*/ 1803 h 10000"/>
                <a:gd name="connsiteX15" fmla="*/ 5348 w 9771"/>
                <a:gd name="connsiteY15" fmla="*/ 1536 h 10000"/>
                <a:gd name="connsiteX16" fmla="*/ 5542 w 9771"/>
                <a:gd name="connsiteY16" fmla="*/ 1312 h 10000"/>
                <a:gd name="connsiteX17" fmla="*/ 5753 w 9771"/>
                <a:gd name="connsiteY17" fmla="*/ 1109 h 10000"/>
                <a:gd name="connsiteX18" fmla="*/ 5966 w 9771"/>
                <a:gd name="connsiteY18" fmla="*/ 922 h 10000"/>
                <a:gd name="connsiteX19" fmla="*/ 6180 w 9771"/>
                <a:gd name="connsiteY19" fmla="*/ 758 h 10000"/>
                <a:gd name="connsiteX20" fmla="*/ 6411 w 9771"/>
                <a:gd name="connsiteY20" fmla="*/ 634 h 10000"/>
                <a:gd name="connsiteX21" fmla="*/ 6620 w 9771"/>
                <a:gd name="connsiteY21" fmla="*/ 512 h 10000"/>
                <a:gd name="connsiteX22" fmla="*/ 6853 w 9771"/>
                <a:gd name="connsiteY22" fmla="*/ 450 h 10000"/>
                <a:gd name="connsiteX23" fmla="*/ 7103 w 9771"/>
                <a:gd name="connsiteY23" fmla="*/ 388 h 10000"/>
                <a:gd name="connsiteX24" fmla="*/ 7354 w 9771"/>
                <a:gd name="connsiteY24" fmla="*/ 388 h 10000"/>
                <a:gd name="connsiteX25" fmla="*/ 7663 w 9771"/>
                <a:gd name="connsiteY25" fmla="*/ 410 h 10000"/>
                <a:gd name="connsiteX26" fmla="*/ 7970 w 9771"/>
                <a:gd name="connsiteY26" fmla="*/ 492 h 10000"/>
                <a:gd name="connsiteX27" fmla="*/ 8244 w 9771"/>
                <a:gd name="connsiteY27" fmla="*/ 634 h 10000"/>
                <a:gd name="connsiteX28" fmla="*/ 8534 w 9771"/>
                <a:gd name="connsiteY28" fmla="*/ 780 h 10000"/>
                <a:gd name="connsiteX29" fmla="*/ 8783 w 9771"/>
                <a:gd name="connsiteY29" fmla="*/ 985 h 10000"/>
                <a:gd name="connsiteX30" fmla="*/ 9055 w 9771"/>
                <a:gd name="connsiteY30" fmla="*/ 1250 h 10000"/>
                <a:gd name="connsiteX31" fmla="*/ 9287 w 9771"/>
                <a:gd name="connsiteY31" fmla="*/ 1536 h 10000"/>
                <a:gd name="connsiteX32" fmla="*/ 9557 w 9771"/>
                <a:gd name="connsiteY32" fmla="*/ 1864 h 10000"/>
                <a:gd name="connsiteX33" fmla="*/ 9771 w 9771"/>
                <a:gd name="connsiteY33" fmla="*/ 2213 h 10000"/>
                <a:gd name="connsiteX34" fmla="*/ 9613 w 9771"/>
                <a:gd name="connsiteY34" fmla="*/ 656 h 10000"/>
                <a:gd name="connsiteX35" fmla="*/ 9267 w 9771"/>
                <a:gd name="connsiteY35" fmla="*/ 470 h 10000"/>
                <a:gd name="connsiteX36" fmla="*/ 8920 w 9771"/>
                <a:gd name="connsiteY36" fmla="*/ 307 h 10000"/>
                <a:gd name="connsiteX37" fmla="*/ 8554 w 9771"/>
                <a:gd name="connsiteY37" fmla="*/ 184 h 10000"/>
                <a:gd name="connsiteX38" fmla="*/ 8165 w 9771"/>
                <a:gd name="connsiteY38" fmla="*/ 101 h 10000"/>
                <a:gd name="connsiteX39" fmla="*/ 7761 w 9771"/>
                <a:gd name="connsiteY39" fmla="*/ 21 h 10000"/>
                <a:gd name="connsiteX40" fmla="*/ 7354 w 9771"/>
                <a:gd name="connsiteY40" fmla="*/ 0 h 10000"/>
                <a:gd name="connsiteX41" fmla="*/ 7008 w 9771"/>
                <a:gd name="connsiteY41" fmla="*/ 21 h 10000"/>
                <a:gd name="connsiteX42" fmla="*/ 6681 w 9771"/>
                <a:gd name="connsiteY42" fmla="*/ 61 h 10000"/>
                <a:gd name="connsiteX43" fmla="*/ 6354 w 9771"/>
                <a:gd name="connsiteY43" fmla="*/ 124 h 10000"/>
                <a:gd name="connsiteX44" fmla="*/ 6063 w 9771"/>
                <a:gd name="connsiteY44" fmla="*/ 184 h 10000"/>
                <a:gd name="connsiteX45" fmla="*/ 5753 w 9771"/>
                <a:gd name="connsiteY45" fmla="*/ 285 h 10000"/>
                <a:gd name="connsiteX46" fmla="*/ 5443 w 9771"/>
                <a:gd name="connsiteY46" fmla="*/ 388 h 10000"/>
                <a:gd name="connsiteX47" fmla="*/ 5174 w 9771"/>
                <a:gd name="connsiteY47" fmla="*/ 532 h 10000"/>
                <a:gd name="connsiteX48" fmla="*/ 4883 w 9771"/>
                <a:gd name="connsiteY48" fmla="*/ 698 h 10000"/>
                <a:gd name="connsiteX49" fmla="*/ 4634 w 9771"/>
                <a:gd name="connsiteY49" fmla="*/ 881 h 10000"/>
                <a:gd name="connsiteX50" fmla="*/ 4365 w 9771"/>
                <a:gd name="connsiteY50" fmla="*/ 1065 h 10000"/>
                <a:gd name="connsiteX51" fmla="*/ 4113 w 9771"/>
                <a:gd name="connsiteY51" fmla="*/ 1271 h 10000"/>
                <a:gd name="connsiteX52" fmla="*/ 3861 w 9771"/>
                <a:gd name="connsiteY52" fmla="*/ 1497 h 10000"/>
                <a:gd name="connsiteX53" fmla="*/ 3630 w 9771"/>
                <a:gd name="connsiteY53" fmla="*/ 1720 h 10000"/>
                <a:gd name="connsiteX54" fmla="*/ 3379 w 9771"/>
                <a:gd name="connsiteY54" fmla="*/ 1989 h 10000"/>
                <a:gd name="connsiteX55" fmla="*/ 2934 w 9771"/>
                <a:gd name="connsiteY55" fmla="*/ 2540 h 10000"/>
                <a:gd name="connsiteX56" fmla="*/ 2511 w 9771"/>
                <a:gd name="connsiteY56" fmla="*/ 3116 h 10000"/>
                <a:gd name="connsiteX57" fmla="*/ 2106 w 9771"/>
                <a:gd name="connsiteY57" fmla="*/ 3730 h 10000"/>
                <a:gd name="connsiteX58" fmla="*/ 1717 w 9771"/>
                <a:gd name="connsiteY58" fmla="*/ 4386 h 10000"/>
                <a:gd name="connsiteX59" fmla="*/ 1352 w 9771"/>
                <a:gd name="connsiteY59" fmla="*/ 5062 h 10000"/>
                <a:gd name="connsiteX60" fmla="*/ 1004 w 9771"/>
                <a:gd name="connsiteY60" fmla="*/ 5737 h 10000"/>
                <a:gd name="connsiteX61" fmla="*/ 659 w 9771"/>
                <a:gd name="connsiteY61" fmla="*/ 6455 h 10000"/>
                <a:gd name="connsiteX62" fmla="*/ 0 w 9771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110 w 10000"/>
                <a:gd name="connsiteY10" fmla="*/ 3647 h 10000"/>
                <a:gd name="connsiteX11" fmla="*/ 4482 w 10000"/>
                <a:gd name="connsiteY11" fmla="*/ 2972 h 10000"/>
                <a:gd name="connsiteX12" fmla="*/ 4859 w 10000"/>
                <a:gd name="connsiteY12" fmla="*/ 2357 h 10000"/>
                <a:gd name="connsiteX13" fmla="*/ 5059 w 10000"/>
                <a:gd name="connsiteY13" fmla="*/ 2048 h 10000"/>
                <a:gd name="connsiteX14" fmla="*/ 5256 w 10000"/>
                <a:gd name="connsiteY14" fmla="*/ 1803 h 10000"/>
                <a:gd name="connsiteX15" fmla="*/ 5473 w 10000"/>
                <a:gd name="connsiteY15" fmla="*/ 1536 h 10000"/>
                <a:gd name="connsiteX16" fmla="*/ 5672 w 10000"/>
                <a:gd name="connsiteY16" fmla="*/ 1312 h 10000"/>
                <a:gd name="connsiteX17" fmla="*/ 5888 w 10000"/>
                <a:gd name="connsiteY17" fmla="*/ 1109 h 10000"/>
                <a:gd name="connsiteX18" fmla="*/ 6106 w 10000"/>
                <a:gd name="connsiteY18" fmla="*/ 922 h 10000"/>
                <a:gd name="connsiteX19" fmla="*/ 6325 w 10000"/>
                <a:gd name="connsiteY19" fmla="*/ 758 h 10000"/>
                <a:gd name="connsiteX20" fmla="*/ 6561 w 10000"/>
                <a:gd name="connsiteY20" fmla="*/ 634 h 10000"/>
                <a:gd name="connsiteX21" fmla="*/ 6775 w 10000"/>
                <a:gd name="connsiteY21" fmla="*/ 512 h 10000"/>
                <a:gd name="connsiteX22" fmla="*/ 7014 w 10000"/>
                <a:gd name="connsiteY22" fmla="*/ 450 h 10000"/>
                <a:gd name="connsiteX23" fmla="*/ 7269 w 10000"/>
                <a:gd name="connsiteY23" fmla="*/ 388 h 10000"/>
                <a:gd name="connsiteX24" fmla="*/ 7526 w 10000"/>
                <a:gd name="connsiteY24" fmla="*/ 388 h 10000"/>
                <a:gd name="connsiteX25" fmla="*/ 7843 w 10000"/>
                <a:gd name="connsiteY25" fmla="*/ 410 h 10000"/>
                <a:gd name="connsiteX26" fmla="*/ 8157 w 10000"/>
                <a:gd name="connsiteY26" fmla="*/ 492 h 10000"/>
                <a:gd name="connsiteX27" fmla="*/ 8437 w 10000"/>
                <a:gd name="connsiteY27" fmla="*/ 634 h 10000"/>
                <a:gd name="connsiteX28" fmla="*/ 8734 w 10000"/>
                <a:gd name="connsiteY28" fmla="*/ 780 h 10000"/>
                <a:gd name="connsiteX29" fmla="*/ 8989 w 10000"/>
                <a:gd name="connsiteY29" fmla="*/ 985 h 10000"/>
                <a:gd name="connsiteX30" fmla="*/ 9267 w 10000"/>
                <a:gd name="connsiteY30" fmla="*/ 1250 h 10000"/>
                <a:gd name="connsiteX31" fmla="*/ 9505 w 10000"/>
                <a:gd name="connsiteY31" fmla="*/ 1536 h 10000"/>
                <a:gd name="connsiteX32" fmla="*/ 9781 w 10000"/>
                <a:gd name="connsiteY32" fmla="*/ 1864 h 10000"/>
                <a:gd name="connsiteX33" fmla="*/ 10000 w 10000"/>
                <a:gd name="connsiteY33" fmla="*/ 2213 h 10000"/>
                <a:gd name="connsiteX34" fmla="*/ 9838 w 10000"/>
                <a:gd name="connsiteY34" fmla="*/ 656 h 10000"/>
                <a:gd name="connsiteX35" fmla="*/ 9484 w 10000"/>
                <a:gd name="connsiteY35" fmla="*/ 470 h 10000"/>
                <a:gd name="connsiteX36" fmla="*/ 9129 w 10000"/>
                <a:gd name="connsiteY36" fmla="*/ 307 h 10000"/>
                <a:gd name="connsiteX37" fmla="*/ 8754 w 10000"/>
                <a:gd name="connsiteY37" fmla="*/ 184 h 10000"/>
                <a:gd name="connsiteX38" fmla="*/ 8356 w 10000"/>
                <a:gd name="connsiteY38" fmla="*/ 101 h 10000"/>
                <a:gd name="connsiteX39" fmla="*/ 7943 w 10000"/>
                <a:gd name="connsiteY39" fmla="*/ 21 h 10000"/>
                <a:gd name="connsiteX40" fmla="*/ 7526 w 10000"/>
                <a:gd name="connsiteY40" fmla="*/ 0 h 10000"/>
                <a:gd name="connsiteX41" fmla="*/ 7172 w 10000"/>
                <a:gd name="connsiteY41" fmla="*/ 21 h 10000"/>
                <a:gd name="connsiteX42" fmla="*/ 6838 w 10000"/>
                <a:gd name="connsiteY42" fmla="*/ 61 h 10000"/>
                <a:gd name="connsiteX43" fmla="*/ 6503 w 10000"/>
                <a:gd name="connsiteY43" fmla="*/ 124 h 10000"/>
                <a:gd name="connsiteX44" fmla="*/ 6205 w 10000"/>
                <a:gd name="connsiteY44" fmla="*/ 184 h 10000"/>
                <a:gd name="connsiteX45" fmla="*/ 5888 w 10000"/>
                <a:gd name="connsiteY45" fmla="*/ 285 h 10000"/>
                <a:gd name="connsiteX46" fmla="*/ 5571 w 10000"/>
                <a:gd name="connsiteY46" fmla="*/ 388 h 10000"/>
                <a:gd name="connsiteX47" fmla="*/ 5295 w 10000"/>
                <a:gd name="connsiteY47" fmla="*/ 532 h 10000"/>
                <a:gd name="connsiteX48" fmla="*/ 4997 w 10000"/>
                <a:gd name="connsiteY48" fmla="*/ 698 h 10000"/>
                <a:gd name="connsiteX49" fmla="*/ 4743 w 10000"/>
                <a:gd name="connsiteY49" fmla="*/ 881 h 10000"/>
                <a:gd name="connsiteX50" fmla="*/ 4467 w 10000"/>
                <a:gd name="connsiteY50" fmla="*/ 1065 h 10000"/>
                <a:gd name="connsiteX51" fmla="*/ 4209 w 10000"/>
                <a:gd name="connsiteY51" fmla="*/ 1271 h 10000"/>
                <a:gd name="connsiteX52" fmla="*/ 3951 w 10000"/>
                <a:gd name="connsiteY52" fmla="*/ 1497 h 10000"/>
                <a:gd name="connsiteX53" fmla="*/ 3715 w 10000"/>
                <a:gd name="connsiteY53" fmla="*/ 1720 h 10000"/>
                <a:gd name="connsiteX54" fmla="*/ 3458 w 10000"/>
                <a:gd name="connsiteY54" fmla="*/ 1989 h 10000"/>
                <a:gd name="connsiteX55" fmla="*/ 3003 w 10000"/>
                <a:gd name="connsiteY55" fmla="*/ 2540 h 10000"/>
                <a:gd name="connsiteX56" fmla="*/ 2570 w 10000"/>
                <a:gd name="connsiteY56" fmla="*/ 3116 h 10000"/>
                <a:gd name="connsiteX57" fmla="*/ 2155 w 10000"/>
                <a:gd name="connsiteY57" fmla="*/ 3730 h 10000"/>
                <a:gd name="connsiteX58" fmla="*/ 1757 w 10000"/>
                <a:gd name="connsiteY58" fmla="*/ 4386 h 10000"/>
                <a:gd name="connsiteX59" fmla="*/ 1384 w 10000"/>
                <a:gd name="connsiteY59" fmla="*/ 5062 h 10000"/>
                <a:gd name="connsiteX60" fmla="*/ 1028 w 10000"/>
                <a:gd name="connsiteY60" fmla="*/ 5737 h 10000"/>
                <a:gd name="connsiteX61" fmla="*/ 674 w 10000"/>
                <a:gd name="connsiteY61" fmla="*/ 6455 h 10000"/>
                <a:gd name="connsiteX62" fmla="*/ 0 w 10000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482 w 10000"/>
                <a:gd name="connsiteY10" fmla="*/ 2972 h 10000"/>
                <a:gd name="connsiteX11" fmla="*/ 4859 w 10000"/>
                <a:gd name="connsiteY11" fmla="*/ 2357 h 10000"/>
                <a:gd name="connsiteX12" fmla="*/ 5059 w 10000"/>
                <a:gd name="connsiteY12" fmla="*/ 2048 h 10000"/>
                <a:gd name="connsiteX13" fmla="*/ 5256 w 10000"/>
                <a:gd name="connsiteY13" fmla="*/ 1803 h 10000"/>
                <a:gd name="connsiteX14" fmla="*/ 5473 w 10000"/>
                <a:gd name="connsiteY14" fmla="*/ 1536 h 10000"/>
                <a:gd name="connsiteX15" fmla="*/ 5672 w 10000"/>
                <a:gd name="connsiteY15" fmla="*/ 1312 h 10000"/>
                <a:gd name="connsiteX16" fmla="*/ 5888 w 10000"/>
                <a:gd name="connsiteY16" fmla="*/ 1109 h 10000"/>
                <a:gd name="connsiteX17" fmla="*/ 6106 w 10000"/>
                <a:gd name="connsiteY17" fmla="*/ 922 h 10000"/>
                <a:gd name="connsiteX18" fmla="*/ 6325 w 10000"/>
                <a:gd name="connsiteY18" fmla="*/ 758 h 10000"/>
                <a:gd name="connsiteX19" fmla="*/ 6561 w 10000"/>
                <a:gd name="connsiteY19" fmla="*/ 634 h 10000"/>
                <a:gd name="connsiteX20" fmla="*/ 6775 w 10000"/>
                <a:gd name="connsiteY20" fmla="*/ 512 h 10000"/>
                <a:gd name="connsiteX21" fmla="*/ 7014 w 10000"/>
                <a:gd name="connsiteY21" fmla="*/ 450 h 10000"/>
                <a:gd name="connsiteX22" fmla="*/ 7269 w 10000"/>
                <a:gd name="connsiteY22" fmla="*/ 388 h 10000"/>
                <a:gd name="connsiteX23" fmla="*/ 7526 w 10000"/>
                <a:gd name="connsiteY23" fmla="*/ 388 h 10000"/>
                <a:gd name="connsiteX24" fmla="*/ 7843 w 10000"/>
                <a:gd name="connsiteY24" fmla="*/ 410 h 10000"/>
                <a:gd name="connsiteX25" fmla="*/ 8157 w 10000"/>
                <a:gd name="connsiteY25" fmla="*/ 492 h 10000"/>
                <a:gd name="connsiteX26" fmla="*/ 8437 w 10000"/>
                <a:gd name="connsiteY26" fmla="*/ 634 h 10000"/>
                <a:gd name="connsiteX27" fmla="*/ 8734 w 10000"/>
                <a:gd name="connsiteY27" fmla="*/ 780 h 10000"/>
                <a:gd name="connsiteX28" fmla="*/ 8989 w 10000"/>
                <a:gd name="connsiteY28" fmla="*/ 985 h 10000"/>
                <a:gd name="connsiteX29" fmla="*/ 9267 w 10000"/>
                <a:gd name="connsiteY29" fmla="*/ 1250 h 10000"/>
                <a:gd name="connsiteX30" fmla="*/ 9505 w 10000"/>
                <a:gd name="connsiteY30" fmla="*/ 1536 h 10000"/>
                <a:gd name="connsiteX31" fmla="*/ 9781 w 10000"/>
                <a:gd name="connsiteY31" fmla="*/ 1864 h 10000"/>
                <a:gd name="connsiteX32" fmla="*/ 10000 w 10000"/>
                <a:gd name="connsiteY32" fmla="*/ 2213 h 10000"/>
                <a:gd name="connsiteX33" fmla="*/ 9838 w 10000"/>
                <a:gd name="connsiteY33" fmla="*/ 656 h 10000"/>
                <a:gd name="connsiteX34" fmla="*/ 9484 w 10000"/>
                <a:gd name="connsiteY34" fmla="*/ 470 h 10000"/>
                <a:gd name="connsiteX35" fmla="*/ 9129 w 10000"/>
                <a:gd name="connsiteY35" fmla="*/ 307 h 10000"/>
                <a:gd name="connsiteX36" fmla="*/ 8754 w 10000"/>
                <a:gd name="connsiteY36" fmla="*/ 184 h 10000"/>
                <a:gd name="connsiteX37" fmla="*/ 8356 w 10000"/>
                <a:gd name="connsiteY37" fmla="*/ 101 h 10000"/>
                <a:gd name="connsiteX38" fmla="*/ 7943 w 10000"/>
                <a:gd name="connsiteY38" fmla="*/ 21 h 10000"/>
                <a:gd name="connsiteX39" fmla="*/ 7526 w 10000"/>
                <a:gd name="connsiteY39" fmla="*/ 0 h 10000"/>
                <a:gd name="connsiteX40" fmla="*/ 7172 w 10000"/>
                <a:gd name="connsiteY40" fmla="*/ 21 h 10000"/>
                <a:gd name="connsiteX41" fmla="*/ 6838 w 10000"/>
                <a:gd name="connsiteY41" fmla="*/ 61 h 10000"/>
                <a:gd name="connsiteX42" fmla="*/ 6503 w 10000"/>
                <a:gd name="connsiteY42" fmla="*/ 124 h 10000"/>
                <a:gd name="connsiteX43" fmla="*/ 6205 w 10000"/>
                <a:gd name="connsiteY43" fmla="*/ 184 h 10000"/>
                <a:gd name="connsiteX44" fmla="*/ 5888 w 10000"/>
                <a:gd name="connsiteY44" fmla="*/ 285 h 10000"/>
                <a:gd name="connsiteX45" fmla="*/ 5571 w 10000"/>
                <a:gd name="connsiteY45" fmla="*/ 388 h 10000"/>
                <a:gd name="connsiteX46" fmla="*/ 5295 w 10000"/>
                <a:gd name="connsiteY46" fmla="*/ 532 h 10000"/>
                <a:gd name="connsiteX47" fmla="*/ 4997 w 10000"/>
                <a:gd name="connsiteY47" fmla="*/ 698 h 10000"/>
                <a:gd name="connsiteX48" fmla="*/ 4743 w 10000"/>
                <a:gd name="connsiteY48" fmla="*/ 881 h 10000"/>
                <a:gd name="connsiteX49" fmla="*/ 4467 w 10000"/>
                <a:gd name="connsiteY49" fmla="*/ 1065 h 10000"/>
                <a:gd name="connsiteX50" fmla="*/ 4209 w 10000"/>
                <a:gd name="connsiteY50" fmla="*/ 1271 h 10000"/>
                <a:gd name="connsiteX51" fmla="*/ 3951 w 10000"/>
                <a:gd name="connsiteY51" fmla="*/ 1497 h 10000"/>
                <a:gd name="connsiteX52" fmla="*/ 3715 w 10000"/>
                <a:gd name="connsiteY52" fmla="*/ 1720 h 10000"/>
                <a:gd name="connsiteX53" fmla="*/ 3458 w 10000"/>
                <a:gd name="connsiteY53" fmla="*/ 1989 h 10000"/>
                <a:gd name="connsiteX54" fmla="*/ 3003 w 10000"/>
                <a:gd name="connsiteY54" fmla="*/ 2540 h 10000"/>
                <a:gd name="connsiteX55" fmla="*/ 2570 w 10000"/>
                <a:gd name="connsiteY55" fmla="*/ 3116 h 10000"/>
                <a:gd name="connsiteX56" fmla="*/ 2155 w 10000"/>
                <a:gd name="connsiteY56" fmla="*/ 3730 h 10000"/>
                <a:gd name="connsiteX57" fmla="*/ 1757 w 10000"/>
                <a:gd name="connsiteY57" fmla="*/ 4386 h 10000"/>
                <a:gd name="connsiteX58" fmla="*/ 1384 w 10000"/>
                <a:gd name="connsiteY58" fmla="*/ 5062 h 10000"/>
                <a:gd name="connsiteX59" fmla="*/ 1028 w 10000"/>
                <a:gd name="connsiteY59" fmla="*/ 5737 h 10000"/>
                <a:gd name="connsiteX60" fmla="*/ 674 w 10000"/>
                <a:gd name="connsiteY60" fmla="*/ 6455 h 10000"/>
                <a:gd name="connsiteX61" fmla="*/ 0 w 10000"/>
                <a:gd name="connsiteY6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256 w 10000"/>
                <a:gd name="connsiteY12" fmla="*/ 1803 h 10000"/>
                <a:gd name="connsiteX13" fmla="*/ 5473 w 10000"/>
                <a:gd name="connsiteY13" fmla="*/ 1536 h 10000"/>
                <a:gd name="connsiteX14" fmla="*/ 5672 w 10000"/>
                <a:gd name="connsiteY14" fmla="*/ 1312 h 10000"/>
                <a:gd name="connsiteX15" fmla="*/ 5888 w 10000"/>
                <a:gd name="connsiteY15" fmla="*/ 1109 h 10000"/>
                <a:gd name="connsiteX16" fmla="*/ 6106 w 10000"/>
                <a:gd name="connsiteY16" fmla="*/ 922 h 10000"/>
                <a:gd name="connsiteX17" fmla="*/ 6325 w 10000"/>
                <a:gd name="connsiteY17" fmla="*/ 758 h 10000"/>
                <a:gd name="connsiteX18" fmla="*/ 6561 w 10000"/>
                <a:gd name="connsiteY18" fmla="*/ 634 h 10000"/>
                <a:gd name="connsiteX19" fmla="*/ 6775 w 10000"/>
                <a:gd name="connsiteY19" fmla="*/ 512 h 10000"/>
                <a:gd name="connsiteX20" fmla="*/ 7014 w 10000"/>
                <a:gd name="connsiteY20" fmla="*/ 450 h 10000"/>
                <a:gd name="connsiteX21" fmla="*/ 7269 w 10000"/>
                <a:gd name="connsiteY21" fmla="*/ 388 h 10000"/>
                <a:gd name="connsiteX22" fmla="*/ 7526 w 10000"/>
                <a:gd name="connsiteY22" fmla="*/ 388 h 10000"/>
                <a:gd name="connsiteX23" fmla="*/ 7843 w 10000"/>
                <a:gd name="connsiteY23" fmla="*/ 410 h 10000"/>
                <a:gd name="connsiteX24" fmla="*/ 8157 w 10000"/>
                <a:gd name="connsiteY24" fmla="*/ 492 h 10000"/>
                <a:gd name="connsiteX25" fmla="*/ 8437 w 10000"/>
                <a:gd name="connsiteY25" fmla="*/ 634 h 10000"/>
                <a:gd name="connsiteX26" fmla="*/ 8734 w 10000"/>
                <a:gd name="connsiteY26" fmla="*/ 780 h 10000"/>
                <a:gd name="connsiteX27" fmla="*/ 8989 w 10000"/>
                <a:gd name="connsiteY27" fmla="*/ 985 h 10000"/>
                <a:gd name="connsiteX28" fmla="*/ 9267 w 10000"/>
                <a:gd name="connsiteY28" fmla="*/ 1250 h 10000"/>
                <a:gd name="connsiteX29" fmla="*/ 9505 w 10000"/>
                <a:gd name="connsiteY29" fmla="*/ 1536 h 10000"/>
                <a:gd name="connsiteX30" fmla="*/ 9781 w 10000"/>
                <a:gd name="connsiteY30" fmla="*/ 1864 h 10000"/>
                <a:gd name="connsiteX31" fmla="*/ 10000 w 10000"/>
                <a:gd name="connsiteY31" fmla="*/ 2213 h 10000"/>
                <a:gd name="connsiteX32" fmla="*/ 9838 w 10000"/>
                <a:gd name="connsiteY32" fmla="*/ 656 h 10000"/>
                <a:gd name="connsiteX33" fmla="*/ 9484 w 10000"/>
                <a:gd name="connsiteY33" fmla="*/ 470 h 10000"/>
                <a:gd name="connsiteX34" fmla="*/ 9129 w 10000"/>
                <a:gd name="connsiteY34" fmla="*/ 307 h 10000"/>
                <a:gd name="connsiteX35" fmla="*/ 8754 w 10000"/>
                <a:gd name="connsiteY35" fmla="*/ 184 h 10000"/>
                <a:gd name="connsiteX36" fmla="*/ 8356 w 10000"/>
                <a:gd name="connsiteY36" fmla="*/ 101 h 10000"/>
                <a:gd name="connsiteX37" fmla="*/ 7943 w 10000"/>
                <a:gd name="connsiteY37" fmla="*/ 21 h 10000"/>
                <a:gd name="connsiteX38" fmla="*/ 7526 w 10000"/>
                <a:gd name="connsiteY38" fmla="*/ 0 h 10000"/>
                <a:gd name="connsiteX39" fmla="*/ 7172 w 10000"/>
                <a:gd name="connsiteY39" fmla="*/ 21 h 10000"/>
                <a:gd name="connsiteX40" fmla="*/ 6838 w 10000"/>
                <a:gd name="connsiteY40" fmla="*/ 61 h 10000"/>
                <a:gd name="connsiteX41" fmla="*/ 6503 w 10000"/>
                <a:gd name="connsiteY41" fmla="*/ 124 h 10000"/>
                <a:gd name="connsiteX42" fmla="*/ 6205 w 10000"/>
                <a:gd name="connsiteY42" fmla="*/ 184 h 10000"/>
                <a:gd name="connsiteX43" fmla="*/ 5888 w 10000"/>
                <a:gd name="connsiteY43" fmla="*/ 285 h 10000"/>
                <a:gd name="connsiteX44" fmla="*/ 5571 w 10000"/>
                <a:gd name="connsiteY44" fmla="*/ 388 h 10000"/>
                <a:gd name="connsiteX45" fmla="*/ 5295 w 10000"/>
                <a:gd name="connsiteY45" fmla="*/ 532 h 10000"/>
                <a:gd name="connsiteX46" fmla="*/ 4997 w 10000"/>
                <a:gd name="connsiteY46" fmla="*/ 698 h 10000"/>
                <a:gd name="connsiteX47" fmla="*/ 4743 w 10000"/>
                <a:gd name="connsiteY47" fmla="*/ 881 h 10000"/>
                <a:gd name="connsiteX48" fmla="*/ 4467 w 10000"/>
                <a:gd name="connsiteY48" fmla="*/ 1065 h 10000"/>
                <a:gd name="connsiteX49" fmla="*/ 4209 w 10000"/>
                <a:gd name="connsiteY49" fmla="*/ 1271 h 10000"/>
                <a:gd name="connsiteX50" fmla="*/ 3951 w 10000"/>
                <a:gd name="connsiteY50" fmla="*/ 1497 h 10000"/>
                <a:gd name="connsiteX51" fmla="*/ 3715 w 10000"/>
                <a:gd name="connsiteY51" fmla="*/ 1720 h 10000"/>
                <a:gd name="connsiteX52" fmla="*/ 3458 w 10000"/>
                <a:gd name="connsiteY52" fmla="*/ 1989 h 10000"/>
                <a:gd name="connsiteX53" fmla="*/ 3003 w 10000"/>
                <a:gd name="connsiteY53" fmla="*/ 2540 h 10000"/>
                <a:gd name="connsiteX54" fmla="*/ 2570 w 10000"/>
                <a:gd name="connsiteY54" fmla="*/ 3116 h 10000"/>
                <a:gd name="connsiteX55" fmla="*/ 2155 w 10000"/>
                <a:gd name="connsiteY55" fmla="*/ 3730 h 10000"/>
                <a:gd name="connsiteX56" fmla="*/ 1757 w 10000"/>
                <a:gd name="connsiteY56" fmla="*/ 4386 h 10000"/>
                <a:gd name="connsiteX57" fmla="*/ 1384 w 10000"/>
                <a:gd name="connsiteY57" fmla="*/ 5062 h 10000"/>
                <a:gd name="connsiteX58" fmla="*/ 1028 w 10000"/>
                <a:gd name="connsiteY58" fmla="*/ 5737 h 10000"/>
                <a:gd name="connsiteX59" fmla="*/ 674 w 10000"/>
                <a:gd name="connsiteY59" fmla="*/ 6455 h 10000"/>
                <a:gd name="connsiteX60" fmla="*/ 0 w 10000"/>
                <a:gd name="connsiteY6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5888 w 10000"/>
                <a:gd name="connsiteY14" fmla="*/ 1109 h 10000"/>
                <a:gd name="connsiteX15" fmla="*/ 6106 w 10000"/>
                <a:gd name="connsiteY15" fmla="*/ 922 h 10000"/>
                <a:gd name="connsiteX16" fmla="*/ 6325 w 10000"/>
                <a:gd name="connsiteY16" fmla="*/ 758 h 10000"/>
                <a:gd name="connsiteX17" fmla="*/ 6561 w 10000"/>
                <a:gd name="connsiteY17" fmla="*/ 634 h 10000"/>
                <a:gd name="connsiteX18" fmla="*/ 6775 w 10000"/>
                <a:gd name="connsiteY18" fmla="*/ 512 h 10000"/>
                <a:gd name="connsiteX19" fmla="*/ 7014 w 10000"/>
                <a:gd name="connsiteY19" fmla="*/ 450 h 10000"/>
                <a:gd name="connsiteX20" fmla="*/ 7269 w 10000"/>
                <a:gd name="connsiteY20" fmla="*/ 388 h 10000"/>
                <a:gd name="connsiteX21" fmla="*/ 7526 w 10000"/>
                <a:gd name="connsiteY21" fmla="*/ 388 h 10000"/>
                <a:gd name="connsiteX22" fmla="*/ 7843 w 10000"/>
                <a:gd name="connsiteY22" fmla="*/ 410 h 10000"/>
                <a:gd name="connsiteX23" fmla="*/ 8157 w 10000"/>
                <a:gd name="connsiteY23" fmla="*/ 492 h 10000"/>
                <a:gd name="connsiteX24" fmla="*/ 8437 w 10000"/>
                <a:gd name="connsiteY24" fmla="*/ 634 h 10000"/>
                <a:gd name="connsiteX25" fmla="*/ 8734 w 10000"/>
                <a:gd name="connsiteY25" fmla="*/ 780 h 10000"/>
                <a:gd name="connsiteX26" fmla="*/ 8989 w 10000"/>
                <a:gd name="connsiteY26" fmla="*/ 985 h 10000"/>
                <a:gd name="connsiteX27" fmla="*/ 9267 w 10000"/>
                <a:gd name="connsiteY27" fmla="*/ 1250 h 10000"/>
                <a:gd name="connsiteX28" fmla="*/ 9505 w 10000"/>
                <a:gd name="connsiteY28" fmla="*/ 1536 h 10000"/>
                <a:gd name="connsiteX29" fmla="*/ 9781 w 10000"/>
                <a:gd name="connsiteY29" fmla="*/ 1864 h 10000"/>
                <a:gd name="connsiteX30" fmla="*/ 10000 w 10000"/>
                <a:gd name="connsiteY30" fmla="*/ 2213 h 10000"/>
                <a:gd name="connsiteX31" fmla="*/ 9838 w 10000"/>
                <a:gd name="connsiteY31" fmla="*/ 656 h 10000"/>
                <a:gd name="connsiteX32" fmla="*/ 9484 w 10000"/>
                <a:gd name="connsiteY32" fmla="*/ 470 h 10000"/>
                <a:gd name="connsiteX33" fmla="*/ 9129 w 10000"/>
                <a:gd name="connsiteY33" fmla="*/ 307 h 10000"/>
                <a:gd name="connsiteX34" fmla="*/ 8754 w 10000"/>
                <a:gd name="connsiteY34" fmla="*/ 184 h 10000"/>
                <a:gd name="connsiteX35" fmla="*/ 8356 w 10000"/>
                <a:gd name="connsiteY35" fmla="*/ 101 h 10000"/>
                <a:gd name="connsiteX36" fmla="*/ 7943 w 10000"/>
                <a:gd name="connsiteY36" fmla="*/ 21 h 10000"/>
                <a:gd name="connsiteX37" fmla="*/ 7526 w 10000"/>
                <a:gd name="connsiteY37" fmla="*/ 0 h 10000"/>
                <a:gd name="connsiteX38" fmla="*/ 7172 w 10000"/>
                <a:gd name="connsiteY38" fmla="*/ 21 h 10000"/>
                <a:gd name="connsiteX39" fmla="*/ 6838 w 10000"/>
                <a:gd name="connsiteY39" fmla="*/ 61 h 10000"/>
                <a:gd name="connsiteX40" fmla="*/ 6503 w 10000"/>
                <a:gd name="connsiteY40" fmla="*/ 124 h 10000"/>
                <a:gd name="connsiteX41" fmla="*/ 6205 w 10000"/>
                <a:gd name="connsiteY41" fmla="*/ 184 h 10000"/>
                <a:gd name="connsiteX42" fmla="*/ 5888 w 10000"/>
                <a:gd name="connsiteY42" fmla="*/ 285 h 10000"/>
                <a:gd name="connsiteX43" fmla="*/ 5571 w 10000"/>
                <a:gd name="connsiteY43" fmla="*/ 388 h 10000"/>
                <a:gd name="connsiteX44" fmla="*/ 5295 w 10000"/>
                <a:gd name="connsiteY44" fmla="*/ 532 h 10000"/>
                <a:gd name="connsiteX45" fmla="*/ 4997 w 10000"/>
                <a:gd name="connsiteY45" fmla="*/ 698 h 10000"/>
                <a:gd name="connsiteX46" fmla="*/ 4743 w 10000"/>
                <a:gd name="connsiteY46" fmla="*/ 881 h 10000"/>
                <a:gd name="connsiteX47" fmla="*/ 4467 w 10000"/>
                <a:gd name="connsiteY47" fmla="*/ 1065 h 10000"/>
                <a:gd name="connsiteX48" fmla="*/ 4209 w 10000"/>
                <a:gd name="connsiteY48" fmla="*/ 1271 h 10000"/>
                <a:gd name="connsiteX49" fmla="*/ 3951 w 10000"/>
                <a:gd name="connsiteY49" fmla="*/ 1497 h 10000"/>
                <a:gd name="connsiteX50" fmla="*/ 3715 w 10000"/>
                <a:gd name="connsiteY50" fmla="*/ 1720 h 10000"/>
                <a:gd name="connsiteX51" fmla="*/ 3458 w 10000"/>
                <a:gd name="connsiteY51" fmla="*/ 1989 h 10000"/>
                <a:gd name="connsiteX52" fmla="*/ 3003 w 10000"/>
                <a:gd name="connsiteY52" fmla="*/ 2540 h 10000"/>
                <a:gd name="connsiteX53" fmla="*/ 2570 w 10000"/>
                <a:gd name="connsiteY53" fmla="*/ 3116 h 10000"/>
                <a:gd name="connsiteX54" fmla="*/ 2155 w 10000"/>
                <a:gd name="connsiteY54" fmla="*/ 3730 h 10000"/>
                <a:gd name="connsiteX55" fmla="*/ 1757 w 10000"/>
                <a:gd name="connsiteY55" fmla="*/ 4386 h 10000"/>
                <a:gd name="connsiteX56" fmla="*/ 1384 w 10000"/>
                <a:gd name="connsiteY56" fmla="*/ 5062 h 10000"/>
                <a:gd name="connsiteX57" fmla="*/ 1028 w 10000"/>
                <a:gd name="connsiteY57" fmla="*/ 5737 h 10000"/>
                <a:gd name="connsiteX58" fmla="*/ 674 w 10000"/>
                <a:gd name="connsiteY58" fmla="*/ 6455 h 10000"/>
                <a:gd name="connsiteX59" fmla="*/ 0 w 10000"/>
                <a:gd name="connsiteY5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6106 w 10000"/>
                <a:gd name="connsiteY14" fmla="*/ 922 h 10000"/>
                <a:gd name="connsiteX15" fmla="*/ 6325 w 10000"/>
                <a:gd name="connsiteY15" fmla="*/ 758 h 10000"/>
                <a:gd name="connsiteX16" fmla="*/ 6561 w 10000"/>
                <a:gd name="connsiteY16" fmla="*/ 634 h 10000"/>
                <a:gd name="connsiteX17" fmla="*/ 6775 w 10000"/>
                <a:gd name="connsiteY17" fmla="*/ 512 h 10000"/>
                <a:gd name="connsiteX18" fmla="*/ 7014 w 10000"/>
                <a:gd name="connsiteY18" fmla="*/ 450 h 10000"/>
                <a:gd name="connsiteX19" fmla="*/ 7269 w 10000"/>
                <a:gd name="connsiteY19" fmla="*/ 388 h 10000"/>
                <a:gd name="connsiteX20" fmla="*/ 7526 w 10000"/>
                <a:gd name="connsiteY20" fmla="*/ 388 h 10000"/>
                <a:gd name="connsiteX21" fmla="*/ 7843 w 10000"/>
                <a:gd name="connsiteY21" fmla="*/ 410 h 10000"/>
                <a:gd name="connsiteX22" fmla="*/ 8157 w 10000"/>
                <a:gd name="connsiteY22" fmla="*/ 492 h 10000"/>
                <a:gd name="connsiteX23" fmla="*/ 8437 w 10000"/>
                <a:gd name="connsiteY23" fmla="*/ 634 h 10000"/>
                <a:gd name="connsiteX24" fmla="*/ 8734 w 10000"/>
                <a:gd name="connsiteY24" fmla="*/ 780 h 10000"/>
                <a:gd name="connsiteX25" fmla="*/ 8989 w 10000"/>
                <a:gd name="connsiteY25" fmla="*/ 985 h 10000"/>
                <a:gd name="connsiteX26" fmla="*/ 9267 w 10000"/>
                <a:gd name="connsiteY26" fmla="*/ 1250 h 10000"/>
                <a:gd name="connsiteX27" fmla="*/ 9505 w 10000"/>
                <a:gd name="connsiteY27" fmla="*/ 1536 h 10000"/>
                <a:gd name="connsiteX28" fmla="*/ 9781 w 10000"/>
                <a:gd name="connsiteY28" fmla="*/ 1864 h 10000"/>
                <a:gd name="connsiteX29" fmla="*/ 10000 w 10000"/>
                <a:gd name="connsiteY29" fmla="*/ 2213 h 10000"/>
                <a:gd name="connsiteX30" fmla="*/ 9838 w 10000"/>
                <a:gd name="connsiteY30" fmla="*/ 656 h 10000"/>
                <a:gd name="connsiteX31" fmla="*/ 9484 w 10000"/>
                <a:gd name="connsiteY31" fmla="*/ 470 h 10000"/>
                <a:gd name="connsiteX32" fmla="*/ 9129 w 10000"/>
                <a:gd name="connsiteY32" fmla="*/ 307 h 10000"/>
                <a:gd name="connsiteX33" fmla="*/ 8754 w 10000"/>
                <a:gd name="connsiteY33" fmla="*/ 184 h 10000"/>
                <a:gd name="connsiteX34" fmla="*/ 8356 w 10000"/>
                <a:gd name="connsiteY34" fmla="*/ 101 h 10000"/>
                <a:gd name="connsiteX35" fmla="*/ 7943 w 10000"/>
                <a:gd name="connsiteY35" fmla="*/ 21 h 10000"/>
                <a:gd name="connsiteX36" fmla="*/ 7526 w 10000"/>
                <a:gd name="connsiteY36" fmla="*/ 0 h 10000"/>
                <a:gd name="connsiteX37" fmla="*/ 7172 w 10000"/>
                <a:gd name="connsiteY37" fmla="*/ 21 h 10000"/>
                <a:gd name="connsiteX38" fmla="*/ 6838 w 10000"/>
                <a:gd name="connsiteY38" fmla="*/ 61 h 10000"/>
                <a:gd name="connsiteX39" fmla="*/ 6503 w 10000"/>
                <a:gd name="connsiteY39" fmla="*/ 124 h 10000"/>
                <a:gd name="connsiteX40" fmla="*/ 6205 w 10000"/>
                <a:gd name="connsiteY40" fmla="*/ 184 h 10000"/>
                <a:gd name="connsiteX41" fmla="*/ 5888 w 10000"/>
                <a:gd name="connsiteY41" fmla="*/ 285 h 10000"/>
                <a:gd name="connsiteX42" fmla="*/ 5571 w 10000"/>
                <a:gd name="connsiteY42" fmla="*/ 388 h 10000"/>
                <a:gd name="connsiteX43" fmla="*/ 5295 w 10000"/>
                <a:gd name="connsiteY43" fmla="*/ 532 h 10000"/>
                <a:gd name="connsiteX44" fmla="*/ 4997 w 10000"/>
                <a:gd name="connsiteY44" fmla="*/ 698 h 10000"/>
                <a:gd name="connsiteX45" fmla="*/ 4743 w 10000"/>
                <a:gd name="connsiteY45" fmla="*/ 881 h 10000"/>
                <a:gd name="connsiteX46" fmla="*/ 4467 w 10000"/>
                <a:gd name="connsiteY46" fmla="*/ 1065 h 10000"/>
                <a:gd name="connsiteX47" fmla="*/ 4209 w 10000"/>
                <a:gd name="connsiteY47" fmla="*/ 1271 h 10000"/>
                <a:gd name="connsiteX48" fmla="*/ 3951 w 10000"/>
                <a:gd name="connsiteY48" fmla="*/ 1497 h 10000"/>
                <a:gd name="connsiteX49" fmla="*/ 3715 w 10000"/>
                <a:gd name="connsiteY49" fmla="*/ 1720 h 10000"/>
                <a:gd name="connsiteX50" fmla="*/ 3458 w 10000"/>
                <a:gd name="connsiteY50" fmla="*/ 1989 h 10000"/>
                <a:gd name="connsiteX51" fmla="*/ 3003 w 10000"/>
                <a:gd name="connsiteY51" fmla="*/ 2540 h 10000"/>
                <a:gd name="connsiteX52" fmla="*/ 2570 w 10000"/>
                <a:gd name="connsiteY52" fmla="*/ 3116 h 10000"/>
                <a:gd name="connsiteX53" fmla="*/ 2155 w 10000"/>
                <a:gd name="connsiteY53" fmla="*/ 3730 h 10000"/>
                <a:gd name="connsiteX54" fmla="*/ 1757 w 10000"/>
                <a:gd name="connsiteY54" fmla="*/ 4386 h 10000"/>
                <a:gd name="connsiteX55" fmla="*/ 1384 w 10000"/>
                <a:gd name="connsiteY55" fmla="*/ 5062 h 10000"/>
                <a:gd name="connsiteX56" fmla="*/ 1028 w 10000"/>
                <a:gd name="connsiteY56" fmla="*/ 5737 h 10000"/>
                <a:gd name="connsiteX57" fmla="*/ 674 w 10000"/>
                <a:gd name="connsiteY57" fmla="*/ 6455 h 10000"/>
                <a:gd name="connsiteX58" fmla="*/ 0 w 10000"/>
                <a:gd name="connsiteY5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715 w 10000"/>
                <a:gd name="connsiteY48" fmla="*/ 1720 h 10000"/>
                <a:gd name="connsiteX49" fmla="*/ 3458 w 10000"/>
                <a:gd name="connsiteY49" fmla="*/ 1989 h 10000"/>
                <a:gd name="connsiteX50" fmla="*/ 3003 w 10000"/>
                <a:gd name="connsiteY50" fmla="*/ 2540 h 10000"/>
                <a:gd name="connsiteX51" fmla="*/ 2570 w 10000"/>
                <a:gd name="connsiteY51" fmla="*/ 3116 h 10000"/>
                <a:gd name="connsiteX52" fmla="*/ 2155 w 10000"/>
                <a:gd name="connsiteY52" fmla="*/ 3730 h 10000"/>
                <a:gd name="connsiteX53" fmla="*/ 1757 w 10000"/>
                <a:gd name="connsiteY53" fmla="*/ 4386 h 10000"/>
                <a:gd name="connsiteX54" fmla="*/ 1384 w 10000"/>
                <a:gd name="connsiteY54" fmla="*/ 5062 h 10000"/>
                <a:gd name="connsiteX55" fmla="*/ 1028 w 10000"/>
                <a:gd name="connsiteY55" fmla="*/ 5737 h 10000"/>
                <a:gd name="connsiteX56" fmla="*/ 674 w 10000"/>
                <a:gd name="connsiteY56" fmla="*/ 6455 h 10000"/>
                <a:gd name="connsiteX57" fmla="*/ 0 w 10000"/>
                <a:gd name="connsiteY5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458 w 10000"/>
                <a:gd name="connsiteY48" fmla="*/ 1989 h 10000"/>
                <a:gd name="connsiteX49" fmla="*/ 3003 w 10000"/>
                <a:gd name="connsiteY49" fmla="*/ 2540 h 10000"/>
                <a:gd name="connsiteX50" fmla="*/ 2570 w 10000"/>
                <a:gd name="connsiteY50" fmla="*/ 3116 h 10000"/>
                <a:gd name="connsiteX51" fmla="*/ 2155 w 10000"/>
                <a:gd name="connsiteY51" fmla="*/ 3730 h 10000"/>
                <a:gd name="connsiteX52" fmla="*/ 1757 w 10000"/>
                <a:gd name="connsiteY52" fmla="*/ 4386 h 10000"/>
                <a:gd name="connsiteX53" fmla="*/ 1384 w 10000"/>
                <a:gd name="connsiteY53" fmla="*/ 5062 h 10000"/>
                <a:gd name="connsiteX54" fmla="*/ 1028 w 10000"/>
                <a:gd name="connsiteY54" fmla="*/ 5737 h 10000"/>
                <a:gd name="connsiteX55" fmla="*/ 674 w 10000"/>
                <a:gd name="connsiteY55" fmla="*/ 6455 h 10000"/>
                <a:gd name="connsiteX56" fmla="*/ 0 w 10000"/>
                <a:gd name="connsiteY5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458 w 10000"/>
                <a:gd name="connsiteY47" fmla="*/ 1989 h 10000"/>
                <a:gd name="connsiteX48" fmla="*/ 3003 w 10000"/>
                <a:gd name="connsiteY48" fmla="*/ 2540 h 10000"/>
                <a:gd name="connsiteX49" fmla="*/ 2570 w 10000"/>
                <a:gd name="connsiteY49" fmla="*/ 3116 h 10000"/>
                <a:gd name="connsiteX50" fmla="*/ 2155 w 10000"/>
                <a:gd name="connsiteY50" fmla="*/ 3730 h 10000"/>
                <a:gd name="connsiteX51" fmla="*/ 1757 w 10000"/>
                <a:gd name="connsiteY51" fmla="*/ 4386 h 10000"/>
                <a:gd name="connsiteX52" fmla="*/ 1384 w 10000"/>
                <a:gd name="connsiteY52" fmla="*/ 5062 h 10000"/>
                <a:gd name="connsiteX53" fmla="*/ 1028 w 10000"/>
                <a:gd name="connsiteY53" fmla="*/ 5737 h 10000"/>
                <a:gd name="connsiteX54" fmla="*/ 674 w 10000"/>
                <a:gd name="connsiteY54" fmla="*/ 6455 h 10000"/>
                <a:gd name="connsiteX55" fmla="*/ 0 w 10000"/>
                <a:gd name="connsiteY5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3458 w 10000"/>
                <a:gd name="connsiteY46" fmla="*/ 1989 h 10000"/>
                <a:gd name="connsiteX47" fmla="*/ 3003 w 10000"/>
                <a:gd name="connsiteY47" fmla="*/ 2540 h 10000"/>
                <a:gd name="connsiteX48" fmla="*/ 2570 w 10000"/>
                <a:gd name="connsiteY48" fmla="*/ 3116 h 10000"/>
                <a:gd name="connsiteX49" fmla="*/ 2155 w 10000"/>
                <a:gd name="connsiteY49" fmla="*/ 3730 h 10000"/>
                <a:gd name="connsiteX50" fmla="*/ 1757 w 10000"/>
                <a:gd name="connsiteY50" fmla="*/ 4386 h 10000"/>
                <a:gd name="connsiteX51" fmla="*/ 1384 w 10000"/>
                <a:gd name="connsiteY51" fmla="*/ 5062 h 10000"/>
                <a:gd name="connsiteX52" fmla="*/ 1028 w 10000"/>
                <a:gd name="connsiteY52" fmla="*/ 5737 h 10000"/>
                <a:gd name="connsiteX53" fmla="*/ 674 w 10000"/>
                <a:gd name="connsiteY53" fmla="*/ 6455 h 10000"/>
                <a:gd name="connsiteX54" fmla="*/ 0 w 10000"/>
                <a:gd name="connsiteY5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3458 w 10000"/>
                <a:gd name="connsiteY45" fmla="*/ 1989 h 10000"/>
                <a:gd name="connsiteX46" fmla="*/ 3003 w 10000"/>
                <a:gd name="connsiteY46" fmla="*/ 2540 h 10000"/>
                <a:gd name="connsiteX47" fmla="*/ 2570 w 10000"/>
                <a:gd name="connsiteY47" fmla="*/ 3116 h 10000"/>
                <a:gd name="connsiteX48" fmla="*/ 2155 w 10000"/>
                <a:gd name="connsiteY48" fmla="*/ 3730 h 10000"/>
                <a:gd name="connsiteX49" fmla="*/ 1757 w 10000"/>
                <a:gd name="connsiteY49" fmla="*/ 4386 h 10000"/>
                <a:gd name="connsiteX50" fmla="*/ 1384 w 10000"/>
                <a:gd name="connsiteY50" fmla="*/ 5062 h 10000"/>
                <a:gd name="connsiteX51" fmla="*/ 1028 w 10000"/>
                <a:gd name="connsiteY51" fmla="*/ 5737 h 10000"/>
                <a:gd name="connsiteX52" fmla="*/ 674 w 10000"/>
                <a:gd name="connsiteY52" fmla="*/ 6455 h 10000"/>
                <a:gd name="connsiteX53" fmla="*/ 0 w 10000"/>
                <a:gd name="connsiteY5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3458 w 10000"/>
                <a:gd name="connsiteY44" fmla="*/ 1989 h 10000"/>
                <a:gd name="connsiteX45" fmla="*/ 3003 w 10000"/>
                <a:gd name="connsiteY45" fmla="*/ 2540 h 10000"/>
                <a:gd name="connsiteX46" fmla="*/ 2570 w 10000"/>
                <a:gd name="connsiteY46" fmla="*/ 3116 h 10000"/>
                <a:gd name="connsiteX47" fmla="*/ 2155 w 10000"/>
                <a:gd name="connsiteY47" fmla="*/ 3730 h 10000"/>
                <a:gd name="connsiteX48" fmla="*/ 1757 w 10000"/>
                <a:gd name="connsiteY48" fmla="*/ 4386 h 10000"/>
                <a:gd name="connsiteX49" fmla="*/ 1384 w 10000"/>
                <a:gd name="connsiteY49" fmla="*/ 5062 h 10000"/>
                <a:gd name="connsiteX50" fmla="*/ 1028 w 10000"/>
                <a:gd name="connsiteY50" fmla="*/ 5737 h 10000"/>
                <a:gd name="connsiteX51" fmla="*/ 674 w 10000"/>
                <a:gd name="connsiteY51" fmla="*/ 6455 h 10000"/>
                <a:gd name="connsiteX52" fmla="*/ 0 w 10000"/>
                <a:gd name="connsiteY5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3458 w 10000"/>
                <a:gd name="connsiteY43" fmla="*/ 1989 h 10000"/>
                <a:gd name="connsiteX44" fmla="*/ 3003 w 10000"/>
                <a:gd name="connsiteY44" fmla="*/ 2540 h 10000"/>
                <a:gd name="connsiteX45" fmla="*/ 2570 w 10000"/>
                <a:gd name="connsiteY45" fmla="*/ 3116 h 10000"/>
                <a:gd name="connsiteX46" fmla="*/ 2155 w 10000"/>
                <a:gd name="connsiteY46" fmla="*/ 3730 h 10000"/>
                <a:gd name="connsiteX47" fmla="*/ 1757 w 10000"/>
                <a:gd name="connsiteY47" fmla="*/ 4386 h 10000"/>
                <a:gd name="connsiteX48" fmla="*/ 1384 w 10000"/>
                <a:gd name="connsiteY48" fmla="*/ 5062 h 10000"/>
                <a:gd name="connsiteX49" fmla="*/ 1028 w 10000"/>
                <a:gd name="connsiteY49" fmla="*/ 5737 h 10000"/>
                <a:gd name="connsiteX50" fmla="*/ 674 w 10000"/>
                <a:gd name="connsiteY50" fmla="*/ 6455 h 10000"/>
                <a:gd name="connsiteX51" fmla="*/ 0 w 10000"/>
                <a:gd name="connsiteY5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3458 w 10000"/>
                <a:gd name="connsiteY42" fmla="*/ 1989 h 10000"/>
                <a:gd name="connsiteX43" fmla="*/ 3003 w 10000"/>
                <a:gd name="connsiteY43" fmla="*/ 2540 h 10000"/>
                <a:gd name="connsiteX44" fmla="*/ 2570 w 10000"/>
                <a:gd name="connsiteY44" fmla="*/ 3116 h 10000"/>
                <a:gd name="connsiteX45" fmla="*/ 2155 w 10000"/>
                <a:gd name="connsiteY45" fmla="*/ 3730 h 10000"/>
                <a:gd name="connsiteX46" fmla="*/ 1757 w 10000"/>
                <a:gd name="connsiteY46" fmla="*/ 4386 h 10000"/>
                <a:gd name="connsiteX47" fmla="*/ 1384 w 10000"/>
                <a:gd name="connsiteY47" fmla="*/ 5062 h 10000"/>
                <a:gd name="connsiteX48" fmla="*/ 1028 w 10000"/>
                <a:gd name="connsiteY48" fmla="*/ 5737 h 10000"/>
                <a:gd name="connsiteX49" fmla="*/ 674 w 10000"/>
                <a:gd name="connsiteY49" fmla="*/ 6455 h 10000"/>
                <a:gd name="connsiteX50" fmla="*/ 0 w 10000"/>
                <a:gd name="connsiteY5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3458 w 10000"/>
                <a:gd name="connsiteY41" fmla="*/ 1989 h 10000"/>
                <a:gd name="connsiteX42" fmla="*/ 3003 w 10000"/>
                <a:gd name="connsiteY42" fmla="*/ 2540 h 10000"/>
                <a:gd name="connsiteX43" fmla="*/ 2570 w 10000"/>
                <a:gd name="connsiteY43" fmla="*/ 3116 h 10000"/>
                <a:gd name="connsiteX44" fmla="*/ 2155 w 10000"/>
                <a:gd name="connsiteY44" fmla="*/ 3730 h 10000"/>
                <a:gd name="connsiteX45" fmla="*/ 1757 w 10000"/>
                <a:gd name="connsiteY45" fmla="*/ 4386 h 10000"/>
                <a:gd name="connsiteX46" fmla="*/ 1384 w 10000"/>
                <a:gd name="connsiteY46" fmla="*/ 5062 h 10000"/>
                <a:gd name="connsiteX47" fmla="*/ 1028 w 10000"/>
                <a:gd name="connsiteY47" fmla="*/ 5737 h 10000"/>
                <a:gd name="connsiteX48" fmla="*/ 674 w 10000"/>
                <a:gd name="connsiteY48" fmla="*/ 6455 h 10000"/>
                <a:gd name="connsiteX49" fmla="*/ 0 w 10000"/>
                <a:gd name="connsiteY4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3458 w 10000"/>
                <a:gd name="connsiteY40" fmla="*/ 1989 h 10000"/>
                <a:gd name="connsiteX41" fmla="*/ 3003 w 10000"/>
                <a:gd name="connsiteY41" fmla="*/ 2540 h 10000"/>
                <a:gd name="connsiteX42" fmla="*/ 2570 w 10000"/>
                <a:gd name="connsiteY42" fmla="*/ 3116 h 10000"/>
                <a:gd name="connsiteX43" fmla="*/ 2155 w 10000"/>
                <a:gd name="connsiteY43" fmla="*/ 3730 h 10000"/>
                <a:gd name="connsiteX44" fmla="*/ 1757 w 10000"/>
                <a:gd name="connsiteY44" fmla="*/ 4386 h 10000"/>
                <a:gd name="connsiteX45" fmla="*/ 1384 w 10000"/>
                <a:gd name="connsiteY45" fmla="*/ 5062 h 10000"/>
                <a:gd name="connsiteX46" fmla="*/ 1028 w 10000"/>
                <a:gd name="connsiteY46" fmla="*/ 5737 h 10000"/>
                <a:gd name="connsiteX47" fmla="*/ 674 w 10000"/>
                <a:gd name="connsiteY47" fmla="*/ 6455 h 10000"/>
                <a:gd name="connsiteX48" fmla="*/ 0 w 10000"/>
                <a:gd name="connsiteY4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3458 w 10000"/>
                <a:gd name="connsiteY39" fmla="*/ 1989 h 10000"/>
                <a:gd name="connsiteX40" fmla="*/ 3003 w 10000"/>
                <a:gd name="connsiteY40" fmla="*/ 2540 h 10000"/>
                <a:gd name="connsiteX41" fmla="*/ 2570 w 10000"/>
                <a:gd name="connsiteY41" fmla="*/ 3116 h 10000"/>
                <a:gd name="connsiteX42" fmla="*/ 2155 w 10000"/>
                <a:gd name="connsiteY42" fmla="*/ 3730 h 10000"/>
                <a:gd name="connsiteX43" fmla="*/ 1757 w 10000"/>
                <a:gd name="connsiteY43" fmla="*/ 4386 h 10000"/>
                <a:gd name="connsiteX44" fmla="*/ 1384 w 10000"/>
                <a:gd name="connsiteY44" fmla="*/ 5062 h 10000"/>
                <a:gd name="connsiteX45" fmla="*/ 1028 w 10000"/>
                <a:gd name="connsiteY45" fmla="*/ 5737 h 10000"/>
                <a:gd name="connsiteX46" fmla="*/ 674 w 10000"/>
                <a:gd name="connsiteY46" fmla="*/ 6455 h 10000"/>
                <a:gd name="connsiteX47" fmla="*/ 0 w 10000"/>
                <a:gd name="connsiteY4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3458 w 10000"/>
                <a:gd name="connsiteY38" fmla="*/ 1989 h 10000"/>
                <a:gd name="connsiteX39" fmla="*/ 3003 w 10000"/>
                <a:gd name="connsiteY39" fmla="*/ 2540 h 10000"/>
                <a:gd name="connsiteX40" fmla="*/ 2570 w 10000"/>
                <a:gd name="connsiteY40" fmla="*/ 3116 h 10000"/>
                <a:gd name="connsiteX41" fmla="*/ 2155 w 10000"/>
                <a:gd name="connsiteY41" fmla="*/ 3730 h 10000"/>
                <a:gd name="connsiteX42" fmla="*/ 1757 w 10000"/>
                <a:gd name="connsiteY42" fmla="*/ 4386 h 10000"/>
                <a:gd name="connsiteX43" fmla="*/ 1384 w 10000"/>
                <a:gd name="connsiteY43" fmla="*/ 5062 h 10000"/>
                <a:gd name="connsiteX44" fmla="*/ 1028 w 10000"/>
                <a:gd name="connsiteY44" fmla="*/ 5737 h 10000"/>
                <a:gd name="connsiteX45" fmla="*/ 674 w 10000"/>
                <a:gd name="connsiteY45" fmla="*/ 6455 h 10000"/>
                <a:gd name="connsiteX46" fmla="*/ 0 w 10000"/>
                <a:gd name="connsiteY4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3458 w 10000"/>
                <a:gd name="connsiteY37" fmla="*/ 1989 h 10000"/>
                <a:gd name="connsiteX38" fmla="*/ 3003 w 10000"/>
                <a:gd name="connsiteY38" fmla="*/ 2540 h 10000"/>
                <a:gd name="connsiteX39" fmla="*/ 2570 w 10000"/>
                <a:gd name="connsiteY39" fmla="*/ 3116 h 10000"/>
                <a:gd name="connsiteX40" fmla="*/ 2155 w 10000"/>
                <a:gd name="connsiteY40" fmla="*/ 3730 h 10000"/>
                <a:gd name="connsiteX41" fmla="*/ 1757 w 10000"/>
                <a:gd name="connsiteY41" fmla="*/ 4386 h 10000"/>
                <a:gd name="connsiteX42" fmla="*/ 1384 w 10000"/>
                <a:gd name="connsiteY42" fmla="*/ 5062 h 10000"/>
                <a:gd name="connsiteX43" fmla="*/ 1028 w 10000"/>
                <a:gd name="connsiteY43" fmla="*/ 5737 h 10000"/>
                <a:gd name="connsiteX44" fmla="*/ 674 w 10000"/>
                <a:gd name="connsiteY44" fmla="*/ 6455 h 10000"/>
                <a:gd name="connsiteX45" fmla="*/ 0 w 10000"/>
                <a:gd name="connsiteY4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5672 w 10000"/>
                <a:gd name="connsiteY11" fmla="*/ 1312 h 10000"/>
                <a:gd name="connsiteX12" fmla="*/ 6106 w 10000"/>
                <a:gd name="connsiteY12" fmla="*/ 922 h 10000"/>
                <a:gd name="connsiteX13" fmla="*/ 6325 w 10000"/>
                <a:gd name="connsiteY13" fmla="*/ 758 h 10000"/>
                <a:gd name="connsiteX14" fmla="*/ 6561 w 10000"/>
                <a:gd name="connsiteY14" fmla="*/ 634 h 10000"/>
                <a:gd name="connsiteX15" fmla="*/ 6775 w 10000"/>
                <a:gd name="connsiteY15" fmla="*/ 512 h 10000"/>
                <a:gd name="connsiteX16" fmla="*/ 7014 w 10000"/>
                <a:gd name="connsiteY16" fmla="*/ 450 h 10000"/>
                <a:gd name="connsiteX17" fmla="*/ 7269 w 10000"/>
                <a:gd name="connsiteY17" fmla="*/ 388 h 10000"/>
                <a:gd name="connsiteX18" fmla="*/ 7526 w 10000"/>
                <a:gd name="connsiteY18" fmla="*/ 388 h 10000"/>
                <a:gd name="connsiteX19" fmla="*/ 7843 w 10000"/>
                <a:gd name="connsiteY19" fmla="*/ 410 h 10000"/>
                <a:gd name="connsiteX20" fmla="*/ 8157 w 10000"/>
                <a:gd name="connsiteY20" fmla="*/ 492 h 10000"/>
                <a:gd name="connsiteX21" fmla="*/ 8437 w 10000"/>
                <a:gd name="connsiteY21" fmla="*/ 634 h 10000"/>
                <a:gd name="connsiteX22" fmla="*/ 8734 w 10000"/>
                <a:gd name="connsiteY22" fmla="*/ 780 h 10000"/>
                <a:gd name="connsiteX23" fmla="*/ 8989 w 10000"/>
                <a:gd name="connsiteY23" fmla="*/ 985 h 10000"/>
                <a:gd name="connsiteX24" fmla="*/ 9267 w 10000"/>
                <a:gd name="connsiteY24" fmla="*/ 1250 h 10000"/>
                <a:gd name="connsiteX25" fmla="*/ 9505 w 10000"/>
                <a:gd name="connsiteY25" fmla="*/ 1536 h 10000"/>
                <a:gd name="connsiteX26" fmla="*/ 9781 w 10000"/>
                <a:gd name="connsiteY26" fmla="*/ 1864 h 10000"/>
                <a:gd name="connsiteX27" fmla="*/ 10000 w 10000"/>
                <a:gd name="connsiteY27" fmla="*/ 2213 h 10000"/>
                <a:gd name="connsiteX28" fmla="*/ 9838 w 10000"/>
                <a:gd name="connsiteY28" fmla="*/ 656 h 10000"/>
                <a:gd name="connsiteX29" fmla="*/ 9484 w 10000"/>
                <a:gd name="connsiteY29" fmla="*/ 470 h 10000"/>
                <a:gd name="connsiteX30" fmla="*/ 9129 w 10000"/>
                <a:gd name="connsiteY30" fmla="*/ 307 h 10000"/>
                <a:gd name="connsiteX31" fmla="*/ 8754 w 10000"/>
                <a:gd name="connsiteY31" fmla="*/ 184 h 10000"/>
                <a:gd name="connsiteX32" fmla="*/ 8356 w 10000"/>
                <a:gd name="connsiteY32" fmla="*/ 101 h 10000"/>
                <a:gd name="connsiteX33" fmla="*/ 7943 w 10000"/>
                <a:gd name="connsiteY33" fmla="*/ 21 h 10000"/>
                <a:gd name="connsiteX34" fmla="*/ 7526 w 10000"/>
                <a:gd name="connsiteY34" fmla="*/ 0 h 10000"/>
                <a:gd name="connsiteX35" fmla="*/ 7172 w 10000"/>
                <a:gd name="connsiteY35" fmla="*/ 21 h 10000"/>
                <a:gd name="connsiteX36" fmla="*/ 3458 w 10000"/>
                <a:gd name="connsiteY36" fmla="*/ 1989 h 10000"/>
                <a:gd name="connsiteX37" fmla="*/ 3003 w 10000"/>
                <a:gd name="connsiteY37" fmla="*/ 2540 h 10000"/>
                <a:gd name="connsiteX38" fmla="*/ 2570 w 10000"/>
                <a:gd name="connsiteY38" fmla="*/ 3116 h 10000"/>
                <a:gd name="connsiteX39" fmla="*/ 2155 w 10000"/>
                <a:gd name="connsiteY39" fmla="*/ 3730 h 10000"/>
                <a:gd name="connsiteX40" fmla="*/ 1757 w 10000"/>
                <a:gd name="connsiteY40" fmla="*/ 4386 h 10000"/>
                <a:gd name="connsiteX41" fmla="*/ 1384 w 10000"/>
                <a:gd name="connsiteY41" fmla="*/ 5062 h 10000"/>
                <a:gd name="connsiteX42" fmla="*/ 1028 w 10000"/>
                <a:gd name="connsiteY42" fmla="*/ 5737 h 10000"/>
                <a:gd name="connsiteX43" fmla="*/ 674 w 10000"/>
                <a:gd name="connsiteY43" fmla="*/ 6455 h 10000"/>
                <a:gd name="connsiteX44" fmla="*/ 0 w 10000"/>
                <a:gd name="connsiteY4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6106 w 10000"/>
                <a:gd name="connsiteY11" fmla="*/ 922 h 10000"/>
                <a:gd name="connsiteX12" fmla="*/ 6325 w 10000"/>
                <a:gd name="connsiteY12" fmla="*/ 758 h 10000"/>
                <a:gd name="connsiteX13" fmla="*/ 6561 w 10000"/>
                <a:gd name="connsiteY13" fmla="*/ 634 h 10000"/>
                <a:gd name="connsiteX14" fmla="*/ 6775 w 10000"/>
                <a:gd name="connsiteY14" fmla="*/ 512 h 10000"/>
                <a:gd name="connsiteX15" fmla="*/ 7014 w 10000"/>
                <a:gd name="connsiteY15" fmla="*/ 450 h 10000"/>
                <a:gd name="connsiteX16" fmla="*/ 7269 w 10000"/>
                <a:gd name="connsiteY16" fmla="*/ 388 h 10000"/>
                <a:gd name="connsiteX17" fmla="*/ 7526 w 10000"/>
                <a:gd name="connsiteY17" fmla="*/ 388 h 10000"/>
                <a:gd name="connsiteX18" fmla="*/ 7843 w 10000"/>
                <a:gd name="connsiteY18" fmla="*/ 410 h 10000"/>
                <a:gd name="connsiteX19" fmla="*/ 8157 w 10000"/>
                <a:gd name="connsiteY19" fmla="*/ 492 h 10000"/>
                <a:gd name="connsiteX20" fmla="*/ 8437 w 10000"/>
                <a:gd name="connsiteY20" fmla="*/ 634 h 10000"/>
                <a:gd name="connsiteX21" fmla="*/ 8734 w 10000"/>
                <a:gd name="connsiteY21" fmla="*/ 780 h 10000"/>
                <a:gd name="connsiteX22" fmla="*/ 8989 w 10000"/>
                <a:gd name="connsiteY22" fmla="*/ 985 h 10000"/>
                <a:gd name="connsiteX23" fmla="*/ 9267 w 10000"/>
                <a:gd name="connsiteY23" fmla="*/ 1250 h 10000"/>
                <a:gd name="connsiteX24" fmla="*/ 9505 w 10000"/>
                <a:gd name="connsiteY24" fmla="*/ 1536 h 10000"/>
                <a:gd name="connsiteX25" fmla="*/ 9781 w 10000"/>
                <a:gd name="connsiteY25" fmla="*/ 1864 h 10000"/>
                <a:gd name="connsiteX26" fmla="*/ 10000 w 10000"/>
                <a:gd name="connsiteY26" fmla="*/ 2213 h 10000"/>
                <a:gd name="connsiteX27" fmla="*/ 9838 w 10000"/>
                <a:gd name="connsiteY27" fmla="*/ 656 h 10000"/>
                <a:gd name="connsiteX28" fmla="*/ 9484 w 10000"/>
                <a:gd name="connsiteY28" fmla="*/ 470 h 10000"/>
                <a:gd name="connsiteX29" fmla="*/ 9129 w 10000"/>
                <a:gd name="connsiteY29" fmla="*/ 307 h 10000"/>
                <a:gd name="connsiteX30" fmla="*/ 8754 w 10000"/>
                <a:gd name="connsiteY30" fmla="*/ 184 h 10000"/>
                <a:gd name="connsiteX31" fmla="*/ 8356 w 10000"/>
                <a:gd name="connsiteY31" fmla="*/ 101 h 10000"/>
                <a:gd name="connsiteX32" fmla="*/ 7943 w 10000"/>
                <a:gd name="connsiteY32" fmla="*/ 21 h 10000"/>
                <a:gd name="connsiteX33" fmla="*/ 7526 w 10000"/>
                <a:gd name="connsiteY33" fmla="*/ 0 h 10000"/>
                <a:gd name="connsiteX34" fmla="*/ 7172 w 10000"/>
                <a:gd name="connsiteY34" fmla="*/ 21 h 10000"/>
                <a:gd name="connsiteX35" fmla="*/ 3458 w 10000"/>
                <a:gd name="connsiteY35" fmla="*/ 1989 h 10000"/>
                <a:gd name="connsiteX36" fmla="*/ 3003 w 10000"/>
                <a:gd name="connsiteY36" fmla="*/ 2540 h 10000"/>
                <a:gd name="connsiteX37" fmla="*/ 2570 w 10000"/>
                <a:gd name="connsiteY37" fmla="*/ 3116 h 10000"/>
                <a:gd name="connsiteX38" fmla="*/ 2155 w 10000"/>
                <a:gd name="connsiteY38" fmla="*/ 3730 h 10000"/>
                <a:gd name="connsiteX39" fmla="*/ 1757 w 10000"/>
                <a:gd name="connsiteY39" fmla="*/ 4386 h 10000"/>
                <a:gd name="connsiteX40" fmla="*/ 1384 w 10000"/>
                <a:gd name="connsiteY40" fmla="*/ 5062 h 10000"/>
                <a:gd name="connsiteX41" fmla="*/ 1028 w 10000"/>
                <a:gd name="connsiteY41" fmla="*/ 5737 h 10000"/>
                <a:gd name="connsiteX42" fmla="*/ 674 w 10000"/>
                <a:gd name="connsiteY42" fmla="*/ 6455 h 10000"/>
                <a:gd name="connsiteX43" fmla="*/ 0 w 10000"/>
                <a:gd name="connsiteY4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325 w 10000"/>
                <a:gd name="connsiteY11" fmla="*/ 758 h 10000"/>
                <a:gd name="connsiteX12" fmla="*/ 6561 w 10000"/>
                <a:gd name="connsiteY12" fmla="*/ 634 h 10000"/>
                <a:gd name="connsiteX13" fmla="*/ 6775 w 10000"/>
                <a:gd name="connsiteY13" fmla="*/ 512 h 10000"/>
                <a:gd name="connsiteX14" fmla="*/ 7014 w 10000"/>
                <a:gd name="connsiteY14" fmla="*/ 450 h 10000"/>
                <a:gd name="connsiteX15" fmla="*/ 7269 w 10000"/>
                <a:gd name="connsiteY15" fmla="*/ 388 h 10000"/>
                <a:gd name="connsiteX16" fmla="*/ 7526 w 10000"/>
                <a:gd name="connsiteY16" fmla="*/ 388 h 10000"/>
                <a:gd name="connsiteX17" fmla="*/ 7843 w 10000"/>
                <a:gd name="connsiteY17" fmla="*/ 410 h 10000"/>
                <a:gd name="connsiteX18" fmla="*/ 8157 w 10000"/>
                <a:gd name="connsiteY18" fmla="*/ 492 h 10000"/>
                <a:gd name="connsiteX19" fmla="*/ 8437 w 10000"/>
                <a:gd name="connsiteY19" fmla="*/ 634 h 10000"/>
                <a:gd name="connsiteX20" fmla="*/ 8734 w 10000"/>
                <a:gd name="connsiteY20" fmla="*/ 780 h 10000"/>
                <a:gd name="connsiteX21" fmla="*/ 8989 w 10000"/>
                <a:gd name="connsiteY21" fmla="*/ 985 h 10000"/>
                <a:gd name="connsiteX22" fmla="*/ 9267 w 10000"/>
                <a:gd name="connsiteY22" fmla="*/ 1250 h 10000"/>
                <a:gd name="connsiteX23" fmla="*/ 9505 w 10000"/>
                <a:gd name="connsiteY23" fmla="*/ 1536 h 10000"/>
                <a:gd name="connsiteX24" fmla="*/ 9781 w 10000"/>
                <a:gd name="connsiteY24" fmla="*/ 1864 h 10000"/>
                <a:gd name="connsiteX25" fmla="*/ 10000 w 10000"/>
                <a:gd name="connsiteY25" fmla="*/ 2213 h 10000"/>
                <a:gd name="connsiteX26" fmla="*/ 9838 w 10000"/>
                <a:gd name="connsiteY26" fmla="*/ 656 h 10000"/>
                <a:gd name="connsiteX27" fmla="*/ 9484 w 10000"/>
                <a:gd name="connsiteY27" fmla="*/ 470 h 10000"/>
                <a:gd name="connsiteX28" fmla="*/ 9129 w 10000"/>
                <a:gd name="connsiteY28" fmla="*/ 307 h 10000"/>
                <a:gd name="connsiteX29" fmla="*/ 8754 w 10000"/>
                <a:gd name="connsiteY29" fmla="*/ 184 h 10000"/>
                <a:gd name="connsiteX30" fmla="*/ 8356 w 10000"/>
                <a:gd name="connsiteY30" fmla="*/ 101 h 10000"/>
                <a:gd name="connsiteX31" fmla="*/ 7943 w 10000"/>
                <a:gd name="connsiteY31" fmla="*/ 21 h 10000"/>
                <a:gd name="connsiteX32" fmla="*/ 7526 w 10000"/>
                <a:gd name="connsiteY32" fmla="*/ 0 h 10000"/>
                <a:gd name="connsiteX33" fmla="*/ 7172 w 10000"/>
                <a:gd name="connsiteY33" fmla="*/ 21 h 10000"/>
                <a:gd name="connsiteX34" fmla="*/ 3458 w 10000"/>
                <a:gd name="connsiteY34" fmla="*/ 1989 h 10000"/>
                <a:gd name="connsiteX35" fmla="*/ 3003 w 10000"/>
                <a:gd name="connsiteY35" fmla="*/ 2540 h 10000"/>
                <a:gd name="connsiteX36" fmla="*/ 2570 w 10000"/>
                <a:gd name="connsiteY36" fmla="*/ 3116 h 10000"/>
                <a:gd name="connsiteX37" fmla="*/ 2155 w 10000"/>
                <a:gd name="connsiteY37" fmla="*/ 3730 h 10000"/>
                <a:gd name="connsiteX38" fmla="*/ 1757 w 10000"/>
                <a:gd name="connsiteY38" fmla="*/ 4386 h 10000"/>
                <a:gd name="connsiteX39" fmla="*/ 1384 w 10000"/>
                <a:gd name="connsiteY39" fmla="*/ 5062 h 10000"/>
                <a:gd name="connsiteX40" fmla="*/ 1028 w 10000"/>
                <a:gd name="connsiteY40" fmla="*/ 5737 h 10000"/>
                <a:gd name="connsiteX41" fmla="*/ 674 w 10000"/>
                <a:gd name="connsiteY41" fmla="*/ 6455 h 10000"/>
                <a:gd name="connsiteX42" fmla="*/ 0 w 10000"/>
                <a:gd name="connsiteY4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561 w 10000"/>
                <a:gd name="connsiteY11" fmla="*/ 634 h 10000"/>
                <a:gd name="connsiteX12" fmla="*/ 6775 w 10000"/>
                <a:gd name="connsiteY12" fmla="*/ 512 h 10000"/>
                <a:gd name="connsiteX13" fmla="*/ 7014 w 10000"/>
                <a:gd name="connsiteY13" fmla="*/ 450 h 10000"/>
                <a:gd name="connsiteX14" fmla="*/ 7269 w 10000"/>
                <a:gd name="connsiteY14" fmla="*/ 388 h 10000"/>
                <a:gd name="connsiteX15" fmla="*/ 7526 w 10000"/>
                <a:gd name="connsiteY15" fmla="*/ 388 h 10000"/>
                <a:gd name="connsiteX16" fmla="*/ 7843 w 10000"/>
                <a:gd name="connsiteY16" fmla="*/ 410 h 10000"/>
                <a:gd name="connsiteX17" fmla="*/ 8157 w 10000"/>
                <a:gd name="connsiteY17" fmla="*/ 492 h 10000"/>
                <a:gd name="connsiteX18" fmla="*/ 8437 w 10000"/>
                <a:gd name="connsiteY18" fmla="*/ 634 h 10000"/>
                <a:gd name="connsiteX19" fmla="*/ 8734 w 10000"/>
                <a:gd name="connsiteY19" fmla="*/ 780 h 10000"/>
                <a:gd name="connsiteX20" fmla="*/ 8989 w 10000"/>
                <a:gd name="connsiteY20" fmla="*/ 985 h 10000"/>
                <a:gd name="connsiteX21" fmla="*/ 9267 w 10000"/>
                <a:gd name="connsiteY21" fmla="*/ 1250 h 10000"/>
                <a:gd name="connsiteX22" fmla="*/ 9505 w 10000"/>
                <a:gd name="connsiteY22" fmla="*/ 1536 h 10000"/>
                <a:gd name="connsiteX23" fmla="*/ 9781 w 10000"/>
                <a:gd name="connsiteY23" fmla="*/ 1864 h 10000"/>
                <a:gd name="connsiteX24" fmla="*/ 10000 w 10000"/>
                <a:gd name="connsiteY24" fmla="*/ 2213 h 10000"/>
                <a:gd name="connsiteX25" fmla="*/ 9838 w 10000"/>
                <a:gd name="connsiteY25" fmla="*/ 656 h 10000"/>
                <a:gd name="connsiteX26" fmla="*/ 9484 w 10000"/>
                <a:gd name="connsiteY26" fmla="*/ 470 h 10000"/>
                <a:gd name="connsiteX27" fmla="*/ 9129 w 10000"/>
                <a:gd name="connsiteY27" fmla="*/ 307 h 10000"/>
                <a:gd name="connsiteX28" fmla="*/ 8754 w 10000"/>
                <a:gd name="connsiteY28" fmla="*/ 184 h 10000"/>
                <a:gd name="connsiteX29" fmla="*/ 8356 w 10000"/>
                <a:gd name="connsiteY29" fmla="*/ 101 h 10000"/>
                <a:gd name="connsiteX30" fmla="*/ 7943 w 10000"/>
                <a:gd name="connsiteY30" fmla="*/ 21 h 10000"/>
                <a:gd name="connsiteX31" fmla="*/ 7526 w 10000"/>
                <a:gd name="connsiteY31" fmla="*/ 0 h 10000"/>
                <a:gd name="connsiteX32" fmla="*/ 7172 w 10000"/>
                <a:gd name="connsiteY32" fmla="*/ 21 h 10000"/>
                <a:gd name="connsiteX33" fmla="*/ 3458 w 10000"/>
                <a:gd name="connsiteY33" fmla="*/ 1989 h 10000"/>
                <a:gd name="connsiteX34" fmla="*/ 3003 w 10000"/>
                <a:gd name="connsiteY34" fmla="*/ 2540 h 10000"/>
                <a:gd name="connsiteX35" fmla="*/ 2570 w 10000"/>
                <a:gd name="connsiteY35" fmla="*/ 3116 h 10000"/>
                <a:gd name="connsiteX36" fmla="*/ 2155 w 10000"/>
                <a:gd name="connsiteY36" fmla="*/ 3730 h 10000"/>
                <a:gd name="connsiteX37" fmla="*/ 1757 w 10000"/>
                <a:gd name="connsiteY37" fmla="*/ 4386 h 10000"/>
                <a:gd name="connsiteX38" fmla="*/ 1384 w 10000"/>
                <a:gd name="connsiteY38" fmla="*/ 5062 h 10000"/>
                <a:gd name="connsiteX39" fmla="*/ 1028 w 10000"/>
                <a:gd name="connsiteY39" fmla="*/ 5737 h 10000"/>
                <a:gd name="connsiteX40" fmla="*/ 674 w 10000"/>
                <a:gd name="connsiteY40" fmla="*/ 6455 h 10000"/>
                <a:gd name="connsiteX41" fmla="*/ 0 w 10000"/>
                <a:gd name="connsiteY4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6775 w 10000"/>
                <a:gd name="connsiteY11" fmla="*/ 512 h 10000"/>
                <a:gd name="connsiteX12" fmla="*/ 7014 w 10000"/>
                <a:gd name="connsiteY12" fmla="*/ 450 h 10000"/>
                <a:gd name="connsiteX13" fmla="*/ 7269 w 10000"/>
                <a:gd name="connsiteY13" fmla="*/ 388 h 10000"/>
                <a:gd name="connsiteX14" fmla="*/ 7526 w 10000"/>
                <a:gd name="connsiteY14" fmla="*/ 388 h 10000"/>
                <a:gd name="connsiteX15" fmla="*/ 7843 w 10000"/>
                <a:gd name="connsiteY15" fmla="*/ 410 h 10000"/>
                <a:gd name="connsiteX16" fmla="*/ 8157 w 10000"/>
                <a:gd name="connsiteY16" fmla="*/ 492 h 10000"/>
                <a:gd name="connsiteX17" fmla="*/ 8437 w 10000"/>
                <a:gd name="connsiteY17" fmla="*/ 634 h 10000"/>
                <a:gd name="connsiteX18" fmla="*/ 8734 w 10000"/>
                <a:gd name="connsiteY18" fmla="*/ 780 h 10000"/>
                <a:gd name="connsiteX19" fmla="*/ 8989 w 10000"/>
                <a:gd name="connsiteY19" fmla="*/ 985 h 10000"/>
                <a:gd name="connsiteX20" fmla="*/ 9267 w 10000"/>
                <a:gd name="connsiteY20" fmla="*/ 1250 h 10000"/>
                <a:gd name="connsiteX21" fmla="*/ 9505 w 10000"/>
                <a:gd name="connsiteY21" fmla="*/ 1536 h 10000"/>
                <a:gd name="connsiteX22" fmla="*/ 9781 w 10000"/>
                <a:gd name="connsiteY22" fmla="*/ 1864 h 10000"/>
                <a:gd name="connsiteX23" fmla="*/ 10000 w 10000"/>
                <a:gd name="connsiteY23" fmla="*/ 2213 h 10000"/>
                <a:gd name="connsiteX24" fmla="*/ 9838 w 10000"/>
                <a:gd name="connsiteY24" fmla="*/ 656 h 10000"/>
                <a:gd name="connsiteX25" fmla="*/ 9484 w 10000"/>
                <a:gd name="connsiteY25" fmla="*/ 470 h 10000"/>
                <a:gd name="connsiteX26" fmla="*/ 9129 w 10000"/>
                <a:gd name="connsiteY26" fmla="*/ 307 h 10000"/>
                <a:gd name="connsiteX27" fmla="*/ 8754 w 10000"/>
                <a:gd name="connsiteY27" fmla="*/ 184 h 10000"/>
                <a:gd name="connsiteX28" fmla="*/ 8356 w 10000"/>
                <a:gd name="connsiteY28" fmla="*/ 101 h 10000"/>
                <a:gd name="connsiteX29" fmla="*/ 7943 w 10000"/>
                <a:gd name="connsiteY29" fmla="*/ 21 h 10000"/>
                <a:gd name="connsiteX30" fmla="*/ 7526 w 10000"/>
                <a:gd name="connsiteY30" fmla="*/ 0 h 10000"/>
                <a:gd name="connsiteX31" fmla="*/ 7172 w 10000"/>
                <a:gd name="connsiteY31" fmla="*/ 21 h 10000"/>
                <a:gd name="connsiteX32" fmla="*/ 3458 w 10000"/>
                <a:gd name="connsiteY32" fmla="*/ 1989 h 10000"/>
                <a:gd name="connsiteX33" fmla="*/ 3003 w 10000"/>
                <a:gd name="connsiteY33" fmla="*/ 2540 h 10000"/>
                <a:gd name="connsiteX34" fmla="*/ 2570 w 10000"/>
                <a:gd name="connsiteY34" fmla="*/ 3116 h 10000"/>
                <a:gd name="connsiteX35" fmla="*/ 2155 w 10000"/>
                <a:gd name="connsiteY35" fmla="*/ 3730 h 10000"/>
                <a:gd name="connsiteX36" fmla="*/ 1757 w 10000"/>
                <a:gd name="connsiteY36" fmla="*/ 4386 h 10000"/>
                <a:gd name="connsiteX37" fmla="*/ 1384 w 10000"/>
                <a:gd name="connsiteY37" fmla="*/ 5062 h 10000"/>
                <a:gd name="connsiteX38" fmla="*/ 1028 w 10000"/>
                <a:gd name="connsiteY38" fmla="*/ 5737 h 10000"/>
                <a:gd name="connsiteX39" fmla="*/ 674 w 10000"/>
                <a:gd name="connsiteY39" fmla="*/ 6455 h 10000"/>
                <a:gd name="connsiteX40" fmla="*/ 0 w 10000"/>
                <a:gd name="connsiteY4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526 w 10000"/>
                <a:gd name="connsiteY13" fmla="*/ 388 h 10000"/>
                <a:gd name="connsiteX14" fmla="*/ 7843 w 10000"/>
                <a:gd name="connsiteY14" fmla="*/ 410 h 10000"/>
                <a:gd name="connsiteX15" fmla="*/ 8157 w 10000"/>
                <a:gd name="connsiteY15" fmla="*/ 492 h 10000"/>
                <a:gd name="connsiteX16" fmla="*/ 8437 w 10000"/>
                <a:gd name="connsiteY16" fmla="*/ 634 h 10000"/>
                <a:gd name="connsiteX17" fmla="*/ 8734 w 10000"/>
                <a:gd name="connsiteY17" fmla="*/ 780 h 10000"/>
                <a:gd name="connsiteX18" fmla="*/ 8989 w 10000"/>
                <a:gd name="connsiteY18" fmla="*/ 985 h 10000"/>
                <a:gd name="connsiteX19" fmla="*/ 9267 w 10000"/>
                <a:gd name="connsiteY19" fmla="*/ 1250 h 10000"/>
                <a:gd name="connsiteX20" fmla="*/ 9505 w 10000"/>
                <a:gd name="connsiteY20" fmla="*/ 1536 h 10000"/>
                <a:gd name="connsiteX21" fmla="*/ 9781 w 10000"/>
                <a:gd name="connsiteY21" fmla="*/ 1864 h 10000"/>
                <a:gd name="connsiteX22" fmla="*/ 10000 w 10000"/>
                <a:gd name="connsiteY22" fmla="*/ 2213 h 10000"/>
                <a:gd name="connsiteX23" fmla="*/ 9838 w 10000"/>
                <a:gd name="connsiteY23" fmla="*/ 656 h 10000"/>
                <a:gd name="connsiteX24" fmla="*/ 9484 w 10000"/>
                <a:gd name="connsiteY24" fmla="*/ 470 h 10000"/>
                <a:gd name="connsiteX25" fmla="*/ 9129 w 10000"/>
                <a:gd name="connsiteY25" fmla="*/ 307 h 10000"/>
                <a:gd name="connsiteX26" fmla="*/ 8754 w 10000"/>
                <a:gd name="connsiteY26" fmla="*/ 184 h 10000"/>
                <a:gd name="connsiteX27" fmla="*/ 8356 w 10000"/>
                <a:gd name="connsiteY27" fmla="*/ 101 h 10000"/>
                <a:gd name="connsiteX28" fmla="*/ 7943 w 10000"/>
                <a:gd name="connsiteY28" fmla="*/ 21 h 10000"/>
                <a:gd name="connsiteX29" fmla="*/ 7526 w 10000"/>
                <a:gd name="connsiteY29" fmla="*/ 0 h 10000"/>
                <a:gd name="connsiteX30" fmla="*/ 7172 w 10000"/>
                <a:gd name="connsiteY30" fmla="*/ 21 h 10000"/>
                <a:gd name="connsiteX31" fmla="*/ 3458 w 10000"/>
                <a:gd name="connsiteY31" fmla="*/ 1989 h 10000"/>
                <a:gd name="connsiteX32" fmla="*/ 3003 w 10000"/>
                <a:gd name="connsiteY32" fmla="*/ 2540 h 10000"/>
                <a:gd name="connsiteX33" fmla="*/ 2570 w 10000"/>
                <a:gd name="connsiteY33" fmla="*/ 3116 h 10000"/>
                <a:gd name="connsiteX34" fmla="*/ 2155 w 10000"/>
                <a:gd name="connsiteY34" fmla="*/ 3730 h 10000"/>
                <a:gd name="connsiteX35" fmla="*/ 1757 w 10000"/>
                <a:gd name="connsiteY35" fmla="*/ 4386 h 10000"/>
                <a:gd name="connsiteX36" fmla="*/ 1384 w 10000"/>
                <a:gd name="connsiteY36" fmla="*/ 5062 h 10000"/>
                <a:gd name="connsiteX37" fmla="*/ 1028 w 10000"/>
                <a:gd name="connsiteY37" fmla="*/ 5737 h 10000"/>
                <a:gd name="connsiteX38" fmla="*/ 674 w 10000"/>
                <a:gd name="connsiteY38" fmla="*/ 6455 h 10000"/>
                <a:gd name="connsiteX39" fmla="*/ 0 w 10000"/>
                <a:gd name="connsiteY3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843 w 10000"/>
                <a:gd name="connsiteY13" fmla="*/ 410 h 10000"/>
                <a:gd name="connsiteX14" fmla="*/ 8157 w 10000"/>
                <a:gd name="connsiteY14" fmla="*/ 492 h 10000"/>
                <a:gd name="connsiteX15" fmla="*/ 8437 w 10000"/>
                <a:gd name="connsiteY15" fmla="*/ 634 h 10000"/>
                <a:gd name="connsiteX16" fmla="*/ 8734 w 10000"/>
                <a:gd name="connsiteY16" fmla="*/ 780 h 10000"/>
                <a:gd name="connsiteX17" fmla="*/ 8989 w 10000"/>
                <a:gd name="connsiteY17" fmla="*/ 985 h 10000"/>
                <a:gd name="connsiteX18" fmla="*/ 9267 w 10000"/>
                <a:gd name="connsiteY18" fmla="*/ 1250 h 10000"/>
                <a:gd name="connsiteX19" fmla="*/ 9505 w 10000"/>
                <a:gd name="connsiteY19" fmla="*/ 1536 h 10000"/>
                <a:gd name="connsiteX20" fmla="*/ 9781 w 10000"/>
                <a:gd name="connsiteY20" fmla="*/ 1864 h 10000"/>
                <a:gd name="connsiteX21" fmla="*/ 10000 w 10000"/>
                <a:gd name="connsiteY21" fmla="*/ 2213 h 10000"/>
                <a:gd name="connsiteX22" fmla="*/ 9838 w 10000"/>
                <a:gd name="connsiteY22" fmla="*/ 656 h 10000"/>
                <a:gd name="connsiteX23" fmla="*/ 9484 w 10000"/>
                <a:gd name="connsiteY23" fmla="*/ 470 h 10000"/>
                <a:gd name="connsiteX24" fmla="*/ 9129 w 10000"/>
                <a:gd name="connsiteY24" fmla="*/ 307 h 10000"/>
                <a:gd name="connsiteX25" fmla="*/ 8754 w 10000"/>
                <a:gd name="connsiteY25" fmla="*/ 184 h 10000"/>
                <a:gd name="connsiteX26" fmla="*/ 8356 w 10000"/>
                <a:gd name="connsiteY26" fmla="*/ 101 h 10000"/>
                <a:gd name="connsiteX27" fmla="*/ 7943 w 10000"/>
                <a:gd name="connsiteY27" fmla="*/ 21 h 10000"/>
                <a:gd name="connsiteX28" fmla="*/ 7526 w 10000"/>
                <a:gd name="connsiteY28" fmla="*/ 0 h 10000"/>
                <a:gd name="connsiteX29" fmla="*/ 7172 w 10000"/>
                <a:gd name="connsiteY29" fmla="*/ 21 h 10000"/>
                <a:gd name="connsiteX30" fmla="*/ 3458 w 10000"/>
                <a:gd name="connsiteY30" fmla="*/ 1989 h 10000"/>
                <a:gd name="connsiteX31" fmla="*/ 3003 w 10000"/>
                <a:gd name="connsiteY31" fmla="*/ 2540 h 10000"/>
                <a:gd name="connsiteX32" fmla="*/ 2570 w 10000"/>
                <a:gd name="connsiteY32" fmla="*/ 3116 h 10000"/>
                <a:gd name="connsiteX33" fmla="*/ 2155 w 10000"/>
                <a:gd name="connsiteY33" fmla="*/ 3730 h 10000"/>
                <a:gd name="connsiteX34" fmla="*/ 1757 w 10000"/>
                <a:gd name="connsiteY34" fmla="*/ 4386 h 10000"/>
                <a:gd name="connsiteX35" fmla="*/ 1384 w 10000"/>
                <a:gd name="connsiteY35" fmla="*/ 5062 h 10000"/>
                <a:gd name="connsiteX36" fmla="*/ 1028 w 10000"/>
                <a:gd name="connsiteY36" fmla="*/ 5737 h 10000"/>
                <a:gd name="connsiteX37" fmla="*/ 674 w 10000"/>
                <a:gd name="connsiteY37" fmla="*/ 6455 h 10000"/>
                <a:gd name="connsiteX38" fmla="*/ 0 w 10000"/>
                <a:gd name="connsiteY3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7172 w 10000"/>
                <a:gd name="connsiteY28" fmla="*/ 21 h 10000"/>
                <a:gd name="connsiteX29" fmla="*/ 3458 w 10000"/>
                <a:gd name="connsiteY29" fmla="*/ 1989 h 10000"/>
                <a:gd name="connsiteX30" fmla="*/ 3003 w 10000"/>
                <a:gd name="connsiteY30" fmla="*/ 2540 h 10000"/>
                <a:gd name="connsiteX31" fmla="*/ 2570 w 10000"/>
                <a:gd name="connsiteY31" fmla="*/ 3116 h 10000"/>
                <a:gd name="connsiteX32" fmla="*/ 2155 w 10000"/>
                <a:gd name="connsiteY32" fmla="*/ 3730 h 10000"/>
                <a:gd name="connsiteX33" fmla="*/ 1757 w 10000"/>
                <a:gd name="connsiteY33" fmla="*/ 4386 h 10000"/>
                <a:gd name="connsiteX34" fmla="*/ 1384 w 10000"/>
                <a:gd name="connsiteY34" fmla="*/ 5062 h 10000"/>
                <a:gd name="connsiteX35" fmla="*/ 1028 w 10000"/>
                <a:gd name="connsiteY35" fmla="*/ 5737 h 10000"/>
                <a:gd name="connsiteX36" fmla="*/ 674 w 10000"/>
                <a:gd name="connsiteY36" fmla="*/ 6455 h 10000"/>
                <a:gd name="connsiteX37" fmla="*/ 0 w 10000"/>
                <a:gd name="connsiteY3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3458 w 10000"/>
                <a:gd name="connsiteY28" fmla="*/ 1989 h 10000"/>
                <a:gd name="connsiteX29" fmla="*/ 3003 w 10000"/>
                <a:gd name="connsiteY29" fmla="*/ 2540 h 10000"/>
                <a:gd name="connsiteX30" fmla="*/ 2570 w 10000"/>
                <a:gd name="connsiteY30" fmla="*/ 3116 h 10000"/>
                <a:gd name="connsiteX31" fmla="*/ 2155 w 10000"/>
                <a:gd name="connsiteY31" fmla="*/ 3730 h 10000"/>
                <a:gd name="connsiteX32" fmla="*/ 1757 w 10000"/>
                <a:gd name="connsiteY32" fmla="*/ 4386 h 10000"/>
                <a:gd name="connsiteX33" fmla="*/ 1384 w 10000"/>
                <a:gd name="connsiteY33" fmla="*/ 5062 h 10000"/>
                <a:gd name="connsiteX34" fmla="*/ 1028 w 10000"/>
                <a:gd name="connsiteY34" fmla="*/ 5737 h 10000"/>
                <a:gd name="connsiteX35" fmla="*/ 674 w 10000"/>
                <a:gd name="connsiteY35" fmla="*/ 6455 h 10000"/>
                <a:gd name="connsiteX36" fmla="*/ 0 w 10000"/>
                <a:gd name="connsiteY3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269 w 10000"/>
                <a:gd name="connsiteY10" fmla="*/ 388 h 10000"/>
                <a:gd name="connsiteX11" fmla="*/ 7843 w 10000"/>
                <a:gd name="connsiteY11" fmla="*/ 410 h 10000"/>
                <a:gd name="connsiteX12" fmla="*/ 8157 w 10000"/>
                <a:gd name="connsiteY12" fmla="*/ 492 h 10000"/>
                <a:gd name="connsiteX13" fmla="*/ 8437 w 10000"/>
                <a:gd name="connsiteY13" fmla="*/ 634 h 10000"/>
                <a:gd name="connsiteX14" fmla="*/ 8734 w 10000"/>
                <a:gd name="connsiteY14" fmla="*/ 780 h 10000"/>
                <a:gd name="connsiteX15" fmla="*/ 8989 w 10000"/>
                <a:gd name="connsiteY15" fmla="*/ 985 h 10000"/>
                <a:gd name="connsiteX16" fmla="*/ 9267 w 10000"/>
                <a:gd name="connsiteY16" fmla="*/ 1250 h 10000"/>
                <a:gd name="connsiteX17" fmla="*/ 9505 w 10000"/>
                <a:gd name="connsiteY17" fmla="*/ 1536 h 10000"/>
                <a:gd name="connsiteX18" fmla="*/ 9781 w 10000"/>
                <a:gd name="connsiteY18" fmla="*/ 1864 h 10000"/>
                <a:gd name="connsiteX19" fmla="*/ 10000 w 10000"/>
                <a:gd name="connsiteY19" fmla="*/ 2213 h 10000"/>
                <a:gd name="connsiteX20" fmla="*/ 9838 w 10000"/>
                <a:gd name="connsiteY20" fmla="*/ 656 h 10000"/>
                <a:gd name="connsiteX21" fmla="*/ 9484 w 10000"/>
                <a:gd name="connsiteY21" fmla="*/ 470 h 10000"/>
                <a:gd name="connsiteX22" fmla="*/ 9129 w 10000"/>
                <a:gd name="connsiteY22" fmla="*/ 307 h 10000"/>
                <a:gd name="connsiteX23" fmla="*/ 8754 w 10000"/>
                <a:gd name="connsiteY23" fmla="*/ 184 h 10000"/>
                <a:gd name="connsiteX24" fmla="*/ 8356 w 10000"/>
                <a:gd name="connsiteY24" fmla="*/ 101 h 10000"/>
                <a:gd name="connsiteX25" fmla="*/ 7943 w 10000"/>
                <a:gd name="connsiteY25" fmla="*/ 21 h 10000"/>
                <a:gd name="connsiteX26" fmla="*/ 7526 w 10000"/>
                <a:gd name="connsiteY26" fmla="*/ 0 h 10000"/>
                <a:gd name="connsiteX27" fmla="*/ 3458 w 10000"/>
                <a:gd name="connsiteY27" fmla="*/ 1989 h 10000"/>
                <a:gd name="connsiteX28" fmla="*/ 3003 w 10000"/>
                <a:gd name="connsiteY28" fmla="*/ 2540 h 10000"/>
                <a:gd name="connsiteX29" fmla="*/ 2570 w 10000"/>
                <a:gd name="connsiteY29" fmla="*/ 3116 h 10000"/>
                <a:gd name="connsiteX30" fmla="*/ 2155 w 10000"/>
                <a:gd name="connsiteY30" fmla="*/ 3730 h 10000"/>
                <a:gd name="connsiteX31" fmla="*/ 1757 w 10000"/>
                <a:gd name="connsiteY31" fmla="*/ 4386 h 10000"/>
                <a:gd name="connsiteX32" fmla="*/ 1384 w 10000"/>
                <a:gd name="connsiteY32" fmla="*/ 5062 h 10000"/>
                <a:gd name="connsiteX33" fmla="*/ 1028 w 10000"/>
                <a:gd name="connsiteY33" fmla="*/ 5737 h 10000"/>
                <a:gd name="connsiteX34" fmla="*/ 674 w 10000"/>
                <a:gd name="connsiteY34" fmla="*/ 6455 h 10000"/>
                <a:gd name="connsiteX35" fmla="*/ 0 w 10000"/>
                <a:gd name="connsiteY3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843 w 10000"/>
                <a:gd name="connsiteY10" fmla="*/ 410 h 10000"/>
                <a:gd name="connsiteX11" fmla="*/ 8157 w 10000"/>
                <a:gd name="connsiteY11" fmla="*/ 492 h 10000"/>
                <a:gd name="connsiteX12" fmla="*/ 8437 w 10000"/>
                <a:gd name="connsiteY12" fmla="*/ 634 h 10000"/>
                <a:gd name="connsiteX13" fmla="*/ 8734 w 10000"/>
                <a:gd name="connsiteY13" fmla="*/ 780 h 10000"/>
                <a:gd name="connsiteX14" fmla="*/ 8989 w 10000"/>
                <a:gd name="connsiteY14" fmla="*/ 985 h 10000"/>
                <a:gd name="connsiteX15" fmla="*/ 9267 w 10000"/>
                <a:gd name="connsiteY15" fmla="*/ 1250 h 10000"/>
                <a:gd name="connsiteX16" fmla="*/ 9505 w 10000"/>
                <a:gd name="connsiteY16" fmla="*/ 1536 h 10000"/>
                <a:gd name="connsiteX17" fmla="*/ 9781 w 10000"/>
                <a:gd name="connsiteY17" fmla="*/ 1864 h 10000"/>
                <a:gd name="connsiteX18" fmla="*/ 10000 w 10000"/>
                <a:gd name="connsiteY18" fmla="*/ 2213 h 10000"/>
                <a:gd name="connsiteX19" fmla="*/ 9838 w 10000"/>
                <a:gd name="connsiteY19" fmla="*/ 656 h 10000"/>
                <a:gd name="connsiteX20" fmla="*/ 9484 w 10000"/>
                <a:gd name="connsiteY20" fmla="*/ 470 h 10000"/>
                <a:gd name="connsiteX21" fmla="*/ 9129 w 10000"/>
                <a:gd name="connsiteY21" fmla="*/ 307 h 10000"/>
                <a:gd name="connsiteX22" fmla="*/ 8754 w 10000"/>
                <a:gd name="connsiteY22" fmla="*/ 184 h 10000"/>
                <a:gd name="connsiteX23" fmla="*/ 8356 w 10000"/>
                <a:gd name="connsiteY23" fmla="*/ 101 h 10000"/>
                <a:gd name="connsiteX24" fmla="*/ 7943 w 10000"/>
                <a:gd name="connsiteY24" fmla="*/ 21 h 10000"/>
                <a:gd name="connsiteX25" fmla="*/ 7526 w 10000"/>
                <a:gd name="connsiteY25" fmla="*/ 0 h 10000"/>
                <a:gd name="connsiteX26" fmla="*/ 3458 w 10000"/>
                <a:gd name="connsiteY26" fmla="*/ 1989 h 10000"/>
                <a:gd name="connsiteX27" fmla="*/ 3003 w 10000"/>
                <a:gd name="connsiteY27" fmla="*/ 2540 h 10000"/>
                <a:gd name="connsiteX28" fmla="*/ 2570 w 10000"/>
                <a:gd name="connsiteY28" fmla="*/ 3116 h 10000"/>
                <a:gd name="connsiteX29" fmla="*/ 2155 w 10000"/>
                <a:gd name="connsiteY29" fmla="*/ 3730 h 10000"/>
                <a:gd name="connsiteX30" fmla="*/ 1757 w 10000"/>
                <a:gd name="connsiteY30" fmla="*/ 4386 h 10000"/>
                <a:gd name="connsiteX31" fmla="*/ 1384 w 10000"/>
                <a:gd name="connsiteY31" fmla="*/ 5062 h 10000"/>
                <a:gd name="connsiteX32" fmla="*/ 1028 w 10000"/>
                <a:gd name="connsiteY32" fmla="*/ 5737 h 10000"/>
                <a:gd name="connsiteX33" fmla="*/ 674 w 10000"/>
                <a:gd name="connsiteY33" fmla="*/ 6455 h 10000"/>
                <a:gd name="connsiteX34" fmla="*/ 0 w 10000"/>
                <a:gd name="connsiteY34" fmla="*/ 7890 h 10000"/>
                <a:gd name="connsiteX0" fmla="*/ 0 w 10000"/>
                <a:gd name="connsiteY0" fmla="*/ 7869 h 9979"/>
                <a:gd name="connsiteX1" fmla="*/ 0 w 10000"/>
                <a:gd name="connsiteY1" fmla="*/ 7869 h 9979"/>
                <a:gd name="connsiteX2" fmla="*/ 495 w 10000"/>
                <a:gd name="connsiteY2" fmla="*/ 8934 h 9979"/>
                <a:gd name="connsiteX3" fmla="*/ 948 w 10000"/>
                <a:gd name="connsiteY3" fmla="*/ 9979 h 9979"/>
                <a:gd name="connsiteX4" fmla="*/ 1403 w 10000"/>
                <a:gd name="connsiteY4" fmla="*/ 9201 h 9979"/>
                <a:gd name="connsiteX5" fmla="*/ 1816 w 10000"/>
                <a:gd name="connsiteY5" fmla="*/ 8382 h 9979"/>
                <a:gd name="connsiteX6" fmla="*/ 2253 w 10000"/>
                <a:gd name="connsiteY6" fmla="*/ 7581 h 9979"/>
                <a:gd name="connsiteX7" fmla="*/ 2626 w 10000"/>
                <a:gd name="connsiteY7" fmla="*/ 6761 h 9979"/>
                <a:gd name="connsiteX8" fmla="*/ 3380 w 10000"/>
                <a:gd name="connsiteY8" fmla="*/ 5144 h 9979"/>
                <a:gd name="connsiteX9" fmla="*/ 3756 w 10000"/>
                <a:gd name="connsiteY9" fmla="*/ 4365 h 9979"/>
                <a:gd name="connsiteX10" fmla="*/ 7843 w 10000"/>
                <a:gd name="connsiteY10" fmla="*/ 389 h 9979"/>
                <a:gd name="connsiteX11" fmla="*/ 8157 w 10000"/>
                <a:gd name="connsiteY11" fmla="*/ 471 h 9979"/>
                <a:gd name="connsiteX12" fmla="*/ 8437 w 10000"/>
                <a:gd name="connsiteY12" fmla="*/ 613 h 9979"/>
                <a:gd name="connsiteX13" fmla="*/ 8734 w 10000"/>
                <a:gd name="connsiteY13" fmla="*/ 759 h 9979"/>
                <a:gd name="connsiteX14" fmla="*/ 8989 w 10000"/>
                <a:gd name="connsiteY14" fmla="*/ 964 h 9979"/>
                <a:gd name="connsiteX15" fmla="*/ 9267 w 10000"/>
                <a:gd name="connsiteY15" fmla="*/ 1229 h 9979"/>
                <a:gd name="connsiteX16" fmla="*/ 9505 w 10000"/>
                <a:gd name="connsiteY16" fmla="*/ 1515 h 9979"/>
                <a:gd name="connsiteX17" fmla="*/ 9781 w 10000"/>
                <a:gd name="connsiteY17" fmla="*/ 1843 h 9979"/>
                <a:gd name="connsiteX18" fmla="*/ 10000 w 10000"/>
                <a:gd name="connsiteY18" fmla="*/ 2192 h 9979"/>
                <a:gd name="connsiteX19" fmla="*/ 9838 w 10000"/>
                <a:gd name="connsiteY19" fmla="*/ 635 h 9979"/>
                <a:gd name="connsiteX20" fmla="*/ 9484 w 10000"/>
                <a:gd name="connsiteY20" fmla="*/ 449 h 9979"/>
                <a:gd name="connsiteX21" fmla="*/ 9129 w 10000"/>
                <a:gd name="connsiteY21" fmla="*/ 286 h 9979"/>
                <a:gd name="connsiteX22" fmla="*/ 8754 w 10000"/>
                <a:gd name="connsiteY22" fmla="*/ 163 h 9979"/>
                <a:gd name="connsiteX23" fmla="*/ 8356 w 10000"/>
                <a:gd name="connsiteY23" fmla="*/ 80 h 9979"/>
                <a:gd name="connsiteX24" fmla="*/ 7943 w 10000"/>
                <a:gd name="connsiteY24" fmla="*/ 0 h 9979"/>
                <a:gd name="connsiteX25" fmla="*/ 3458 w 10000"/>
                <a:gd name="connsiteY25" fmla="*/ 1968 h 9979"/>
                <a:gd name="connsiteX26" fmla="*/ 3003 w 10000"/>
                <a:gd name="connsiteY26" fmla="*/ 2519 h 9979"/>
                <a:gd name="connsiteX27" fmla="*/ 2570 w 10000"/>
                <a:gd name="connsiteY27" fmla="*/ 3095 h 9979"/>
                <a:gd name="connsiteX28" fmla="*/ 2155 w 10000"/>
                <a:gd name="connsiteY28" fmla="*/ 3709 h 9979"/>
                <a:gd name="connsiteX29" fmla="*/ 1757 w 10000"/>
                <a:gd name="connsiteY29" fmla="*/ 4365 h 9979"/>
                <a:gd name="connsiteX30" fmla="*/ 1384 w 10000"/>
                <a:gd name="connsiteY30" fmla="*/ 5041 h 9979"/>
                <a:gd name="connsiteX31" fmla="*/ 1028 w 10000"/>
                <a:gd name="connsiteY31" fmla="*/ 5716 h 9979"/>
                <a:gd name="connsiteX32" fmla="*/ 674 w 10000"/>
                <a:gd name="connsiteY32" fmla="*/ 6434 h 9979"/>
                <a:gd name="connsiteX33" fmla="*/ 0 w 10000"/>
                <a:gd name="connsiteY33" fmla="*/ 7869 h 9979"/>
                <a:gd name="connsiteX0" fmla="*/ 0 w 10000"/>
                <a:gd name="connsiteY0" fmla="*/ 7806 h 9920"/>
                <a:gd name="connsiteX1" fmla="*/ 0 w 10000"/>
                <a:gd name="connsiteY1" fmla="*/ 7806 h 9920"/>
                <a:gd name="connsiteX2" fmla="*/ 495 w 10000"/>
                <a:gd name="connsiteY2" fmla="*/ 8873 h 9920"/>
                <a:gd name="connsiteX3" fmla="*/ 948 w 10000"/>
                <a:gd name="connsiteY3" fmla="*/ 9920 h 9920"/>
                <a:gd name="connsiteX4" fmla="*/ 1403 w 10000"/>
                <a:gd name="connsiteY4" fmla="*/ 9140 h 9920"/>
                <a:gd name="connsiteX5" fmla="*/ 1816 w 10000"/>
                <a:gd name="connsiteY5" fmla="*/ 8320 h 9920"/>
                <a:gd name="connsiteX6" fmla="*/ 2253 w 10000"/>
                <a:gd name="connsiteY6" fmla="*/ 7517 h 9920"/>
                <a:gd name="connsiteX7" fmla="*/ 2626 w 10000"/>
                <a:gd name="connsiteY7" fmla="*/ 6695 h 9920"/>
                <a:gd name="connsiteX8" fmla="*/ 3380 w 10000"/>
                <a:gd name="connsiteY8" fmla="*/ 5075 h 9920"/>
                <a:gd name="connsiteX9" fmla="*/ 3756 w 10000"/>
                <a:gd name="connsiteY9" fmla="*/ 4294 h 9920"/>
                <a:gd name="connsiteX10" fmla="*/ 7843 w 10000"/>
                <a:gd name="connsiteY10" fmla="*/ 310 h 9920"/>
                <a:gd name="connsiteX11" fmla="*/ 8157 w 10000"/>
                <a:gd name="connsiteY11" fmla="*/ 392 h 9920"/>
                <a:gd name="connsiteX12" fmla="*/ 8437 w 10000"/>
                <a:gd name="connsiteY12" fmla="*/ 534 h 9920"/>
                <a:gd name="connsiteX13" fmla="*/ 8734 w 10000"/>
                <a:gd name="connsiteY13" fmla="*/ 681 h 9920"/>
                <a:gd name="connsiteX14" fmla="*/ 8989 w 10000"/>
                <a:gd name="connsiteY14" fmla="*/ 886 h 9920"/>
                <a:gd name="connsiteX15" fmla="*/ 9267 w 10000"/>
                <a:gd name="connsiteY15" fmla="*/ 1152 h 9920"/>
                <a:gd name="connsiteX16" fmla="*/ 9505 w 10000"/>
                <a:gd name="connsiteY16" fmla="*/ 1438 h 9920"/>
                <a:gd name="connsiteX17" fmla="*/ 9781 w 10000"/>
                <a:gd name="connsiteY17" fmla="*/ 1767 h 9920"/>
                <a:gd name="connsiteX18" fmla="*/ 10000 w 10000"/>
                <a:gd name="connsiteY18" fmla="*/ 2117 h 9920"/>
                <a:gd name="connsiteX19" fmla="*/ 9838 w 10000"/>
                <a:gd name="connsiteY19" fmla="*/ 556 h 9920"/>
                <a:gd name="connsiteX20" fmla="*/ 9484 w 10000"/>
                <a:gd name="connsiteY20" fmla="*/ 370 h 9920"/>
                <a:gd name="connsiteX21" fmla="*/ 9129 w 10000"/>
                <a:gd name="connsiteY21" fmla="*/ 207 h 9920"/>
                <a:gd name="connsiteX22" fmla="*/ 8754 w 10000"/>
                <a:gd name="connsiteY22" fmla="*/ 83 h 9920"/>
                <a:gd name="connsiteX23" fmla="*/ 8356 w 10000"/>
                <a:gd name="connsiteY23" fmla="*/ 0 h 9920"/>
                <a:gd name="connsiteX24" fmla="*/ 3458 w 10000"/>
                <a:gd name="connsiteY24" fmla="*/ 1892 h 9920"/>
                <a:gd name="connsiteX25" fmla="*/ 3003 w 10000"/>
                <a:gd name="connsiteY25" fmla="*/ 2444 h 9920"/>
                <a:gd name="connsiteX26" fmla="*/ 2570 w 10000"/>
                <a:gd name="connsiteY26" fmla="*/ 3022 h 9920"/>
                <a:gd name="connsiteX27" fmla="*/ 2155 w 10000"/>
                <a:gd name="connsiteY27" fmla="*/ 3637 h 9920"/>
                <a:gd name="connsiteX28" fmla="*/ 1757 w 10000"/>
                <a:gd name="connsiteY28" fmla="*/ 4294 h 9920"/>
                <a:gd name="connsiteX29" fmla="*/ 1384 w 10000"/>
                <a:gd name="connsiteY29" fmla="*/ 4972 h 9920"/>
                <a:gd name="connsiteX30" fmla="*/ 1028 w 10000"/>
                <a:gd name="connsiteY30" fmla="*/ 5648 h 9920"/>
                <a:gd name="connsiteX31" fmla="*/ 674 w 10000"/>
                <a:gd name="connsiteY31" fmla="*/ 6368 h 9920"/>
                <a:gd name="connsiteX32" fmla="*/ 0 w 10000"/>
                <a:gd name="connsiteY32" fmla="*/ 7806 h 992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437 w 10000"/>
                <a:gd name="connsiteY11" fmla="*/ 538 h 10000"/>
                <a:gd name="connsiteX12" fmla="*/ 8734 w 10000"/>
                <a:gd name="connsiteY12" fmla="*/ 686 h 10000"/>
                <a:gd name="connsiteX13" fmla="*/ 8989 w 10000"/>
                <a:gd name="connsiteY13" fmla="*/ 893 h 10000"/>
                <a:gd name="connsiteX14" fmla="*/ 9267 w 10000"/>
                <a:gd name="connsiteY14" fmla="*/ 1161 h 10000"/>
                <a:gd name="connsiteX15" fmla="*/ 9505 w 10000"/>
                <a:gd name="connsiteY15" fmla="*/ 1450 h 10000"/>
                <a:gd name="connsiteX16" fmla="*/ 9781 w 10000"/>
                <a:gd name="connsiteY16" fmla="*/ 1781 h 10000"/>
                <a:gd name="connsiteX17" fmla="*/ 10000 w 10000"/>
                <a:gd name="connsiteY17" fmla="*/ 2134 h 10000"/>
                <a:gd name="connsiteX18" fmla="*/ 9838 w 10000"/>
                <a:gd name="connsiteY18" fmla="*/ 560 h 10000"/>
                <a:gd name="connsiteX19" fmla="*/ 9484 w 10000"/>
                <a:gd name="connsiteY19" fmla="*/ 373 h 10000"/>
                <a:gd name="connsiteX20" fmla="*/ 9129 w 10000"/>
                <a:gd name="connsiteY20" fmla="*/ 209 h 10000"/>
                <a:gd name="connsiteX21" fmla="*/ 8754 w 10000"/>
                <a:gd name="connsiteY21" fmla="*/ 84 h 10000"/>
                <a:gd name="connsiteX22" fmla="*/ 8356 w 10000"/>
                <a:gd name="connsiteY22" fmla="*/ 0 h 10000"/>
                <a:gd name="connsiteX23" fmla="*/ 3458 w 10000"/>
                <a:gd name="connsiteY23" fmla="*/ 1907 h 10000"/>
                <a:gd name="connsiteX24" fmla="*/ 3003 w 10000"/>
                <a:gd name="connsiteY24" fmla="*/ 2464 h 10000"/>
                <a:gd name="connsiteX25" fmla="*/ 2570 w 10000"/>
                <a:gd name="connsiteY25" fmla="*/ 3046 h 10000"/>
                <a:gd name="connsiteX26" fmla="*/ 2155 w 10000"/>
                <a:gd name="connsiteY26" fmla="*/ 3666 h 10000"/>
                <a:gd name="connsiteX27" fmla="*/ 1757 w 10000"/>
                <a:gd name="connsiteY27" fmla="*/ 4329 h 10000"/>
                <a:gd name="connsiteX28" fmla="*/ 1384 w 10000"/>
                <a:gd name="connsiteY28" fmla="*/ 5012 h 10000"/>
                <a:gd name="connsiteX29" fmla="*/ 1028 w 10000"/>
                <a:gd name="connsiteY29" fmla="*/ 5694 h 10000"/>
                <a:gd name="connsiteX30" fmla="*/ 674 w 10000"/>
                <a:gd name="connsiteY30" fmla="*/ 6419 h 10000"/>
                <a:gd name="connsiteX31" fmla="*/ 0 w 10000"/>
                <a:gd name="connsiteY31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734 w 10000"/>
                <a:gd name="connsiteY11" fmla="*/ 686 h 10000"/>
                <a:gd name="connsiteX12" fmla="*/ 8989 w 10000"/>
                <a:gd name="connsiteY12" fmla="*/ 893 h 10000"/>
                <a:gd name="connsiteX13" fmla="*/ 9267 w 10000"/>
                <a:gd name="connsiteY13" fmla="*/ 1161 h 10000"/>
                <a:gd name="connsiteX14" fmla="*/ 9505 w 10000"/>
                <a:gd name="connsiteY14" fmla="*/ 1450 h 10000"/>
                <a:gd name="connsiteX15" fmla="*/ 9781 w 10000"/>
                <a:gd name="connsiteY15" fmla="*/ 1781 h 10000"/>
                <a:gd name="connsiteX16" fmla="*/ 10000 w 10000"/>
                <a:gd name="connsiteY16" fmla="*/ 2134 h 10000"/>
                <a:gd name="connsiteX17" fmla="*/ 9838 w 10000"/>
                <a:gd name="connsiteY17" fmla="*/ 560 h 10000"/>
                <a:gd name="connsiteX18" fmla="*/ 9484 w 10000"/>
                <a:gd name="connsiteY18" fmla="*/ 373 h 10000"/>
                <a:gd name="connsiteX19" fmla="*/ 9129 w 10000"/>
                <a:gd name="connsiteY19" fmla="*/ 209 h 10000"/>
                <a:gd name="connsiteX20" fmla="*/ 8754 w 10000"/>
                <a:gd name="connsiteY20" fmla="*/ 84 h 10000"/>
                <a:gd name="connsiteX21" fmla="*/ 8356 w 10000"/>
                <a:gd name="connsiteY21" fmla="*/ 0 h 10000"/>
                <a:gd name="connsiteX22" fmla="*/ 3458 w 10000"/>
                <a:gd name="connsiteY22" fmla="*/ 1907 h 10000"/>
                <a:gd name="connsiteX23" fmla="*/ 3003 w 10000"/>
                <a:gd name="connsiteY23" fmla="*/ 2464 h 10000"/>
                <a:gd name="connsiteX24" fmla="*/ 2570 w 10000"/>
                <a:gd name="connsiteY24" fmla="*/ 3046 h 10000"/>
                <a:gd name="connsiteX25" fmla="*/ 2155 w 10000"/>
                <a:gd name="connsiteY25" fmla="*/ 3666 h 10000"/>
                <a:gd name="connsiteX26" fmla="*/ 1757 w 10000"/>
                <a:gd name="connsiteY26" fmla="*/ 4329 h 10000"/>
                <a:gd name="connsiteX27" fmla="*/ 1384 w 10000"/>
                <a:gd name="connsiteY27" fmla="*/ 5012 h 10000"/>
                <a:gd name="connsiteX28" fmla="*/ 1028 w 10000"/>
                <a:gd name="connsiteY28" fmla="*/ 5694 h 10000"/>
                <a:gd name="connsiteX29" fmla="*/ 674 w 10000"/>
                <a:gd name="connsiteY29" fmla="*/ 6419 h 10000"/>
                <a:gd name="connsiteX30" fmla="*/ 0 w 10000"/>
                <a:gd name="connsiteY30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734 w 10000"/>
                <a:gd name="connsiteY10" fmla="*/ 686 h 10000"/>
                <a:gd name="connsiteX11" fmla="*/ 8989 w 10000"/>
                <a:gd name="connsiteY11" fmla="*/ 893 h 10000"/>
                <a:gd name="connsiteX12" fmla="*/ 9267 w 10000"/>
                <a:gd name="connsiteY12" fmla="*/ 1161 h 10000"/>
                <a:gd name="connsiteX13" fmla="*/ 9505 w 10000"/>
                <a:gd name="connsiteY13" fmla="*/ 1450 h 10000"/>
                <a:gd name="connsiteX14" fmla="*/ 9781 w 10000"/>
                <a:gd name="connsiteY14" fmla="*/ 1781 h 10000"/>
                <a:gd name="connsiteX15" fmla="*/ 10000 w 10000"/>
                <a:gd name="connsiteY15" fmla="*/ 2134 h 10000"/>
                <a:gd name="connsiteX16" fmla="*/ 9838 w 10000"/>
                <a:gd name="connsiteY16" fmla="*/ 560 h 10000"/>
                <a:gd name="connsiteX17" fmla="*/ 9484 w 10000"/>
                <a:gd name="connsiteY17" fmla="*/ 373 h 10000"/>
                <a:gd name="connsiteX18" fmla="*/ 9129 w 10000"/>
                <a:gd name="connsiteY18" fmla="*/ 209 h 10000"/>
                <a:gd name="connsiteX19" fmla="*/ 8754 w 10000"/>
                <a:gd name="connsiteY19" fmla="*/ 84 h 10000"/>
                <a:gd name="connsiteX20" fmla="*/ 8356 w 10000"/>
                <a:gd name="connsiteY20" fmla="*/ 0 h 10000"/>
                <a:gd name="connsiteX21" fmla="*/ 3458 w 10000"/>
                <a:gd name="connsiteY21" fmla="*/ 1907 h 10000"/>
                <a:gd name="connsiteX22" fmla="*/ 3003 w 10000"/>
                <a:gd name="connsiteY22" fmla="*/ 2464 h 10000"/>
                <a:gd name="connsiteX23" fmla="*/ 2570 w 10000"/>
                <a:gd name="connsiteY23" fmla="*/ 3046 h 10000"/>
                <a:gd name="connsiteX24" fmla="*/ 2155 w 10000"/>
                <a:gd name="connsiteY24" fmla="*/ 3666 h 10000"/>
                <a:gd name="connsiteX25" fmla="*/ 1757 w 10000"/>
                <a:gd name="connsiteY25" fmla="*/ 4329 h 10000"/>
                <a:gd name="connsiteX26" fmla="*/ 1384 w 10000"/>
                <a:gd name="connsiteY26" fmla="*/ 5012 h 10000"/>
                <a:gd name="connsiteX27" fmla="*/ 1028 w 10000"/>
                <a:gd name="connsiteY27" fmla="*/ 5694 h 10000"/>
                <a:gd name="connsiteX28" fmla="*/ 674 w 10000"/>
                <a:gd name="connsiteY28" fmla="*/ 6419 h 10000"/>
                <a:gd name="connsiteX29" fmla="*/ 0 w 10000"/>
                <a:gd name="connsiteY29" fmla="*/ 7869 h 10000"/>
                <a:gd name="connsiteX0" fmla="*/ 0 w 10000"/>
                <a:gd name="connsiteY0" fmla="*/ 7785 h 9916"/>
                <a:gd name="connsiteX1" fmla="*/ 0 w 10000"/>
                <a:gd name="connsiteY1" fmla="*/ 7785 h 9916"/>
                <a:gd name="connsiteX2" fmla="*/ 495 w 10000"/>
                <a:gd name="connsiteY2" fmla="*/ 8861 h 9916"/>
                <a:gd name="connsiteX3" fmla="*/ 948 w 10000"/>
                <a:gd name="connsiteY3" fmla="*/ 9916 h 9916"/>
                <a:gd name="connsiteX4" fmla="*/ 1403 w 10000"/>
                <a:gd name="connsiteY4" fmla="*/ 9130 h 9916"/>
                <a:gd name="connsiteX5" fmla="*/ 1816 w 10000"/>
                <a:gd name="connsiteY5" fmla="*/ 8303 h 9916"/>
                <a:gd name="connsiteX6" fmla="*/ 2253 w 10000"/>
                <a:gd name="connsiteY6" fmla="*/ 7494 h 9916"/>
                <a:gd name="connsiteX7" fmla="*/ 2626 w 10000"/>
                <a:gd name="connsiteY7" fmla="*/ 6665 h 9916"/>
                <a:gd name="connsiteX8" fmla="*/ 3380 w 10000"/>
                <a:gd name="connsiteY8" fmla="*/ 5032 h 9916"/>
                <a:gd name="connsiteX9" fmla="*/ 3756 w 10000"/>
                <a:gd name="connsiteY9" fmla="*/ 4245 h 9916"/>
                <a:gd name="connsiteX10" fmla="*/ 8734 w 10000"/>
                <a:gd name="connsiteY10" fmla="*/ 602 h 9916"/>
                <a:gd name="connsiteX11" fmla="*/ 8989 w 10000"/>
                <a:gd name="connsiteY11" fmla="*/ 809 h 9916"/>
                <a:gd name="connsiteX12" fmla="*/ 9267 w 10000"/>
                <a:gd name="connsiteY12" fmla="*/ 1077 h 9916"/>
                <a:gd name="connsiteX13" fmla="*/ 9505 w 10000"/>
                <a:gd name="connsiteY13" fmla="*/ 1366 h 9916"/>
                <a:gd name="connsiteX14" fmla="*/ 9781 w 10000"/>
                <a:gd name="connsiteY14" fmla="*/ 1697 h 9916"/>
                <a:gd name="connsiteX15" fmla="*/ 10000 w 10000"/>
                <a:gd name="connsiteY15" fmla="*/ 2050 h 9916"/>
                <a:gd name="connsiteX16" fmla="*/ 9838 w 10000"/>
                <a:gd name="connsiteY16" fmla="*/ 476 h 9916"/>
                <a:gd name="connsiteX17" fmla="*/ 9484 w 10000"/>
                <a:gd name="connsiteY17" fmla="*/ 289 h 9916"/>
                <a:gd name="connsiteX18" fmla="*/ 9129 w 10000"/>
                <a:gd name="connsiteY18" fmla="*/ 125 h 9916"/>
                <a:gd name="connsiteX19" fmla="*/ 8754 w 10000"/>
                <a:gd name="connsiteY19" fmla="*/ 0 h 9916"/>
                <a:gd name="connsiteX20" fmla="*/ 3458 w 10000"/>
                <a:gd name="connsiteY20" fmla="*/ 1823 h 9916"/>
                <a:gd name="connsiteX21" fmla="*/ 3003 w 10000"/>
                <a:gd name="connsiteY21" fmla="*/ 2380 h 9916"/>
                <a:gd name="connsiteX22" fmla="*/ 2570 w 10000"/>
                <a:gd name="connsiteY22" fmla="*/ 2962 h 9916"/>
                <a:gd name="connsiteX23" fmla="*/ 2155 w 10000"/>
                <a:gd name="connsiteY23" fmla="*/ 3582 h 9916"/>
                <a:gd name="connsiteX24" fmla="*/ 1757 w 10000"/>
                <a:gd name="connsiteY24" fmla="*/ 4245 h 9916"/>
                <a:gd name="connsiteX25" fmla="*/ 1384 w 10000"/>
                <a:gd name="connsiteY25" fmla="*/ 4928 h 9916"/>
                <a:gd name="connsiteX26" fmla="*/ 1028 w 10000"/>
                <a:gd name="connsiteY26" fmla="*/ 5610 h 9916"/>
                <a:gd name="connsiteX27" fmla="*/ 674 w 10000"/>
                <a:gd name="connsiteY27" fmla="*/ 6335 h 9916"/>
                <a:gd name="connsiteX28" fmla="*/ 0 w 10000"/>
                <a:gd name="connsiteY28" fmla="*/ 7785 h 9916"/>
                <a:gd name="connsiteX0" fmla="*/ 0 w 10000"/>
                <a:gd name="connsiteY0" fmla="*/ 7725 h 9874"/>
                <a:gd name="connsiteX1" fmla="*/ 0 w 10000"/>
                <a:gd name="connsiteY1" fmla="*/ 7725 h 9874"/>
                <a:gd name="connsiteX2" fmla="*/ 495 w 10000"/>
                <a:gd name="connsiteY2" fmla="*/ 8810 h 9874"/>
                <a:gd name="connsiteX3" fmla="*/ 948 w 10000"/>
                <a:gd name="connsiteY3" fmla="*/ 9874 h 9874"/>
                <a:gd name="connsiteX4" fmla="*/ 1403 w 10000"/>
                <a:gd name="connsiteY4" fmla="*/ 9081 h 9874"/>
                <a:gd name="connsiteX5" fmla="*/ 1816 w 10000"/>
                <a:gd name="connsiteY5" fmla="*/ 8247 h 9874"/>
                <a:gd name="connsiteX6" fmla="*/ 2253 w 10000"/>
                <a:gd name="connsiteY6" fmla="*/ 7431 h 9874"/>
                <a:gd name="connsiteX7" fmla="*/ 2626 w 10000"/>
                <a:gd name="connsiteY7" fmla="*/ 6595 h 9874"/>
                <a:gd name="connsiteX8" fmla="*/ 3380 w 10000"/>
                <a:gd name="connsiteY8" fmla="*/ 4949 h 9874"/>
                <a:gd name="connsiteX9" fmla="*/ 3756 w 10000"/>
                <a:gd name="connsiteY9" fmla="*/ 4155 h 9874"/>
                <a:gd name="connsiteX10" fmla="*/ 8734 w 10000"/>
                <a:gd name="connsiteY10" fmla="*/ 481 h 9874"/>
                <a:gd name="connsiteX11" fmla="*/ 8989 w 10000"/>
                <a:gd name="connsiteY11" fmla="*/ 690 h 9874"/>
                <a:gd name="connsiteX12" fmla="*/ 9267 w 10000"/>
                <a:gd name="connsiteY12" fmla="*/ 960 h 9874"/>
                <a:gd name="connsiteX13" fmla="*/ 9505 w 10000"/>
                <a:gd name="connsiteY13" fmla="*/ 1252 h 9874"/>
                <a:gd name="connsiteX14" fmla="*/ 9781 w 10000"/>
                <a:gd name="connsiteY14" fmla="*/ 1585 h 9874"/>
                <a:gd name="connsiteX15" fmla="*/ 10000 w 10000"/>
                <a:gd name="connsiteY15" fmla="*/ 1941 h 9874"/>
                <a:gd name="connsiteX16" fmla="*/ 9838 w 10000"/>
                <a:gd name="connsiteY16" fmla="*/ 354 h 9874"/>
                <a:gd name="connsiteX17" fmla="*/ 9484 w 10000"/>
                <a:gd name="connsiteY17" fmla="*/ 165 h 9874"/>
                <a:gd name="connsiteX18" fmla="*/ 9129 w 10000"/>
                <a:gd name="connsiteY18" fmla="*/ 0 h 9874"/>
                <a:gd name="connsiteX19" fmla="*/ 3458 w 10000"/>
                <a:gd name="connsiteY19" fmla="*/ 1712 h 9874"/>
                <a:gd name="connsiteX20" fmla="*/ 3003 w 10000"/>
                <a:gd name="connsiteY20" fmla="*/ 2274 h 9874"/>
                <a:gd name="connsiteX21" fmla="*/ 2570 w 10000"/>
                <a:gd name="connsiteY21" fmla="*/ 2861 h 9874"/>
                <a:gd name="connsiteX22" fmla="*/ 2155 w 10000"/>
                <a:gd name="connsiteY22" fmla="*/ 3486 h 9874"/>
                <a:gd name="connsiteX23" fmla="*/ 1757 w 10000"/>
                <a:gd name="connsiteY23" fmla="*/ 4155 h 9874"/>
                <a:gd name="connsiteX24" fmla="*/ 1384 w 10000"/>
                <a:gd name="connsiteY24" fmla="*/ 4844 h 9874"/>
                <a:gd name="connsiteX25" fmla="*/ 1028 w 10000"/>
                <a:gd name="connsiteY25" fmla="*/ 5532 h 9874"/>
                <a:gd name="connsiteX26" fmla="*/ 674 w 10000"/>
                <a:gd name="connsiteY26" fmla="*/ 6263 h 9874"/>
                <a:gd name="connsiteX27" fmla="*/ 0 w 10000"/>
                <a:gd name="connsiteY27" fmla="*/ 7725 h 9874"/>
                <a:gd name="connsiteX0" fmla="*/ 0 w 10000"/>
                <a:gd name="connsiteY0" fmla="*/ 7657 h 9833"/>
                <a:gd name="connsiteX1" fmla="*/ 0 w 10000"/>
                <a:gd name="connsiteY1" fmla="*/ 7657 h 9833"/>
                <a:gd name="connsiteX2" fmla="*/ 495 w 10000"/>
                <a:gd name="connsiteY2" fmla="*/ 8755 h 9833"/>
                <a:gd name="connsiteX3" fmla="*/ 948 w 10000"/>
                <a:gd name="connsiteY3" fmla="*/ 9833 h 9833"/>
                <a:gd name="connsiteX4" fmla="*/ 1403 w 10000"/>
                <a:gd name="connsiteY4" fmla="*/ 9030 h 9833"/>
                <a:gd name="connsiteX5" fmla="*/ 1816 w 10000"/>
                <a:gd name="connsiteY5" fmla="*/ 8185 h 9833"/>
                <a:gd name="connsiteX6" fmla="*/ 2253 w 10000"/>
                <a:gd name="connsiteY6" fmla="*/ 7359 h 9833"/>
                <a:gd name="connsiteX7" fmla="*/ 2626 w 10000"/>
                <a:gd name="connsiteY7" fmla="*/ 6512 h 9833"/>
                <a:gd name="connsiteX8" fmla="*/ 3380 w 10000"/>
                <a:gd name="connsiteY8" fmla="*/ 4845 h 9833"/>
                <a:gd name="connsiteX9" fmla="*/ 3756 w 10000"/>
                <a:gd name="connsiteY9" fmla="*/ 4041 h 9833"/>
                <a:gd name="connsiteX10" fmla="*/ 8734 w 10000"/>
                <a:gd name="connsiteY10" fmla="*/ 320 h 9833"/>
                <a:gd name="connsiteX11" fmla="*/ 8989 w 10000"/>
                <a:gd name="connsiteY11" fmla="*/ 532 h 9833"/>
                <a:gd name="connsiteX12" fmla="*/ 9267 w 10000"/>
                <a:gd name="connsiteY12" fmla="*/ 805 h 9833"/>
                <a:gd name="connsiteX13" fmla="*/ 9505 w 10000"/>
                <a:gd name="connsiteY13" fmla="*/ 1101 h 9833"/>
                <a:gd name="connsiteX14" fmla="*/ 9781 w 10000"/>
                <a:gd name="connsiteY14" fmla="*/ 1438 h 9833"/>
                <a:gd name="connsiteX15" fmla="*/ 10000 w 10000"/>
                <a:gd name="connsiteY15" fmla="*/ 1799 h 9833"/>
                <a:gd name="connsiteX16" fmla="*/ 9838 w 10000"/>
                <a:gd name="connsiteY16" fmla="*/ 192 h 9833"/>
                <a:gd name="connsiteX17" fmla="*/ 9484 w 10000"/>
                <a:gd name="connsiteY17" fmla="*/ 0 h 9833"/>
                <a:gd name="connsiteX18" fmla="*/ 3458 w 10000"/>
                <a:gd name="connsiteY18" fmla="*/ 1567 h 9833"/>
                <a:gd name="connsiteX19" fmla="*/ 3003 w 10000"/>
                <a:gd name="connsiteY19" fmla="*/ 2136 h 9833"/>
                <a:gd name="connsiteX20" fmla="*/ 2570 w 10000"/>
                <a:gd name="connsiteY20" fmla="*/ 2731 h 9833"/>
                <a:gd name="connsiteX21" fmla="*/ 2155 w 10000"/>
                <a:gd name="connsiteY21" fmla="*/ 3363 h 9833"/>
                <a:gd name="connsiteX22" fmla="*/ 1757 w 10000"/>
                <a:gd name="connsiteY22" fmla="*/ 4041 h 9833"/>
                <a:gd name="connsiteX23" fmla="*/ 1384 w 10000"/>
                <a:gd name="connsiteY23" fmla="*/ 4739 h 9833"/>
                <a:gd name="connsiteX24" fmla="*/ 1028 w 10000"/>
                <a:gd name="connsiteY24" fmla="*/ 5436 h 9833"/>
                <a:gd name="connsiteX25" fmla="*/ 674 w 10000"/>
                <a:gd name="connsiteY25" fmla="*/ 6176 h 9833"/>
                <a:gd name="connsiteX26" fmla="*/ 0 w 10000"/>
                <a:gd name="connsiteY26" fmla="*/ 7657 h 9833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8734 w 10000"/>
                <a:gd name="connsiteY10" fmla="*/ 325 h 10000"/>
                <a:gd name="connsiteX11" fmla="*/ 9267 w 10000"/>
                <a:gd name="connsiteY11" fmla="*/ 819 h 10000"/>
                <a:gd name="connsiteX12" fmla="*/ 9505 w 10000"/>
                <a:gd name="connsiteY12" fmla="*/ 1120 h 10000"/>
                <a:gd name="connsiteX13" fmla="*/ 9781 w 10000"/>
                <a:gd name="connsiteY13" fmla="*/ 1462 h 10000"/>
                <a:gd name="connsiteX14" fmla="*/ 10000 w 10000"/>
                <a:gd name="connsiteY14" fmla="*/ 1830 h 10000"/>
                <a:gd name="connsiteX15" fmla="*/ 9838 w 10000"/>
                <a:gd name="connsiteY15" fmla="*/ 195 h 10000"/>
                <a:gd name="connsiteX16" fmla="*/ 9484 w 10000"/>
                <a:gd name="connsiteY16" fmla="*/ 0 h 10000"/>
                <a:gd name="connsiteX17" fmla="*/ 3458 w 10000"/>
                <a:gd name="connsiteY17" fmla="*/ 1594 h 10000"/>
                <a:gd name="connsiteX18" fmla="*/ 3003 w 10000"/>
                <a:gd name="connsiteY18" fmla="*/ 2172 h 10000"/>
                <a:gd name="connsiteX19" fmla="*/ 2570 w 10000"/>
                <a:gd name="connsiteY19" fmla="*/ 2777 h 10000"/>
                <a:gd name="connsiteX20" fmla="*/ 2155 w 10000"/>
                <a:gd name="connsiteY20" fmla="*/ 3420 h 10000"/>
                <a:gd name="connsiteX21" fmla="*/ 1757 w 10000"/>
                <a:gd name="connsiteY21" fmla="*/ 4110 h 10000"/>
                <a:gd name="connsiteX22" fmla="*/ 1384 w 10000"/>
                <a:gd name="connsiteY22" fmla="*/ 4819 h 10000"/>
                <a:gd name="connsiteX23" fmla="*/ 1028 w 10000"/>
                <a:gd name="connsiteY23" fmla="*/ 5528 h 10000"/>
                <a:gd name="connsiteX24" fmla="*/ 674 w 10000"/>
                <a:gd name="connsiteY24" fmla="*/ 6281 h 10000"/>
                <a:gd name="connsiteX25" fmla="*/ 0 w 10000"/>
                <a:gd name="connsiteY25" fmla="*/ 7787 h 10000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9267 w 10000"/>
                <a:gd name="connsiteY10" fmla="*/ 819 h 10000"/>
                <a:gd name="connsiteX11" fmla="*/ 9505 w 10000"/>
                <a:gd name="connsiteY11" fmla="*/ 1120 h 10000"/>
                <a:gd name="connsiteX12" fmla="*/ 9781 w 10000"/>
                <a:gd name="connsiteY12" fmla="*/ 1462 h 10000"/>
                <a:gd name="connsiteX13" fmla="*/ 10000 w 10000"/>
                <a:gd name="connsiteY13" fmla="*/ 1830 h 10000"/>
                <a:gd name="connsiteX14" fmla="*/ 9838 w 10000"/>
                <a:gd name="connsiteY14" fmla="*/ 195 h 10000"/>
                <a:gd name="connsiteX15" fmla="*/ 9484 w 10000"/>
                <a:gd name="connsiteY15" fmla="*/ 0 h 10000"/>
                <a:gd name="connsiteX16" fmla="*/ 3458 w 10000"/>
                <a:gd name="connsiteY16" fmla="*/ 1594 h 10000"/>
                <a:gd name="connsiteX17" fmla="*/ 3003 w 10000"/>
                <a:gd name="connsiteY17" fmla="*/ 2172 h 10000"/>
                <a:gd name="connsiteX18" fmla="*/ 2570 w 10000"/>
                <a:gd name="connsiteY18" fmla="*/ 2777 h 10000"/>
                <a:gd name="connsiteX19" fmla="*/ 2155 w 10000"/>
                <a:gd name="connsiteY19" fmla="*/ 3420 h 10000"/>
                <a:gd name="connsiteX20" fmla="*/ 1757 w 10000"/>
                <a:gd name="connsiteY20" fmla="*/ 4110 h 10000"/>
                <a:gd name="connsiteX21" fmla="*/ 1384 w 10000"/>
                <a:gd name="connsiteY21" fmla="*/ 4819 h 10000"/>
                <a:gd name="connsiteX22" fmla="*/ 1028 w 10000"/>
                <a:gd name="connsiteY22" fmla="*/ 5528 h 10000"/>
                <a:gd name="connsiteX23" fmla="*/ 674 w 10000"/>
                <a:gd name="connsiteY23" fmla="*/ 6281 h 10000"/>
                <a:gd name="connsiteX24" fmla="*/ 0 w 10000"/>
                <a:gd name="connsiteY24" fmla="*/ 7787 h 10000"/>
                <a:gd name="connsiteX0" fmla="*/ 0 w 10000"/>
                <a:gd name="connsiteY0" fmla="*/ 7592 h 9805"/>
                <a:gd name="connsiteX1" fmla="*/ 0 w 10000"/>
                <a:gd name="connsiteY1" fmla="*/ 7592 h 9805"/>
                <a:gd name="connsiteX2" fmla="*/ 495 w 10000"/>
                <a:gd name="connsiteY2" fmla="*/ 8709 h 9805"/>
                <a:gd name="connsiteX3" fmla="*/ 948 w 10000"/>
                <a:gd name="connsiteY3" fmla="*/ 9805 h 9805"/>
                <a:gd name="connsiteX4" fmla="*/ 1403 w 10000"/>
                <a:gd name="connsiteY4" fmla="*/ 8988 h 9805"/>
                <a:gd name="connsiteX5" fmla="*/ 1816 w 10000"/>
                <a:gd name="connsiteY5" fmla="*/ 8129 h 9805"/>
                <a:gd name="connsiteX6" fmla="*/ 2253 w 10000"/>
                <a:gd name="connsiteY6" fmla="*/ 7289 h 9805"/>
                <a:gd name="connsiteX7" fmla="*/ 2626 w 10000"/>
                <a:gd name="connsiteY7" fmla="*/ 6428 h 9805"/>
                <a:gd name="connsiteX8" fmla="*/ 3380 w 10000"/>
                <a:gd name="connsiteY8" fmla="*/ 4732 h 9805"/>
                <a:gd name="connsiteX9" fmla="*/ 3756 w 10000"/>
                <a:gd name="connsiteY9" fmla="*/ 3915 h 9805"/>
                <a:gd name="connsiteX10" fmla="*/ 9267 w 10000"/>
                <a:gd name="connsiteY10" fmla="*/ 624 h 9805"/>
                <a:gd name="connsiteX11" fmla="*/ 9505 w 10000"/>
                <a:gd name="connsiteY11" fmla="*/ 925 h 9805"/>
                <a:gd name="connsiteX12" fmla="*/ 9781 w 10000"/>
                <a:gd name="connsiteY12" fmla="*/ 1267 h 9805"/>
                <a:gd name="connsiteX13" fmla="*/ 10000 w 10000"/>
                <a:gd name="connsiteY13" fmla="*/ 1635 h 9805"/>
                <a:gd name="connsiteX14" fmla="*/ 9838 w 10000"/>
                <a:gd name="connsiteY14" fmla="*/ 0 h 9805"/>
                <a:gd name="connsiteX15" fmla="*/ 3458 w 10000"/>
                <a:gd name="connsiteY15" fmla="*/ 1399 h 9805"/>
                <a:gd name="connsiteX16" fmla="*/ 3003 w 10000"/>
                <a:gd name="connsiteY16" fmla="*/ 1977 h 9805"/>
                <a:gd name="connsiteX17" fmla="*/ 2570 w 10000"/>
                <a:gd name="connsiteY17" fmla="*/ 2582 h 9805"/>
                <a:gd name="connsiteX18" fmla="*/ 2155 w 10000"/>
                <a:gd name="connsiteY18" fmla="*/ 3225 h 9805"/>
                <a:gd name="connsiteX19" fmla="*/ 1757 w 10000"/>
                <a:gd name="connsiteY19" fmla="*/ 3915 h 9805"/>
                <a:gd name="connsiteX20" fmla="*/ 1384 w 10000"/>
                <a:gd name="connsiteY20" fmla="*/ 4624 h 9805"/>
                <a:gd name="connsiteX21" fmla="*/ 1028 w 10000"/>
                <a:gd name="connsiteY21" fmla="*/ 5333 h 9805"/>
                <a:gd name="connsiteX22" fmla="*/ 674 w 10000"/>
                <a:gd name="connsiteY22" fmla="*/ 6086 h 9805"/>
                <a:gd name="connsiteX23" fmla="*/ 0 w 10000"/>
                <a:gd name="connsiteY23" fmla="*/ 7592 h 9805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267 w 10000"/>
                <a:gd name="connsiteY10" fmla="*/ 636 h 10000"/>
                <a:gd name="connsiteX11" fmla="*/ 9781 w 10000"/>
                <a:gd name="connsiteY11" fmla="*/ 1292 h 10000"/>
                <a:gd name="connsiteX12" fmla="*/ 10000 w 10000"/>
                <a:gd name="connsiteY12" fmla="*/ 1668 h 10000"/>
                <a:gd name="connsiteX13" fmla="*/ 9838 w 10000"/>
                <a:gd name="connsiteY13" fmla="*/ 0 h 10000"/>
                <a:gd name="connsiteX14" fmla="*/ 3458 w 10000"/>
                <a:gd name="connsiteY14" fmla="*/ 1427 h 10000"/>
                <a:gd name="connsiteX15" fmla="*/ 3003 w 10000"/>
                <a:gd name="connsiteY15" fmla="*/ 2016 h 10000"/>
                <a:gd name="connsiteX16" fmla="*/ 2570 w 10000"/>
                <a:gd name="connsiteY16" fmla="*/ 2633 h 10000"/>
                <a:gd name="connsiteX17" fmla="*/ 2155 w 10000"/>
                <a:gd name="connsiteY17" fmla="*/ 3289 h 10000"/>
                <a:gd name="connsiteX18" fmla="*/ 1757 w 10000"/>
                <a:gd name="connsiteY18" fmla="*/ 3993 h 10000"/>
                <a:gd name="connsiteX19" fmla="*/ 1384 w 10000"/>
                <a:gd name="connsiteY19" fmla="*/ 4716 h 10000"/>
                <a:gd name="connsiteX20" fmla="*/ 1028 w 10000"/>
                <a:gd name="connsiteY20" fmla="*/ 5439 h 10000"/>
                <a:gd name="connsiteX21" fmla="*/ 674 w 10000"/>
                <a:gd name="connsiteY21" fmla="*/ 6207 h 10000"/>
                <a:gd name="connsiteX22" fmla="*/ 0 w 10000"/>
                <a:gd name="connsiteY22" fmla="*/ 7743 h 10000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781 w 10000"/>
                <a:gd name="connsiteY10" fmla="*/ 1292 h 10000"/>
                <a:gd name="connsiteX11" fmla="*/ 10000 w 10000"/>
                <a:gd name="connsiteY11" fmla="*/ 1668 h 10000"/>
                <a:gd name="connsiteX12" fmla="*/ 9838 w 10000"/>
                <a:gd name="connsiteY12" fmla="*/ 0 h 10000"/>
                <a:gd name="connsiteX13" fmla="*/ 3458 w 10000"/>
                <a:gd name="connsiteY13" fmla="*/ 1427 h 10000"/>
                <a:gd name="connsiteX14" fmla="*/ 3003 w 10000"/>
                <a:gd name="connsiteY14" fmla="*/ 2016 h 10000"/>
                <a:gd name="connsiteX15" fmla="*/ 2570 w 10000"/>
                <a:gd name="connsiteY15" fmla="*/ 2633 h 10000"/>
                <a:gd name="connsiteX16" fmla="*/ 2155 w 10000"/>
                <a:gd name="connsiteY16" fmla="*/ 3289 h 10000"/>
                <a:gd name="connsiteX17" fmla="*/ 1757 w 10000"/>
                <a:gd name="connsiteY17" fmla="*/ 3993 h 10000"/>
                <a:gd name="connsiteX18" fmla="*/ 1384 w 10000"/>
                <a:gd name="connsiteY18" fmla="*/ 4716 h 10000"/>
                <a:gd name="connsiteX19" fmla="*/ 1028 w 10000"/>
                <a:gd name="connsiteY19" fmla="*/ 5439 h 10000"/>
                <a:gd name="connsiteX20" fmla="*/ 674 w 10000"/>
                <a:gd name="connsiteY20" fmla="*/ 6207 h 10000"/>
                <a:gd name="connsiteX21" fmla="*/ 0 w 10000"/>
                <a:gd name="connsiteY21" fmla="*/ 7743 h 10000"/>
                <a:gd name="connsiteX0" fmla="*/ 0 w 10000"/>
                <a:gd name="connsiteY0" fmla="*/ 6451 h 8708"/>
                <a:gd name="connsiteX1" fmla="*/ 0 w 10000"/>
                <a:gd name="connsiteY1" fmla="*/ 6451 h 8708"/>
                <a:gd name="connsiteX2" fmla="*/ 495 w 10000"/>
                <a:gd name="connsiteY2" fmla="*/ 7590 h 8708"/>
                <a:gd name="connsiteX3" fmla="*/ 948 w 10000"/>
                <a:gd name="connsiteY3" fmla="*/ 8708 h 8708"/>
                <a:gd name="connsiteX4" fmla="*/ 1403 w 10000"/>
                <a:gd name="connsiteY4" fmla="*/ 7875 h 8708"/>
                <a:gd name="connsiteX5" fmla="*/ 1816 w 10000"/>
                <a:gd name="connsiteY5" fmla="*/ 6999 h 8708"/>
                <a:gd name="connsiteX6" fmla="*/ 2253 w 10000"/>
                <a:gd name="connsiteY6" fmla="*/ 6142 h 8708"/>
                <a:gd name="connsiteX7" fmla="*/ 2626 w 10000"/>
                <a:gd name="connsiteY7" fmla="*/ 5264 h 8708"/>
                <a:gd name="connsiteX8" fmla="*/ 3380 w 10000"/>
                <a:gd name="connsiteY8" fmla="*/ 3534 h 8708"/>
                <a:gd name="connsiteX9" fmla="*/ 3756 w 10000"/>
                <a:gd name="connsiteY9" fmla="*/ 2701 h 8708"/>
                <a:gd name="connsiteX10" fmla="*/ 9781 w 10000"/>
                <a:gd name="connsiteY10" fmla="*/ 0 h 8708"/>
                <a:gd name="connsiteX11" fmla="*/ 10000 w 10000"/>
                <a:gd name="connsiteY11" fmla="*/ 376 h 8708"/>
                <a:gd name="connsiteX12" fmla="*/ 3458 w 10000"/>
                <a:gd name="connsiteY12" fmla="*/ 135 h 8708"/>
                <a:gd name="connsiteX13" fmla="*/ 3003 w 10000"/>
                <a:gd name="connsiteY13" fmla="*/ 724 h 8708"/>
                <a:gd name="connsiteX14" fmla="*/ 2570 w 10000"/>
                <a:gd name="connsiteY14" fmla="*/ 1341 h 8708"/>
                <a:gd name="connsiteX15" fmla="*/ 2155 w 10000"/>
                <a:gd name="connsiteY15" fmla="*/ 1997 h 8708"/>
                <a:gd name="connsiteX16" fmla="*/ 1757 w 10000"/>
                <a:gd name="connsiteY16" fmla="*/ 2701 h 8708"/>
                <a:gd name="connsiteX17" fmla="*/ 1384 w 10000"/>
                <a:gd name="connsiteY17" fmla="*/ 3424 h 8708"/>
                <a:gd name="connsiteX18" fmla="*/ 1028 w 10000"/>
                <a:gd name="connsiteY18" fmla="*/ 4147 h 8708"/>
                <a:gd name="connsiteX19" fmla="*/ 674 w 10000"/>
                <a:gd name="connsiteY19" fmla="*/ 4915 h 8708"/>
                <a:gd name="connsiteX20" fmla="*/ 0 w 10000"/>
                <a:gd name="connsiteY20" fmla="*/ 6451 h 8708"/>
                <a:gd name="connsiteX0" fmla="*/ 0 w 9781"/>
                <a:gd name="connsiteY0" fmla="*/ 7617 h 10209"/>
                <a:gd name="connsiteX1" fmla="*/ 0 w 9781"/>
                <a:gd name="connsiteY1" fmla="*/ 7617 h 10209"/>
                <a:gd name="connsiteX2" fmla="*/ 495 w 9781"/>
                <a:gd name="connsiteY2" fmla="*/ 8925 h 10209"/>
                <a:gd name="connsiteX3" fmla="*/ 948 w 9781"/>
                <a:gd name="connsiteY3" fmla="*/ 10209 h 10209"/>
                <a:gd name="connsiteX4" fmla="*/ 1403 w 9781"/>
                <a:gd name="connsiteY4" fmla="*/ 9252 h 10209"/>
                <a:gd name="connsiteX5" fmla="*/ 1816 w 9781"/>
                <a:gd name="connsiteY5" fmla="*/ 8246 h 10209"/>
                <a:gd name="connsiteX6" fmla="*/ 2253 w 9781"/>
                <a:gd name="connsiteY6" fmla="*/ 7262 h 10209"/>
                <a:gd name="connsiteX7" fmla="*/ 2626 w 9781"/>
                <a:gd name="connsiteY7" fmla="*/ 6254 h 10209"/>
                <a:gd name="connsiteX8" fmla="*/ 3380 w 9781"/>
                <a:gd name="connsiteY8" fmla="*/ 4267 h 10209"/>
                <a:gd name="connsiteX9" fmla="*/ 3756 w 9781"/>
                <a:gd name="connsiteY9" fmla="*/ 3311 h 10209"/>
                <a:gd name="connsiteX10" fmla="*/ 9781 w 9781"/>
                <a:gd name="connsiteY10" fmla="*/ 209 h 10209"/>
                <a:gd name="connsiteX11" fmla="*/ 3458 w 9781"/>
                <a:gd name="connsiteY11" fmla="*/ 364 h 10209"/>
                <a:gd name="connsiteX12" fmla="*/ 3003 w 9781"/>
                <a:gd name="connsiteY12" fmla="*/ 1040 h 10209"/>
                <a:gd name="connsiteX13" fmla="*/ 2570 w 9781"/>
                <a:gd name="connsiteY13" fmla="*/ 1749 h 10209"/>
                <a:gd name="connsiteX14" fmla="*/ 2155 w 9781"/>
                <a:gd name="connsiteY14" fmla="*/ 2502 h 10209"/>
                <a:gd name="connsiteX15" fmla="*/ 1757 w 9781"/>
                <a:gd name="connsiteY15" fmla="*/ 3311 h 10209"/>
                <a:gd name="connsiteX16" fmla="*/ 1384 w 9781"/>
                <a:gd name="connsiteY16" fmla="*/ 4141 h 10209"/>
                <a:gd name="connsiteX17" fmla="*/ 1028 w 9781"/>
                <a:gd name="connsiteY17" fmla="*/ 4971 h 10209"/>
                <a:gd name="connsiteX18" fmla="*/ 674 w 9781"/>
                <a:gd name="connsiteY18" fmla="*/ 5853 h 10209"/>
                <a:gd name="connsiteX19" fmla="*/ 0 w 9781"/>
                <a:gd name="connsiteY19" fmla="*/ 7617 h 10209"/>
                <a:gd name="connsiteX0" fmla="*/ 0 w 3840"/>
                <a:gd name="connsiteY0" fmla="*/ 7104 h 9643"/>
                <a:gd name="connsiteX1" fmla="*/ 0 w 3840"/>
                <a:gd name="connsiteY1" fmla="*/ 7104 h 9643"/>
                <a:gd name="connsiteX2" fmla="*/ 506 w 3840"/>
                <a:gd name="connsiteY2" fmla="*/ 8385 h 9643"/>
                <a:gd name="connsiteX3" fmla="*/ 969 w 3840"/>
                <a:gd name="connsiteY3" fmla="*/ 9643 h 9643"/>
                <a:gd name="connsiteX4" fmla="*/ 1434 w 3840"/>
                <a:gd name="connsiteY4" fmla="*/ 8706 h 9643"/>
                <a:gd name="connsiteX5" fmla="*/ 1857 w 3840"/>
                <a:gd name="connsiteY5" fmla="*/ 7720 h 9643"/>
                <a:gd name="connsiteX6" fmla="*/ 2303 w 3840"/>
                <a:gd name="connsiteY6" fmla="*/ 6756 h 9643"/>
                <a:gd name="connsiteX7" fmla="*/ 2685 w 3840"/>
                <a:gd name="connsiteY7" fmla="*/ 5769 h 9643"/>
                <a:gd name="connsiteX8" fmla="*/ 3456 w 3840"/>
                <a:gd name="connsiteY8" fmla="*/ 3823 h 9643"/>
                <a:gd name="connsiteX9" fmla="*/ 3840 w 3840"/>
                <a:gd name="connsiteY9" fmla="*/ 2886 h 9643"/>
                <a:gd name="connsiteX10" fmla="*/ 3535 w 3840"/>
                <a:gd name="connsiteY10" fmla="*/ 0 h 9643"/>
                <a:gd name="connsiteX11" fmla="*/ 3070 w 3840"/>
                <a:gd name="connsiteY11" fmla="*/ 662 h 9643"/>
                <a:gd name="connsiteX12" fmla="*/ 2628 w 3840"/>
                <a:gd name="connsiteY12" fmla="*/ 1356 h 9643"/>
                <a:gd name="connsiteX13" fmla="*/ 2203 w 3840"/>
                <a:gd name="connsiteY13" fmla="*/ 2094 h 9643"/>
                <a:gd name="connsiteX14" fmla="*/ 1796 w 3840"/>
                <a:gd name="connsiteY14" fmla="*/ 2886 h 9643"/>
                <a:gd name="connsiteX15" fmla="*/ 1415 w 3840"/>
                <a:gd name="connsiteY15" fmla="*/ 3699 h 9643"/>
                <a:gd name="connsiteX16" fmla="*/ 1051 w 3840"/>
                <a:gd name="connsiteY16" fmla="*/ 4512 h 9643"/>
                <a:gd name="connsiteX17" fmla="*/ 689 w 3840"/>
                <a:gd name="connsiteY17" fmla="*/ 5376 h 9643"/>
                <a:gd name="connsiteX18" fmla="*/ 0 w 3840"/>
                <a:gd name="connsiteY18" fmla="*/ 7104 h 9643"/>
                <a:gd name="connsiteX0" fmla="*/ 0 w 9311"/>
                <a:gd name="connsiteY0" fmla="*/ 7367 h 10000"/>
                <a:gd name="connsiteX1" fmla="*/ 0 w 9311"/>
                <a:gd name="connsiteY1" fmla="*/ 7367 h 10000"/>
                <a:gd name="connsiteX2" fmla="*/ 1318 w 9311"/>
                <a:gd name="connsiteY2" fmla="*/ 8695 h 10000"/>
                <a:gd name="connsiteX3" fmla="*/ 2523 w 9311"/>
                <a:gd name="connsiteY3" fmla="*/ 10000 h 10000"/>
                <a:gd name="connsiteX4" fmla="*/ 3734 w 9311"/>
                <a:gd name="connsiteY4" fmla="*/ 9028 h 10000"/>
                <a:gd name="connsiteX5" fmla="*/ 4836 w 9311"/>
                <a:gd name="connsiteY5" fmla="*/ 8006 h 10000"/>
                <a:gd name="connsiteX6" fmla="*/ 5997 w 9311"/>
                <a:gd name="connsiteY6" fmla="*/ 7006 h 10000"/>
                <a:gd name="connsiteX7" fmla="*/ 6992 w 9311"/>
                <a:gd name="connsiteY7" fmla="*/ 5983 h 10000"/>
                <a:gd name="connsiteX8" fmla="*/ 9000 w 9311"/>
                <a:gd name="connsiteY8" fmla="*/ 3965 h 10000"/>
                <a:gd name="connsiteX9" fmla="*/ 9206 w 9311"/>
                <a:gd name="connsiteY9" fmla="*/ 0 h 10000"/>
                <a:gd name="connsiteX10" fmla="*/ 7995 w 9311"/>
                <a:gd name="connsiteY10" fmla="*/ 687 h 10000"/>
                <a:gd name="connsiteX11" fmla="*/ 6844 w 9311"/>
                <a:gd name="connsiteY11" fmla="*/ 1406 h 10000"/>
                <a:gd name="connsiteX12" fmla="*/ 5737 w 9311"/>
                <a:gd name="connsiteY12" fmla="*/ 2172 h 10000"/>
                <a:gd name="connsiteX13" fmla="*/ 4677 w 9311"/>
                <a:gd name="connsiteY13" fmla="*/ 2993 h 10000"/>
                <a:gd name="connsiteX14" fmla="*/ 3685 w 9311"/>
                <a:gd name="connsiteY14" fmla="*/ 3836 h 10000"/>
                <a:gd name="connsiteX15" fmla="*/ 2737 w 9311"/>
                <a:gd name="connsiteY15" fmla="*/ 4679 h 10000"/>
                <a:gd name="connsiteX16" fmla="*/ 1794 w 9311"/>
                <a:gd name="connsiteY16" fmla="*/ 5575 h 10000"/>
                <a:gd name="connsiteX17" fmla="*/ 0 w 9311"/>
                <a:gd name="connsiteY17" fmla="*/ 7367 h 10000"/>
                <a:gd name="connsiteX0" fmla="*/ 0 w 9690"/>
                <a:gd name="connsiteY0" fmla="*/ 6680 h 9313"/>
                <a:gd name="connsiteX1" fmla="*/ 0 w 9690"/>
                <a:gd name="connsiteY1" fmla="*/ 6680 h 9313"/>
                <a:gd name="connsiteX2" fmla="*/ 1416 w 9690"/>
                <a:gd name="connsiteY2" fmla="*/ 8008 h 9313"/>
                <a:gd name="connsiteX3" fmla="*/ 2710 w 9690"/>
                <a:gd name="connsiteY3" fmla="*/ 9313 h 9313"/>
                <a:gd name="connsiteX4" fmla="*/ 4010 w 9690"/>
                <a:gd name="connsiteY4" fmla="*/ 8341 h 9313"/>
                <a:gd name="connsiteX5" fmla="*/ 5194 w 9690"/>
                <a:gd name="connsiteY5" fmla="*/ 7319 h 9313"/>
                <a:gd name="connsiteX6" fmla="*/ 6441 w 9690"/>
                <a:gd name="connsiteY6" fmla="*/ 6319 h 9313"/>
                <a:gd name="connsiteX7" fmla="*/ 7509 w 9690"/>
                <a:gd name="connsiteY7" fmla="*/ 5296 h 9313"/>
                <a:gd name="connsiteX8" fmla="*/ 9666 w 9690"/>
                <a:gd name="connsiteY8" fmla="*/ 3278 h 9313"/>
                <a:gd name="connsiteX9" fmla="*/ 8587 w 9690"/>
                <a:gd name="connsiteY9" fmla="*/ 0 h 9313"/>
                <a:gd name="connsiteX10" fmla="*/ 7350 w 9690"/>
                <a:gd name="connsiteY10" fmla="*/ 719 h 9313"/>
                <a:gd name="connsiteX11" fmla="*/ 6162 w 9690"/>
                <a:gd name="connsiteY11" fmla="*/ 1485 h 9313"/>
                <a:gd name="connsiteX12" fmla="*/ 5023 w 9690"/>
                <a:gd name="connsiteY12" fmla="*/ 2306 h 9313"/>
                <a:gd name="connsiteX13" fmla="*/ 3958 w 9690"/>
                <a:gd name="connsiteY13" fmla="*/ 3149 h 9313"/>
                <a:gd name="connsiteX14" fmla="*/ 2940 w 9690"/>
                <a:gd name="connsiteY14" fmla="*/ 3992 h 9313"/>
                <a:gd name="connsiteX15" fmla="*/ 1927 w 9690"/>
                <a:gd name="connsiteY15" fmla="*/ 4888 h 9313"/>
                <a:gd name="connsiteX16" fmla="*/ 0 w 9690"/>
                <a:gd name="connsiteY16" fmla="*/ 6680 h 9313"/>
                <a:gd name="connsiteX0" fmla="*/ 0 w 8862"/>
                <a:gd name="connsiteY0" fmla="*/ 7173 h 10000"/>
                <a:gd name="connsiteX1" fmla="*/ 0 w 8862"/>
                <a:gd name="connsiteY1" fmla="*/ 7173 h 10000"/>
                <a:gd name="connsiteX2" fmla="*/ 1461 w 8862"/>
                <a:gd name="connsiteY2" fmla="*/ 8599 h 10000"/>
                <a:gd name="connsiteX3" fmla="*/ 2797 w 8862"/>
                <a:gd name="connsiteY3" fmla="*/ 10000 h 10000"/>
                <a:gd name="connsiteX4" fmla="*/ 4138 w 8862"/>
                <a:gd name="connsiteY4" fmla="*/ 8956 h 10000"/>
                <a:gd name="connsiteX5" fmla="*/ 5360 w 8862"/>
                <a:gd name="connsiteY5" fmla="*/ 7859 h 10000"/>
                <a:gd name="connsiteX6" fmla="*/ 6647 w 8862"/>
                <a:gd name="connsiteY6" fmla="*/ 6785 h 10000"/>
                <a:gd name="connsiteX7" fmla="*/ 7749 w 8862"/>
                <a:gd name="connsiteY7" fmla="*/ 5687 h 10000"/>
                <a:gd name="connsiteX8" fmla="*/ 8862 w 8862"/>
                <a:gd name="connsiteY8" fmla="*/ 0 h 10000"/>
                <a:gd name="connsiteX9" fmla="*/ 7585 w 8862"/>
                <a:gd name="connsiteY9" fmla="*/ 772 h 10000"/>
                <a:gd name="connsiteX10" fmla="*/ 6359 w 8862"/>
                <a:gd name="connsiteY10" fmla="*/ 1595 h 10000"/>
                <a:gd name="connsiteX11" fmla="*/ 5184 w 8862"/>
                <a:gd name="connsiteY11" fmla="*/ 2476 h 10000"/>
                <a:gd name="connsiteX12" fmla="*/ 4085 w 8862"/>
                <a:gd name="connsiteY12" fmla="*/ 3381 h 10000"/>
                <a:gd name="connsiteX13" fmla="*/ 3034 w 8862"/>
                <a:gd name="connsiteY13" fmla="*/ 4286 h 10000"/>
                <a:gd name="connsiteX14" fmla="*/ 1989 w 8862"/>
                <a:gd name="connsiteY14" fmla="*/ 5249 h 10000"/>
                <a:gd name="connsiteX15" fmla="*/ 0 w 8862"/>
                <a:gd name="connsiteY15" fmla="*/ 7173 h 10000"/>
                <a:gd name="connsiteX0" fmla="*/ 0 w 10017"/>
                <a:gd name="connsiteY0" fmla="*/ 7173 h 10000"/>
                <a:gd name="connsiteX1" fmla="*/ 0 w 10017"/>
                <a:gd name="connsiteY1" fmla="*/ 7173 h 10000"/>
                <a:gd name="connsiteX2" fmla="*/ 1649 w 10017"/>
                <a:gd name="connsiteY2" fmla="*/ 8599 h 10000"/>
                <a:gd name="connsiteX3" fmla="*/ 3156 w 10017"/>
                <a:gd name="connsiteY3" fmla="*/ 10000 h 10000"/>
                <a:gd name="connsiteX4" fmla="*/ 4669 w 10017"/>
                <a:gd name="connsiteY4" fmla="*/ 8956 h 10000"/>
                <a:gd name="connsiteX5" fmla="*/ 6048 w 10017"/>
                <a:gd name="connsiteY5" fmla="*/ 7859 h 10000"/>
                <a:gd name="connsiteX6" fmla="*/ 7501 w 10017"/>
                <a:gd name="connsiteY6" fmla="*/ 6785 h 10000"/>
                <a:gd name="connsiteX7" fmla="*/ 10017 w 10017"/>
                <a:gd name="connsiteY7" fmla="*/ 4522 h 10000"/>
                <a:gd name="connsiteX8" fmla="*/ 10000 w 10017"/>
                <a:gd name="connsiteY8" fmla="*/ 0 h 10000"/>
                <a:gd name="connsiteX9" fmla="*/ 8559 w 10017"/>
                <a:gd name="connsiteY9" fmla="*/ 772 h 10000"/>
                <a:gd name="connsiteX10" fmla="*/ 7176 w 10017"/>
                <a:gd name="connsiteY10" fmla="*/ 1595 h 10000"/>
                <a:gd name="connsiteX11" fmla="*/ 5850 w 10017"/>
                <a:gd name="connsiteY11" fmla="*/ 2476 h 10000"/>
                <a:gd name="connsiteX12" fmla="*/ 4610 w 10017"/>
                <a:gd name="connsiteY12" fmla="*/ 3381 h 10000"/>
                <a:gd name="connsiteX13" fmla="*/ 3424 w 10017"/>
                <a:gd name="connsiteY13" fmla="*/ 4286 h 10000"/>
                <a:gd name="connsiteX14" fmla="*/ 2244 w 10017"/>
                <a:gd name="connsiteY14" fmla="*/ 5249 h 10000"/>
                <a:gd name="connsiteX15" fmla="*/ 0 w 10017"/>
                <a:gd name="connsiteY15" fmla="*/ 7173 h 10000"/>
                <a:gd name="connsiteX0" fmla="*/ 0 w 13142"/>
                <a:gd name="connsiteY0" fmla="*/ 7193 h 10020"/>
                <a:gd name="connsiteX1" fmla="*/ 0 w 13142"/>
                <a:gd name="connsiteY1" fmla="*/ 7193 h 10020"/>
                <a:gd name="connsiteX2" fmla="*/ 1649 w 13142"/>
                <a:gd name="connsiteY2" fmla="*/ 8619 h 10020"/>
                <a:gd name="connsiteX3" fmla="*/ 3156 w 13142"/>
                <a:gd name="connsiteY3" fmla="*/ 10020 h 10020"/>
                <a:gd name="connsiteX4" fmla="*/ 4669 w 13142"/>
                <a:gd name="connsiteY4" fmla="*/ 8976 h 10020"/>
                <a:gd name="connsiteX5" fmla="*/ 6048 w 13142"/>
                <a:gd name="connsiteY5" fmla="*/ 7879 h 10020"/>
                <a:gd name="connsiteX6" fmla="*/ 7501 w 13142"/>
                <a:gd name="connsiteY6" fmla="*/ 6805 h 10020"/>
                <a:gd name="connsiteX7" fmla="*/ 13142 w 13142"/>
                <a:gd name="connsiteY7" fmla="*/ 498 h 10020"/>
                <a:gd name="connsiteX8" fmla="*/ 10000 w 13142"/>
                <a:gd name="connsiteY8" fmla="*/ 20 h 10020"/>
                <a:gd name="connsiteX9" fmla="*/ 8559 w 13142"/>
                <a:gd name="connsiteY9" fmla="*/ 792 h 10020"/>
                <a:gd name="connsiteX10" fmla="*/ 7176 w 13142"/>
                <a:gd name="connsiteY10" fmla="*/ 1615 h 10020"/>
                <a:gd name="connsiteX11" fmla="*/ 5850 w 13142"/>
                <a:gd name="connsiteY11" fmla="*/ 2496 h 10020"/>
                <a:gd name="connsiteX12" fmla="*/ 4610 w 13142"/>
                <a:gd name="connsiteY12" fmla="*/ 3401 h 10020"/>
                <a:gd name="connsiteX13" fmla="*/ 3424 w 13142"/>
                <a:gd name="connsiteY13" fmla="*/ 4306 h 10020"/>
                <a:gd name="connsiteX14" fmla="*/ 2244 w 13142"/>
                <a:gd name="connsiteY14" fmla="*/ 5269 h 10020"/>
                <a:gd name="connsiteX15" fmla="*/ 0 w 13142"/>
                <a:gd name="connsiteY15" fmla="*/ 7193 h 10020"/>
                <a:gd name="connsiteX0" fmla="*/ 0 w 13142"/>
                <a:gd name="connsiteY0" fmla="*/ 9366 h 12193"/>
                <a:gd name="connsiteX1" fmla="*/ 0 w 13142"/>
                <a:gd name="connsiteY1" fmla="*/ 9366 h 12193"/>
                <a:gd name="connsiteX2" fmla="*/ 1649 w 13142"/>
                <a:gd name="connsiteY2" fmla="*/ 10792 h 12193"/>
                <a:gd name="connsiteX3" fmla="*/ 3156 w 13142"/>
                <a:gd name="connsiteY3" fmla="*/ 12193 h 12193"/>
                <a:gd name="connsiteX4" fmla="*/ 4669 w 13142"/>
                <a:gd name="connsiteY4" fmla="*/ 11149 h 12193"/>
                <a:gd name="connsiteX5" fmla="*/ 6048 w 13142"/>
                <a:gd name="connsiteY5" fmla="*/ 10052 h 12193"/>
                <a:gd name="connsiteX6" fmla="*/ 7501 w 13142"/>
                <a:gd name="connsiteY6" fmla="*/ 8978 h 12193"/>
                <a:gd name="connsiteX7" fmla="*/ 13142 w 13142"/>
                <a:gd name="connsiteY7" fmla="*/ 2671 h 12193"/>
                <a:gd name="connsiteX8" fmla="*/ 10232 w 13142"/>
                <a:gd name="connsiteY8" fmla="*/ 0 h 12193"/>
                <a:gd name="connsiteX9" fmla="*/ 8559 w 13142"/>
                <a:gd name="connsiteY9" fmla="*/ 2965 h 12193"/>
                <a:gd name="connsiteX10" fmla="*/ 7176 w 13142"/>
                <a:gd name="connsiteY10" fmla="*/ 3788 h 12193"/>
                <a:gd name="connsiteX11" fmla="*/ 5850 w 13142"/>
                <a:gd name="connsiteY11" fmla="*/ 4669 h 12193"/>
                <a:gd name="connsiteX12" fmla="*/ 4610 w 13142"/>
                <a:gd name="connsiteY12" fmla="*/ 5574 h 12193"/>
                <a:gd name="connsiteX13" fmla="*/ 3424 w 13142"/>
                <a:gd name="connsiteY13" fmla="*/ 6479 h 12193"/>
                <a:gd name="connsiteX14" fmla="*/ 2244 w 13142"/>
                <a:gd name="connsiteY14" fmla="*/ 7442 h 12193"/>
                <a:gd name="connsiteX15" fmla="*/ 0 w 13142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965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082 w 13489"/>
                <a:gd name="connsiteY11" fmla="*/ 4463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2100"/>
                <a:gd name="connsiteY0" fmla="*/ 9366 h 12193"/>
                <a:gd name="connsiteX1" fmla="*/ 0 w 12100"/>
                <a:gd name="connsiteY1" fmla="*/ 9366 h 12193"/>
                <a:gd name="connsiteX2" fmla="*/ 1649 w 12100"/>
                <a:gd name="connsiteY2" fmla="*/ 10792 h 12193"/>
                <a:gd name="connsiteX3" fmla="*/ 3156 w 12100"/>
                <a:gd name="connsiteY3" fmla="*/ 12193 h 12193"/>
                <a:gd name="connsiteX4" fmla="*/ 4669 w 12100"/>
                <a:gd name="connsiteY4" fmla="*/ 11149 h 12193"/>
                <a:gd name="connsiteX5" fmla="*/ 6048 w 12100"/>
                <a:gd name="connsiteY5" fmla="*/ 10052 h 12193"/>
                <a:gd name="connsiteX6" fmla="*/ 7501 w 12100"/>
                <a:gd name="connsiteY6" fmla="*/ 8978 h 12193"/>
                <a:gd name="connsiteX7" fmla="*/ 12100 w 12100"/>
                <a:gd name="connsiteY7" fmla="*/ 3082 h 12193"/>
                <a:gd name="connsiteX8" fmla="*/ 10232 w 12100"/>
                <a:gd name="connsiteY8" fmla="*/ 0 h 12193"/>
                <a:gd name="connsiteX9" fmla="*/ 9369 w 12100"/>
                <a:gd name="connsiteY9" fmla="*/ 1594 h 12193"/>
                <a:gd name="connsiteX10" fmla="*/ 7985 w 12100"/>
                <a:gd name="connsiteY10" fmla="*/ 3034 h 12193"/>
                <a:gd name="connsiteX11" fmla="*/ 6082 w 12100"/>
                <a:gd name="connsiteY11" fmla="*/ 4463 h 12193"/>
                <a:gd name="connsiteX12" fmla="*/ 4610 w 12100"/>
                <a:gd name="connsiteY12" fmla="*/ 5574 h 12193"/>
                <a:gd name="connsiteX13" fmla="*/ 3424 w 12100"/>
                <a:gd name="connsiteY13" fmla="*/ 6479 h 12193"/>
                <a:gd name="connsiteX14" fmla="*/ 2244 w 12100"/>
                <a:gd name="connsiteY14" fmla="*/ 7442 h 12193"/>
                <a:gd name="connsiteX15" fmla="*/ 0 w 12100"/>
                <a:gd name="connsiteY15" fmla="*/ 9366 h 12193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369 w 12200"/>
                <a:gd name="connsiteY9" fmla="*/ 1937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832 w 12200"/>
                <a:gd name="connsiteY9" fmla="*/ 2143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84"/>
                <a:gd name="connsiteY0" fmla="*/ 9709 h 12536"/>
                <a:gd name="connsiteX1" fmla="*/ 0 w 12284"/>
                <a:gd name="connsiteY1" fmla="*/ 9709 h 12536"/>
                <a:gd name="connsiteX2" fmla="*/ 1649 w 12284"/>
                <a:gd name="connsiteY2" fmla="*/ 11135 h 12536"/>
                <a:gd name="connsiteX3" fmla="*/ 3156 w 12284"/>
                <a:gd name="connsiteY3" fmla="*/ 12536 h 12536"/>
                <a:gd name="connsiteX4" fmla="*/ 4669 w 12284"/>
                <a:gd name="connsiteY4" fmla="*/ 11492 h 12536"/>
                <a:gd name="connsiteX5" fmla="*/ 6048 w 12284"/>
                <a:gd name="connsiteY5" fmla="*/ 10395 h 12536"/>
                <a:gd name="connsiteX6" fmla="*/ 7501 w 12284"/>
                <a:gd name="connsiteY6" fmla="*/ 9321 h 12536"/>
                <a:gd name="connsiteX7" fmla="*/ 12100 w 12284"/>
                <a:gd name="connsiteY7" fmla="*/ 3425 h 12536"/>
                <a:gd name="connsiteX8" fmla="*/ 12200 w 12284"/>
                <a:gd name="connsiteY8" fmla="*/ 0 h 12536"/>
                <a:gd name="connsiteX9" fmla="*/ 9832 w 12284"/>
                <a:gd name="connsiteY9" fmla="*/ 2143 h 12536"/>
                <a:gd name="connsiteX10" fmla="*/ 7985 w 12284"/>
                <a:gd name="connsiteY10" fmla="*/ 3377 h 12536"/>
                <a:gd name="connsiteX11" fmla="*/ 6082 w 12284"/>
                <a:gd name="connsiteY11" fmla="*/ 4806 h 12536"/>
                <a:gd name="connsiteX12" fmla="*/ 4610 w 12284"/>
                <a:gd name="connsiteY12" fmla="*/ 5917 h 12536"/>
                <a:gd name="connsiteX13" fmla="*/ 3424 w 12284"/>
                <a:gd name="connsiteY13" fmla="*/ 6822 h 12536"/>
                <a:gd name="connsiteX14" fmla="*/ 2244 w 12284"/>
                <a:gd name="connsiteY14" fmla="*/ 7785 h 12536"/>
                <a:gd name="connsiteX15" fmla="*/ 0 w 12284"/>
                <a:gd name="connsiteY15" fmla="*/ 9709 h 12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84" h="12536">
                  <a:moveTo>
                    <a:pt x="0" y="9709"/>
                  </a:moveTo>
                  <a:lnTo>
                    <a:pt x="0" y="9709"/>
                  </a:lnTo>
                  <a:lnTo>
                    <a:pt x="1649" y="11135"/>
                  </a:lnTo>
                  <a:cubicBezTo>
                    <a:pt x="2144" y="11603"/>
                    <a:pt x="2661" y="12066"/>
                    <a:pt x="3156" y="12536"/>
                  </a:cubicBezTo>
                  <a:lnTo>
                    <a:pt x="4669" y="11492"/>
                  </a:lnTo>
                  <a:lnTo>
                    <a:pt x="6048" y="10395"/>
                  </a:lnTo>
                  <a:lnTo>
                    <a:pt x="7501" y="9321"/>
                  </a:lnTo>
                  <a:lnTo>
                    <a:pt x="12100" y="3425"/>
                  </a:lnTo>
                  <a:cubicBezTo>
                    <a:pt x="12441" y="2672"/>
                    <a:pt x="12206" y="1507"/>
                    <a:pt x="12200" y="0"/>
                  </a:cubicBezTo>
                  <a:cubicBezTo>
                    <a:pt x="11604" y="646"/>
                    <a:pt x="10534" y="1580"/>
                    <a:pt x="9832" y="2143"/>
                  </a:cubicBezTo>
                  <a:cubicBezTo>
                    <a:pt x="9130" y="2706"/>
                    <a:pt x="8436" y="2979"/>
                    <a:pt x="7985" y="3377"/>
                  </a:cubicBezTo>
                  <a:lnTo>
                    <a:pt x="6082" y="4806"/>
                  </a:lnTo>
                  <a:lnTo>
                    <a:pt x="4610" y="5917"/>
                  </a:lnTo>
                  <a:lnTo>
                    <a:pt x="3424" y="6822"/>
                  </a:lnTo>
                  <a:lnTo>
                    <a:pt x="2244" y="7785"/>
                  </a:lnTo>
                  <a:lnTo>
                    <a:pt x="0" y="970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82">
              <a:extLst>
                <a:ext uri="{FF2B5EF4-FFF2-40B4-BE49-F238E27FC236}">
                  <a16:creationId xmlns:a16="http://schemas.microsoft.com/office/drawing/2014/main" id="{F2DD9F5F-AC3D-4082-B321-F42D511ED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713" y="2381352"/>
              <a:ext cx="1045238" cy="527193"/>
            </a:xfrm>
            <a:custGeom>
              <a:avLst/>
              <a:gdLst>
                <a:gd name="T0" fmla="*/ 787 w 977"/>
                <a:gd name="T1" fmla="*/ 680 h 699"/>
                <a:gd name="T2" fmla="*/ 820 w 977"/>
                <a:gd name="T3" fmla="*/ 671 h 699"/>
                <a:gd name="T4" fmla="*/ 850 w 977"/>
                <a:gd name="T5" fmla="*/ 653 h 699"/>
                <a:gd name="T6" fmla="*/ 879 w 977"/>
                <a:gd name="T7" fmla="*/ 625 h 699"/>
                <a:gd name="T8" fmla="*/ 932 w 977"/>
                <a:gd name="T9" fmla="*/ 549 h 699"/>
                <a:gd name="T10" fmla="*/ 977 w 977"/>
                <a:gd name="T11" fmla="*/ 608 h 699"/>
                <a:gd name="T12" fmla="*/ 934 w 977"/>
                <a:gd name="T13" fmla="*/ 646 h 699"/>
                <a:gd name="T14" fmla="*/ 886 w 977"/>
                <a:gd name="T15" fmla="*/ 676 h 699"/>
                <a:gd name="T16" fmla="*/ 848 w 977"/>
                <a:gd name="T17" fmla="*/ 690 h 699"/>
                <a:gd name="T18" fmla="*/ 805 w 977"/>
                <a:gd name="T19" fmla="*/ 698 h 699"/>
                <a:gd name="T20" fmla="*/ 776 w 977"/>
                <a:gd name="T21" fmla="*/ 699 h 699"/>
                <a:gd name="T22" fmla="*/ 729 w 977"/>
                <a:gd name="T23" fmla="*/ 695 h 699"/>
                <a:gd name="T24" fmla="*/ 685 w 977"/>
                <a:gd name="T25" fmla="*/ 681 h 699"/>
                <a:gd name="T26" fmla="*/ 646 w 977"/>
                <a:gd name="T27" fmla="*/ 661 h 699"/>
                <a:gd name="T28" fmla="*/ 610 w 977"/>
                <a:gd name="T29" fmla="*/ 635 h 699"/>
                <a:gd name="T30" fmla="*/ 545 w 977"/>
                <a:gd name="T31" fmla="*/ 567 h 699"/>
                <a:gd name="T32" fmla="*/ 490 w 977"/>
                <a:gd name="T33" fmla="*/ 483 h 699"/>
                <a:gd name="T34" fmla="*/ 427 w 977"/>
                <a:gd name="T35" fmla="*/ 359 h 699"/>
                <a:gd name="T36" fmla="*/ 341 w 977"/>
                <a:gd name="T37" fmla="*/ 176 h 699"/>
                <a:gd name="T38" fmla="*/ 297 w 977"/>
                <a:gd name="T39" fmla="*/ 102 h 699"/>
                <a:gd name="T40" fmla="*/ 249 w 977"/>
                <a:gd name="T41" fmla="*/ 47 h 699"/>
                <a:gd name="T42" fmla="*/ 223 w 977"/>
                <a:gd name="T43" fmla="*/ 30 h 699"/>
                <a:gd name="T44" fmla="*/ 195 w 977"/>
                <a:gd name="T45" fmla="*/ 20 h 699"/>
                <a:gd name="T46" fmla="*/ 175 w 977"/>
                <a:gd name="T47" fmla="*/ 18 h 699"/>
                <a:gd name="T48" fmla="*/ 137 w 977"/>
                <a:gd name="T49" fmla="*/ 25 h 699"/>
                <a:gd name="T50" fmla="*/ 101 w 977"/>
                <a:gd name="T51" fmla="*/ 45 h 699"/>
                <a:gd name="T52" fmla="*/ 68 w 977"/>
                <a:gd name="T53" fmla="*/ 76 h 699"/>
                <a:gd name="T54" fmla="*/ 38 w 977"/>
                <a:gd name="T55" fmla="*/ 118 h 699"/>
                <a:gd name="T56" fmla="*/ 1 w 977"/>
                <a:gd name="T57" fmla="*/ 67 h 699"/>
                <a:gd name="T58" fmla="*/ 39 w 977"/>
                <a:gd name="T59" fmla="*/ 39 h 699"/>
                <a:gd name="T60" fmla="*/ 103 w 977"/>
                <a:gd name="T61" fmla="*/ 9 h 699"/>
                <a:gd name="T62" fmla="*/ 175 w 977"/>
                <a:gd name="T63" fmla="*/ 0 h 699"/>
                <a:gd name="T64" fmla="*/ 206 w 977"/>
                <a:gd name="T65" fmla="*/ 2 h 699"/>
                <a:gd name="T66" fmla="*/ 250 w 977"/>
                <a:gd name="T67" fmla="*/ 12 h 699"/>
                <a:gd name="T68" fmla="*/ 292 w 977"/>
                <a:gd name="T69" fmla="*/ 30 h 699"/>
                <a:gd name="T70" fmla="*/ 329 w 977"/>
                <a:gd name="T71" fmla="*/ 54 h 699"/>
                <a:gd name="T72" fmla="*/ 385 w 977"/>
                <a:gd name="T73" fmla="*/ 108 h 699"/>
                <a:gd name="T74" fmla="*/ 442 w 977"/>
                <a:gd name="T75" fmla="*/ 187 h 699"/>
                <a:gd name="T76" fmla="*/ 494 w 977"/>
                <a:gd name="T77" fmla="*/ 278 h 699"/>
                <a:gd name="T78" fmla="*/ 611 w 977"/>
                <a:gd name="T79" fmla="*/ 523 h 699"/>
                <a:gd name="T80" fmla="*/ 655 w 977"/>
                <a:gd name="T81" fmla="*/ 597 h 699"/>
                <a:gd name="T82" fmla="*/ 703 w 977"/>
                <a:gd name="T83" fmla="*/ 651 h 699"/>
                <a:gd name="T84" fmla="*/ 729 w 977"/>
                <a:gd name="T85" fmla="*/ 669 h 699"/>
                <a:gd name="T86" fmla="*/ 756 w 977"/>
                <a:gd name="T87" fmla="*/ 679 h 699"/>
                <a:gd name="T88" fmla="*/ 776 w 977"/>
                <a:gd name="T89" fmla="*/ 681 h 6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77" h="699">
                  <a:moveTo>
                    <a:pt x="776" y="681"/>
                  </a:moveTo>
                  <a:lnTo>
                    <a:pt x="776" y="681"/>
                  </a:lnTo>
                  <a:lnTo>
                    <a:pt x="787" y="680"/>
                  </a:lnTo>
                  <a:lnTo>
                    <a:pt x="799" y="679"/>
                  </a:lnTo>
                  <a:lnTo>
                    <a:pt x="810" y="676"/>
                  </a:lnTo>
                  <a:lnTo>
                    <a:pt x="820" y="671"/>
                  </a:lnTo>
                  <a:lnTo>
                    <a:pt x="830" y="667"/>
                  </a:lnTo>
                  <a:lnTo>
                    <a:pt x="840" y="660"/>
                  </a:lnTo>
                  <a:lnTo>
                    <a:pt x="850" y="653"/>
                  </a:lnTo>
                  <a:lnTo>
                    <a:pt x="861" y="644"/>
                  </a:lnTo>
                  <a:lnTo>
                    <a:pt x="870" y="635"/>
                  </a:lnTo>
                  <a:lnTo>
                    <a:pt x="879" y="625"/>
                  </a:lnTo>
                  <a:lnTo>
                    <a:pt x="898" y="603"/>
                  </a:lnTo>
                  <a:lnTo>
                    <a:pt x="914" y="577"/>
                  </a:lnTo>
                  <a:lnTo>
                    <a:pt x="932" y="549"/>
                  </a:lnTo>
                  <a:lnTo>
                    <a:pt x="954" y="579"/>
                  </a:lnTo>
                  <a:lnTo>
                    <a:pt x="977" y="608"/>
                  </a:lnTo>
                  <a:lnTo>
                    <a:pt x="956" y="628"/>
                  </a:lnTo>
                  <a:lnTo>
                    <a:pt x="934" y="646"/>
                  </a:lnTo>
                  <a:lnTo>
                    <a:pt x="911" y="662"/>
                  </a:lnTo>
                  <a:lnTo>
                    <a:pt x="899" y="669"/>
                  </a:lnTo>
                  <a:lnTo>
                    <a:pt x="886" y="676"/>
                  </a:lnTo>
                  <a:lnTo>
                    <a:pt x="874" y="681"/>
                  </a:lnTo>
                  <a:lnTo>
                    <a:pt x="862" y="686"/>
                  </a:lnTo>
                  <a:lnTo>
                    <a:pt x="848" y="690"/>
                  </a:lnTo>
                  <a:lnTo>
                    <a:pt x="835" y="693"/>
                  </a:lnTo>
                  <a:lnTo>
                    <a:pt x="820" y="696"/>
                  </a:lnTo>
                  <a:lnTo>
                    <a:pt x="805" y="698"/>
                  </a:lnTo>
                  <a:lnTo>
                    <a:pt x="791" y="699"/>
                  </a:lnTo>
                  <a:lnTo>
                    <a:pt x="776" y="699"/>
                  </a:lnTo>
                  <a:lnTo>
                    <a:pt x="759" y="699"/>
                  </a:lnTo>
                  <a:lnTo>
                    <a:pt x="744" y="697"/>
                  </a:lnTo>
                  <a:lnTo>
                    <a:pt x="729" y="695"/>
                  </a:lnTo>
                  <a:lnTo>
                    <a:pt x="714" y="691"/>
                  </a:lnTo>
                  <a:lnTo>
                    <a:pt x="700" y="687"/>
                  </a:lnTo>
                  <a:lnTo>
                    <a:pt x="685" y="681"/>
                  </a:lnTo>
                  <a:lnTo>
                    <a:pt x="672" y="676"/>
                  </a:lnTo>
                  <a:lnTo>
                    <a:pt x="659" y="669"/>
                  </a:lnTo>
                  <a:lnTo>
                    <a:pt x="646" y="661"/>
                  </a:lnTo>
                  <a:lnTo>
                    <a:pt x="633" y="653"/>
                  </a:lnTo>
                  <a:lnTo>
                    <a:pt x="621" y="644"/>
                  </a:lnTo>
                  <a:lnTo>
                    <a:pt x="610" y="635"/>
                  </a:lnTo>
                  <a:lnTo>
                    <a:pt x="587" y="614"/>
                  </a:lnTo>
                  <a:lnTo>
                    <a:pt x="565" y="592"/>
                  </a:lnTo>
                  <a:lnTo>
                    <a:pt x="545" y="567"/>
                  </a:lnTo>
                  <a:lnTo>
                    <a:pt x="526" y="540"/>
                  </a:lnTo>
                  <a:lnTo>
                    <a:pt x="508" y="512"/>
                  </a:lnTo>
                  <a:lnTo>
                    <a:pt x="490" y="483"/>
                  </a:lnTo>
                  <a:lnTo>
                    <a:pt x="473" y="453"/>
                  </a:lnTo>
                  <a:lnTo>
                    <a:pt x="457" y="421"/>
                  </a:lnTo>
                  <a:lnTo>
                    <a:pt x="427" y="359"/>
                  </a:lnTo>
                  <a:lnTo>
                    <a:pt x="369" y="233"/>
                  </a:lnTo>
                  <a:lnTo>
                    <a:pt x="355" y="204"/>
                  </a:lnTo>
                  <a:lnTo>
                    <a:pt x="341" y="176"/>
                  </a:lnTo>
                  <a:lnTo>
                    <a:pt x="327" y="149"/>
                  </a:lnTo>
                  <a:lnTo>
                    <a:pt x="312" y="124"/>
                  </a:lnTo>
                  <a:lnTo>
                    <a:pt x="297" y="102"/>
                  </a:lnTo>
                  <a:lnTo>
                    <a:pt x="282" y="81"/>
                  </a:lnTo>
                  <a:lnTo>
                    <a:pt x="266" y="63"/>
                  </a:lnTo>
                  <a:lnTo>
                    <a:pt x="249" y="47"/>
                  </a:lnTo>
                  <a:lnTo>
                    <a:pt x="241" y="41"/>
                  </a:lnTo>
                  <a:lnTo>
                    <a:pt x="232" y="35"/>
                  </a:lnTo>
                  <a:lnTo>
                    <a:pt x="223" y="30"/>
                  </a:lnTo>
                  <a:lnTo>
                    <a:pt x="214" y="26"/>
                  </a:lnTo>
                  <a:lnTo>
                    <a:pt x="204" y="22"/>
                  </a:lnTo>
                  <a:lnTo>
                    <a:pt x="195" y="20"/>
                  </a:lnTo>
                  <a:lnTo>
                    <a:pt x="185" y="18"/>
                  </a:lnTo>
                  <a:lnTo>
                    <a:pt x="175" y="18"/>
                  </a:lnTo>
                  <a:lnTo>
                    <a:pt x="161" y="18"/>
                  </a:lnTo>
                  <a:lnTo>
                    <a:pt x="149" y="21"/>
                  </a:lnTo>
                  <a:lnTo>
                    <a:pt x="137" y="25"/>
                  </a:lnTo>
                  <a:lnTo>
                    <a:pt x="124" y="30"/>
                  </a:lnTo>
                  <a:lnTo>
                    <a:pt x="113" y="37"/>
                  </a:lnTo>
                  <a:lnTo>
                    <a:pt x="101" y="45"/>
                  </a:lnTo>
                  <a:lnTo>
                    <a:pt x="91" y="54"/>
                  </a:lnTo>
                  <a:lnTo>
                    <a:pt x="79" y="65"/>
                  </a:lnTo>
                  <a:lnTo>
                    <a:pt x="68" y="76"/>
                  </a:lnTo>
                  <a:lnTo>
                    <a:pt x="58" y="90"/>
                  </a:lnTo>
                  <a:lnTo>
                    <a:pt x="48" y="103"/>
                  </a:lnTo>
                  <a:lnTo>
                    <a:pt x="38" y="118"/>
                  </a:lnTo>
                  <a:lnTo>
                    <a:pt x="19" y="150"/>
                  </a:lnTo>
                  <a:lnTo>
                    <a:pt x="0" y="185"/>
                  </a:lnTo>
                  <a:lnTo>
                    <a:pt x="1" y="67"/>
                  </a:lnTo>
                  <a:lnTo>
                    <a:pt x="19" y="52"/>
                  </a:lnTo>
                  <a:lnTo>
                    <a:pt x="39" y="39"/>
                  </a:lnTo>
                  <a:lnTo>
                    <a:pt x="59" y="27"/>
                  </a:lnTo>
                  <a:lnTo>
                    <a:pt x="81" y="17"/>
                  </a:lnTo>
                  <a:lnTo>
                    <a:pt x="103" y="9"/>
                  </a:lnTo>
                  <a:lnTo>
                    <a:pt x="125" y="3"/>
                  </a:lnTo>
                  <a:lnTo>
                    <a:pt x="150" y="0"/>
                  </a:lnTo>
                  <a:lnTo>
                    <a:pt x="175" y="0"/>
                  </a:lnTo>
                  <a:lnTo>
                    <a:pt x="191" y="0"/>
                  </a:lnTo>
                  <a:lnTo>
                    <a:pt x="206" y="2"/>
                  </a:lnTo>
                  <a:lnTo>
                    <a:pt x="222" y="4"/>
                  </a:lnTo>
                  <a:lnTo>
                    <a:pt x="237" y="8"/>
                  </a:lnTo>
                  <a:lnTo>
                    <a:pt x="250" y="12"/>
                  </a:lnTo>
                  <a:lnTo>
                    <a:pt x="265" y="17"/>
                  </a:lnTo>
                  <a:lnTo>
                    <a:pt x="278" y="24"/>
                  </a:lnTo>
                  <a:lnTo>
                    <a:pt x="292" y="30"/>
                  </a:lnTo>
                  <a:lnTo>
                    <a:pt x="304" y="37"/>
                  </a:lnTo>
                  <a:lnTo>
                    <a:pt x="317" y="45"/>
                  </a:lnTo>
                  <a:lnTo>
                    <a:pt x="329" y="54"/>
                  </a:lnTo>
                  <a:lnTo>
                    <a:pt x="340" y="64"/>
                  </a:lnTo>
                  <a:lnTo>
                    <a:pt x="363" y="84"/>
                  </a:lnTo>
                  <a:lnTo>
                    <a:pt x="385" y="108"/>
                  </a:lnTo>
                  <a:lnTo>
                    <a:pt x="405" y="132"/>
                  </a:lnTo>
                  <a:lnTo>
                    <a:pt x="424" y="159"/>
                  </a:lnTo>
                  <a:lnTo>
                    <a:pt x="442" y="187"/>
                  </a:lnTo>
                  <a:lnTo>
                    <a:pt x="460" y="216"/>
                  </a:lnTo>
                  <a:lnTo>
                    <a:pt x="477" y="246"/>
                  </a:lnTo>
                  <a:lnTo>
                    <a:pt x="494" y="278"/>
                  </a:lnTo>
                  <a:lnTo>
                    <a:pt x="524" y="341"/>
                  </a:lnTo>
                  <a:lnTo>
                    <a:pt x="583" y="465"/>
                  </a:lnTo>
                  <a:lnTo>
                    <a:pt x="611" y="523"/>
                  </a:lnTo>
                  <a:lnTo>
                    <a:pt x="626" y="549"/>
                  </a:lnTo>
                  <a:lnTo>
                    <a:pt x="640" y="574"/>
                  </a:lnTo>
                  <a:lnTo>
                    <a:pt x="655" y="597"/>
                  </a:lnTo>
                  <a:lnTo>
                    <a:pt x="671" y="617"/>
                  </a:lnTo>
                  <a:lnTo>
                    <a:pt x="686" y="636"/>
                  </a:lnTo>
                  <a:lnTo>
                    <a:pt x="703" y="651"/>
                  </a:lnTo>
                  <a:lnTo>
                    <a:pt x="711" y="658"/>
                  </a:lnTo>
                  <a:lnTo>
                    <a:pt x="720" y="663"/>
                  </a:lnTo>
                  <a:lnTo>
                    <a:pt x="729" y="669"/>
                  </a:lnTo>
                  <a:lnTo>
                    <a:pt x="738" y="673"/>
                  </a:lnTo>
                  <a:lnTo>
                    <a:pt x="747" y="677"/>
                  </a:lnTo>
                  <a:lnTo>
                    <a:pt x="756" y="679"/>
                  </a:lnTo>
                  <a:lnTo>
                    <a:pt x="766" y="680"/>
                  </a:lnTo>
                  <a:lnTo>
                    <a:pt x="776" y="68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83">
              <a:extLst>
                <a:ext uri="{FF2B5EF4-FFF2-40B4-BE49-F238E27FC236}">
                  <a16:creationId xmlns:a16="http://schemas.microsoft.com/office/drawing/2014/main" id="{4703450A-3E82-4F11-89DB-2CDB9904B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140" y="2394928"/>
              <a:ext cx="1265626" cy="527193"/>
            </a:xfrm>
            <a:custGeom>
              <a:avLst/>
              <a:gdLst>
                <a:gd name="T0" fmla="*/ 816 w 1183"/>
                <a:gd name="T1" fmla="*/ 681 h 699"/>
                <a:gd name="T2" fmla="*/ 852 w 1183"/>
                <a:gd name="T3" fmla="*/ 670 h 699"/>
                <a:gd name="T4" fmla="*/ 885 w 1183"/>
                <a:gd name="T5" fmla="*/ 646 h 699"/>
                <a:gd name="T6" fmla="*/ 917 w 1183"/>
                <a:gd name="T7" fmla="*/ 613 h 699"/>
                <a:gd name="T8" fmla="*/ 956 w 1183"/>
                <a:gd name="T9" fmla="*/ 554 h 699"/>
                <a:gd name="T10" fmla="*/ 1012 w 1183"/>
                <a:gd name="T11" fmla="*/ 448 h 699"/>
                <a:gd name="T12" fmla="*/ 1090 w 1183"/>
                <a:gd name="T13" fmla="*/ 289 h 699"/>
                <a:gd name="T14" fmla="*/ 1134 w 1183"/>
                <a:gd name="T15" fmla="*/ 213 h 699"/>
                <a:gd name="T16" fmla="*/ 1183 w 1183"/>
                <a:gd name="T17" fmla="*/ 316 h 699"/>
                <a:gd name="T18" fmla="*/ 1112 w 1183"/>
                <a:gd name="T19" fmla="*/ 454 h 699"/>
                <a:gd name="T20" fmla="*/ 1053 w 1183"/>
                <a:gd name="T21" fmla="*/ 549 h 699"/>
                <a:gd name="T22" fmla="*/ 995 w 1183"/>
                <a:gd name="T23" fmla="*/ 616 h 699"/>
                <a:gd name="T24" fmla="*/ 957 w 1183"/>
                <a:gd name="T25" fmla="*/ 649 h 699"/>
                <a:gd name="T26" fmla="*/ 914 w 1183"/>
                <a:gd name="T27" fmla="*/ 674 h 699"/>
                <a:gd name="T28" fmla="*/ 870 w 1183"/>
                <a:gd name="T29" fmla="*/ 691 h 699"/>
                <a:gd name="T30" fmla="*/ 820 w 1183"/>
                <a:gd name="T31" fmla="*/ 699 h 699"/>
                <a:gd name="T32" fmla="*/ 786 w 1183"/>
                <a:gd name="T33" fmla="*/ 699 h 699"/>
                <a:gd name="T34" fmla="*/ 740 w 1183"/>
                <a:gd name="T35" fmla="*/ 691 h 699"/>
                <a:gd name="T36" fmla="*/ 699 w 1183"/>
                <a:gd name="T37" fmla="*/ 675 h 699"/>
                <a:gd name="T38" fmla="*/ 660 w 1183"/>
                <a:gd name="T39" fmla="*/ 654 h 699"/>
                <a:gd name="T40" fmla="*/ 614 w 1183"/>
                <a:gd name="T41" fmla="*/ 615 h 699"/>
                <a:gd name="T42" fmla="*/ 553 w 1183"/>
                <a:gd name="T43" fmla="*/ 540 h 699"/>
                <a:gd name="T44" fmla="*/ 500 w 1183"/>
                <a:gd name="T45" fmla="*/ 453 h 699"/>
                <a:gd name="T46" fmla="*/ 453 w 1183"/>
                <a:gd name="T47" fmla="*/ 358 h 699"/>
                <a:gd name="T48" fmla="*/ 351 w 1183"/>
                <a:gd name="T49" fmla="*/ 150 h 699"/>
                <a:gd name="T50" fmla="*/ 306 w 1183"/>
                <a:gd name="T51" fmla="*/ 82 h 699"/>
                <a:gd name="T52" fmla="*/ 266 w 1183"/>
                <a:gd name="T53" fmla="*/ 41 h 699"/>
                <a:gd name="T54" fmla="*/ 239 w 1183"/>
                <a:gd name="T55" fmla="*/ 26 h 699"/>
                <a:gd name="T56" fmla="*/ 211 w 1183"/>
                <a:gd name="T57" fmla="*/ 19 h 699"/>
                <a:gd name="T58" fmla="*/ 190 w 1183"/>
                <a:gd name="T59" fmla="*/ 19 h 699"/>
                <a:gd name="T60" fmla="*/ 157 w 1183"/>
                <a:gd name="T61" fmla="*/ 28 h 699"/>
                <a:gd name="T62" fmla="*/ 127 w 1183"/>
                <a:gd name="T63" fmla="*/ 46 h 699"/>
                <a:gd name="T64" fmla="*/ 99 w 1183"/>
                <a:gd name="T65" fmla="*/ 74 h 699"/>
                <a:gd name="T66" fmla="*/ 45 w 1183"/>
                <a:gd name="T67" fmla="*/ 151 h 699"/>
                <a:gd name="T68" fmla="*/ 23 w 1183"/>
                <a:gd name="T69" fmla="*/ 120 h 699"/>
                <a:gd name="T70" fmla="*/ 21 w 1183"/>
                <a:gd name="T71" fmla="*/ 71 h 699"/>
                <a:gd name="T72" fmla="*/ 78 w 1183"/>
                <a:gd name="T73" fmla="*/ 30 h 699"/>
                <a:gd name="T74" fmla="*/ 115 w 1183"/>
                <a:gd name="T75" fmla="*/ 13 h 699"/>
                <a:gd name="T76" fmla="*/ 157 w 1183"/>
                <a:gd name="T77" fmla="*/ 3 h 699"/>
                <a:gd name="T78" fmla="*/ 201 w 1183"/>
                <a:gd name="T79" fmla="*/ 0 h 699"/>
                <a:gd name="T80" fmla="*/ 233 w 1183"/>
                <a:gd name="T81" fmla="*/ 2 h 699"/>
                <a:gd name="T82" fmla="*/ 277 w 1183"/>
                <a:gd name="T83" fmla="*/ 12 h 699"/>
                <a:gd name="T84" fmla="*/ 318 w 1183"/>
                <a:gd name="T85" fmla="*/ 30 h 699"/>
                <a:gd name="T86" fmla="*/ 356 w 1183"/>
                <a:gd name="T87" fmla="*/ 55 h 699"/>
                <a:gd name="T88" fmla="*/ 412 w 1183"/>
                <a:gd name="T89" fmla="*/ 107 h 699"/>
                <a:gd name="T90" fmla="*/ 469 w 1183"/>
                <a:gd name="T91" fmla="*/ 187 h 699"/>
                <a:gd name="T92" fmla="*/ 520 w 1183"/>
                <a:gd name="T93" fmla="*/ 278 h 699"/>
                <a:gd name="T94" fmla="*/ 622 w 1183"/>
                <a:gd name="T95" fmla="*/ 495 h 699"/>
                <a:gd name="T96" fmla="*/ 665 w 1183"/>
                <a:gd name="T97" fmla="*/ 575 h 699"/>
                <a:gd name="T98" fmla="*/ 711 w 1183"/>
                <a:gd name="T99" fmla="*/ 636 h 699"/>
                <a:gd name="T100" fmla="*/ 745 w 1183"/>
                <a:gd name="T101" fmla="*/ 664 h 699"/>
                <a:gd name="T102" fmla="*/ 773 w 1183"/>
                <a:gd name="T103" fmla="*/ 677 h 699"/>
                <a:gd name="T104" fmla="*/ 802 w 1183"/>
                <a:gd name="T105" fmla="*/ 681 h 6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3" h="699">
                  <a:moveTo>
                    <a:pt x="802" y="681"/>
                  </a:moveTo>
                  <a:lnTo>
                    <a:pt x="802" y="681"/>
                  </a:lnTo>
                  <a:lnTo>
                    <a:pt x="816" y="681"/>
                  </a:lnTo>
                  <a:lnTo>
                    <a:pt x="828" y="679"/>
                  </a:lnTo>
                  <a:lnTo>
                    <a:pt x="840" y="674"/>
                  </a:lnTo>
                  <a:lnTo>
                    <a:pt x="852" y="670"/>
                  </a:lnTo>
                  <a:lnTo>
                    <a:pt x="863" y="663"/>
                  </a:lnTo>
                  <a:lnTo>
                    <a:pt x="874" y="655"/>
                  </a:lnTo>
                  <a:lnTo>
                    <a:pt x="885" y="646"/>
                  </a:lnTo>
                  <a:lnTo>
                    <a:pt x="895" y="636"/>
                  </a:lnTo>
                  <a:lnTo>
                    <a:pt x="907" y="625"/>
                  </a:lnTo>
                  <a:lnTo>
                    <a:pt x="917" y="613"/>
                  </a:lnTo>
                  <a:lnTo>
                    <a:pt x="927" y="599"/>
                  </a:lnTo>
                  <a:lnTo>
                    <a:pt x="936" y="586"/>
                  </a:lnTo>
                  <a:lnTo>
                    <a:pt x="956" y="554"/>
                  </a:lnTo>
                  <a:lnTo>
                    <a:pt x="974" y="522"/>
                  </a:lnTo>
                  <a:lnTo>
                    <a:pt x="993" y="486"/>
                  </a:lnTo>
                  <a:lnTo>
                    <a:pt x="1012" y="448"/>
                  </a:lnTo>
                  <a:lnTo>
                    <a:pt x="1050" y="370"/>
                  </a:lnTo>
                  <a:lnTo>
                    <a:pt x="1070" y="329"/>
                  </a:lnTo>
                  <a:lnTo>
                    <a:pt x="1090" y="289"/>
                  </a:lnTo>
                  <a:lnTo>
                    <a:pt x="1111" y="251"/>
                  </a:lnTo>
                  <a:lnTo>
                    <a:pt x="1134" y="213"/>
                  </a:lnTo>
                  <a:lnTo>
                    <a:pt x="1158" y="263"/>
                  </a:lnTo>
                  <a:lnTo>
                    <a:pt x="1183" y="316"/>
                  </a:lnTo>
                  <a:lnTo>
                    <a:pt x="1148" y="385"/>
                  </a:lnTo>
                  <a:lnTo>
                    <a:pt x="1131" y="420"/>
                  </a:lnTo>
                  <a:lnTo>
                    <a:pt x="1112" y="454"/>
                  </a:lnTo>
                  <a:lnTo>
                    <a:pt x="1093" y="486"/>
                  </a:lnTo>
                  <a:lnTo>
                    <a:pt x="1074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8" y="604"/>
                  </a:lnTo>
                  <a:lnTo>
                    <a:pt x="995" y="616"/>
                  </a:lnTo>
                  <a:lnTo>
                    <a:pt x="983" y="627"/>
                  </a:lnTo>
                  <a:lnTo>
                    <a:pt x="970" y="639"/>
                  </a:lnTo>
                  <a:lnTo>
                    <a:pt x="957" y="649"/>
                  </a:lnTo>
                  <a:lnTo>
                    <a:pt x="944" y="658"/>
                  </a:lnTo>
                  <a:lnTo>
                    <a:pt x="929" y="667"/>
                  </a:lnTo>
                  <a:lnTo>
                    <a:pt x="914" y="674"/>
                  </a:lnTo>
                  <a:lnTo>
                    <a:pt x="900" y="681"/>
                  </a:lnTo>
                  <a:lnTo>
                    <a:pt x="885" y="687"/>
                  </a:lnTo>
                  <a:lnTo>
                    <a:pt x="870" y="691"/>
                  </a:lnTo>
                  <a:lnTo>
                    <a:pt x="854" y="695"/>
                  </a:lnTo>
                  <a:lnTo>
                    <a:pt x="837" y="698"/>
                  </a:lnTo>
                  <a:lnTo>
                    <a:pt x="820" y="699"/>
                  </a:lnTo>
                  <a:lnTo>
                    <a:pt x="802" y="699"/>
                  </a:lnTo>
                  <a:lnTo>
                    <a:pt x="786" y="699"/>
                  </a:lnTo>
                  <a:lnTo>
                    <a:pt x="771" y="697"/>
                  </a:lnTo>
                  <a:lnTo>
                    <a:pt x="755" y="695"/>
                  </a:lnTo>
                  <a:lnTo>
                    <a:pt x="740" y="691"/>
                  </a:lnTo>
                  <a:lnTo>
                    <a:pt x="727" y="687"/>
                  </a:lnTo>
                  <a:lnTo>
                    <a:pt x="712" y="682"/>
                  </a:lnTo>
                  <a:lnTo>
                    <a:pt x="699" y="675"/>
                  </a:lnTo>
                  <a:lnTo>
                    <a:pt x="685" y="669"/>
                  </a:lnTo>
                  <a:lnTo>
                    <a:pt x="673" y="662"/>
                  </a:lnTo>
                  <a:lnTo>
                    <a:pt x="660" y="654"/>
                  </a:lnTo>
                  <a:lnTo>
                    <a:pt x="648" y="645"/>
                  </a:lnTo>
                  <a:lnTo>
                    <a:pt x="637" y="635"/>
                  </a:lnTo>
                  <a:lnTo>
                    <a:pt x="614" y="615"/>
                  </a:lnTo>
                  <a:lnTo>
                    <a:pt x="592" y="591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5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4" y="422"/>
                  </a:lnTo>
                  <a:lnTo>
                    <a:pt x="453" y="358"/>
                  </a:lnTo>
                  <a:lnTo>
                    <a:pt x="395" y="234"/>
                  </a:lnTo>
                  <a:lnTo>
                    <a:pt x="366" y="177"/>
                  </a:lnTo>
                  <a:lnTo>
                    <a:pt x="351" y="150"/>
                  </a:lnTo>
                  <a:lnTo>
                    <a:pt x="337" y="125"/>
                  </a:lnTo>
                  <a:lnTo>
                    <a:pt x="322" y="102"/>
                  </a:lnTo>
                  <a:lnTo>
                    <a:pt x="306" y="82"/>
                  </a:lnTo>
                  <a:lnTo>
                    <a:pt x="291" y="64"/>
                  </a:lnTo>
                  <a:lnTo>
                    <a:pt x="275" y="48"/>
                  </a:lnTo>
                  <a:lnTo>
                    <a:pt x="266" y="41"/>
                  </a:lnTo>
                  <a:lnTo>
                    <a:pt x="257" y="36"/>
                  </a:lnTo>
                  <a:lnTo>
                    <a:pt x="248" y="30"/>
                  </a:lnTo>
                  <a:lnTo>
                    <a:pt x="239" y="26"/>
                  </a:lnTo>
                  <a:lnTo>
                    <a:pt x="230" y="22"/>
                  </a:lnTo>
                  <a:lnTo>
                    <a:pt x="221" y="20"/>
                  </a:lnTo>
                  <a:lnTo>
                    <a:pt x="211" y="19"/>
                  </a:lnTo>
                  <a:lnTo>
                    <a:pt x="201" y="18"/>
                  </a:lnTo>
                  <a:lnTo>
                    <a:pt x="190" y="19"/>
                  </a:lnTo>
                  <a:lnTo>
                    <a:pt x="178" y="20"/>
                  </a:lnTo>
                  <a:lnTo>
                    <a:pt x="167" y="23"/>
                  </a:lnTo>
                  <a:lnTo>
                    <a:pt x="157" y="28"/>
                  </a:lnTo>
                  <a:lnTo>
                    <a:pt x="147" y="32"/>
                  </a:lnTo>
                  <a:lnTo>
                    <a:pt x="137" y="39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8" y="64"/>
                  </a:lnTo>
                  <a:lnTo>
                    <a:pt x="99" y="74"/>
                  </a:lnTo>
                  <a:lnTo>
                    <a:pt x="79" y="96"/>
                  </a:lnTo>
                  <a:lnTo>
                    <a:pt x="63" y="122"/>
                  </a:lnTo>
                  <a:lnTo>
                    <a:pt x="45" y="151"/>
                  </a:lnTo>
                  <a:lnTo>
                    <a:pt x="34" y="134"/>
                  </a:lnTo>
                  <a:lnTo>
                    <a:pt x="23" y="120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3" y="53"/>
                  </a:lnTo>
                  <a:lnTo>
                    <a:pt x="66" y="37"/>
                  </a:lnTo>
                  <a:lnTo>
                    <a:pt x="78" y="30"/>
                  </a:lnTo>
                  <a:lnTo>
                    <a:pt x="91" y="23"/>
                  </a:lnTo>
                  <a:lnTo>
                    <a:pt x="103" y="18"/>
                  </a:lnTo>
                  <a:lnTo>
                    <a:pt x="115" y="13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7" y="3"/>
                  </a:lnTo>
                  <a:lnTo>
                    <a:pt x="172" y="1"/>
                  </a:lnTo>
                  <a:lnTo>
                    <a:pt x="186" y="0"/>
                  </a:lnTo>
                  <a:lnTo>
                    <a:pt x="201" y="0"/>
                  </a:lnTo>
                  <a:lnTo>
                    <a:pt x="218" y="1"/>
                  </a:lnTo>
                  <a:lnTo>
                    <a:pt x="233" y="2"/>
                  </a:lnTo>
                  <a:lnTo>
                    <a:pt x="248" y="4"/>
                  </a:lnTo>
                  <a:lnTo>
                    <a:pt x="263" y="8"/>
                  </a:lnTo>
                  <a:lnTo>
                    <a:pt x="277" y="12"/>
                  </a:lnTo>
                  <a:lnTo>
                    <a:pt x="292" y="18"/>
                  </a:lnTo>
                  <a:lnTo>
                    <a:pt x="305" y="23"/>
                  </a:lnTo>
                  <a:lnTo>
                    <a:pt x="318" y="30"/>
                  </a:lnTo>
                  <a:lnTo>
                    <a:pt x="331" y="38"/>
                  </a:lnTo>
                  <a:lnTo>
                    <a:pt x="344" y="46"/>
                  </a:lnTo>
                  <a:lnTo>
                    <a:pt x="356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2" y="107"/>
                  </a:lnTo>
                  <a:lnTo>
                    <a:pt x="432" y="132"/>
                  </a:lnTo>
                  <a:lnTo>
                    <a:pt x="451" y="159"/>
                  </a:lnTo>
                  <a:lnTo>
                    <a:pt x="469" y="187"/>
                  </a:lnTo>
                  <a:lnTo>
                    <a:pt x="487" y="216"/>
                  </a:lnTo>
                  <a:lnTo>
                    <a:pt x="504" y="246"/>
                  </a:lnTo>
                  <a:lnTo>
                    <a:pt x="520" y="278"/>
                  </a:lnTo>
                  <a:lnTo>
                    <a:pt x="550" y="342"/>
                  </a:lnTo>
                  <a:lnTo>
                    <a:pt x="608" y="466"/>
                  </a:lnTo>
                  <a:lnTo>
                    <a:pt x="622" y="495"/>
                  </a:lnTo>
                  <a:lnTo>
                    <a:pt x="636" y="523"/>
                  </a:lnTo>
                  <a:lnTo>
                    <a:pt x="650" y="550"/>
                  </a:lnTo>
                  <a:lnTo>
                    <a:pt x="665" y="575"/>
                  </a:lnTo>
                  <a:lnTo>
                    <a:pt x="680" y="597"/>
                  </a:lnTo>
                  <a:lnTo>
                    <a:pt x="695" y="618"/>
                  </a:lnTo>
                  <a:lnTo>
                    <a:pt x="711" y="636"/>
                  </a:lnTo>
                  <a:lnTo>
                    <a:pt x="728" y="652"/>
                  </a:lnTo>
                  <a:lnTo>
                    <a:pt x="737" y="659"/>
                  </a:lnTo>
                  <a:lnTo>
                    <a:pt x="745" y="664"/>
                  </a:lnTo>
                  <a:lnTo>
                    <a:pt x="754" y="669"/>
                  </a:lnTo>
                  <a:lnTo>
                    <a:pt x="763" y="673"/>
                  </a:lnTo>
                  <a:lnTo>
                    <a:pt x="773" y="677"/>
                  </a:lnTo>
                  <a:lnTo>
                    <a:pt x="782" y="679"/>
                  </a:lnTo>
                  <a:lnTo>
                    <a:pt x="792" y="681"/>
                  </a:lnTo>
                  <a:lnTo>
                    <a:pt x="802" y="68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84">
              <a:extLst>
                <a:ext uri="{FF2B5EF4-FFF2-40B4-BE49-F238E27FC236}">
                  <a16:creationId xmlns:a16="http://schemas.microsoft.com/office/drawing/2014/main" id="{74C88736-81EB-46A2-A67B-4D5A64426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3140" y="2404733"/>
              <a:ext cx="215039" cy="113131"/>
            </a:xfrm>
            <a:custGeom>
              <a:avLst/>
              <a:gdLst>
                <a:gd name="T0" fmla="*/ 45 w 201"/>
                <a:gd name="T1" fmla="*/ 150 h 150"/>
                <a:gd name="T2" fmla="*/ 45 w 201"/>
                <a:gd name="T3" fmla="*/ 150 h 150"/>
                <a:gd name="T4" fmla="*/ 62 w 201"/>
                <a:gd name="T5" fmla="*/ 122 h 150"/>
                <a:gd name="T6" fmla="*/ 80 w 201"/>
                <a:gd name="T7" fmla="*/ 97 h 150"/>
                <a:gd name="T8" fmla="*/ 98 w 201"/>
                <a:gd name="T9" fmla="*/ 74 h 150"/>
                <a:gd name="T10" fmla="*/ 108 w 201"/>
                <a:gd name="T11" fmla="*/ 64 h 150"/>
                <a:gd name="T12" fmla="*/ 117 w 201"/>
                <a:gd name="T13" fmla="*/ 55 h 150"/>
                <a:gd name="T14" fmla="*/ 127 w 201"/>
                <a:gd name="T15" fmla="*/ 46 h 150"/>
                <a:gd name="T16" fmla="*/ 137 w 201"/>
                <a:gd name="T17" fmla="*/ 40 h 150"/>
                <a:gd name="T18" fmla="*/ 147 w 201"/>
                <a:gd name="T19" fmla="*/ 33 h 150"/>
                <a:gd name="T20" fmla="*/ 157 w 201"/>
                <a:gd name="T21" fmla="*/ 27 h 150"/>
                <a:gd name="T22" fmla="*/ 167 w 201"/>
                <a:gd name="T23" fmla="*/ 24 h 150"/>
                <a:gd name="T24" fmla="*/ 179 w 201"/>
                <a:gd name="T25" fmla="*/ 21 h 150"/>
                <a:gd name="T26" fmla="*/ 190 w 201"/>
                <a:gd name="T27" fmla="*/ 18 h 150"/>
                <a:gd name="T28" fmla="*/ 201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6 w 201"/>
                <a:gd name="T35" fmla="*/ 0 h 150"/>
                <a:gd name="T36" fmla="*/ 171 w 201"/>
                <a:gd name="T37" fmla="*/ 1 h 150"/>
                <a:gd name="T38" fmla="*/ 157 w 201"/>
                <a:gd name="T39" fmla="*/ 4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4 h 150"/>
                <a:gd name="T46" fmla="*/ 103 w 201"/>
                <a:gd name="T47" fmla="*/ 18 h 150"/>
                <a:gd name="T48" fmla="*/ 91 w 201"/>
                <a:gd name="T49" fmla="*/ 24 h 150"/>
                <a:gd name="T50" fmla="*/ 78 w 201"/>
                <a:gd name="T51" fmla="*/ 31 h 150"/>
                <a:gd name="T52" fmla="*/ 66 w 201"/>
                <a:gd name="T53" fmla="*/ 37 h 150"/>
                <a:gd name="T54" fmla="*/ 43 w 201"/>
                <a:gd name="T55" fmla="*/ 53 h 150"/>
                <a:gd name="T56" fmla="*/ 21 w 201"/>
                <a:gd name="T57" fmla="*/ 71 h 150"/>
                <a:gd name="T58" fmla="*/ 0 w 201"/>
                <a:gd name="T59" fmla="*/ 91 h 150"/>
                <a:gd name="T60" fmla="*/ 0 w 201"/>
                <a:gd name="T61" fmla="*/ 91 h 150"/>
                <a:gd name="T62" fmla="*/ 23 w 201"/>
                <a:gd name="T63" fmla="*/ 119 h 150"/>
                <a:gd name="T64" fmla="*/ 34 w 201"/>
                <a:gd name="T65" fmla="*/ 135 h 150"/>
                <a:gd name="T66" fmla="*/ 45 w 201"/>
                <a:gd name="T67" fmla="*/ 150 h 150"/>
                <a:gd name="T68" fmla="*/ 45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5" y="150"/>
                  </a:moveTo>
                  <a:lnTo>
                    <a:pt x="45" y="150"/>
                  </a:lnTo>
                  <a:lnTo>
                    <a:pt x="62" y="122"/>
                  </a:lnTo>
                  <a:lnTo>
                    <a:pt x="80" y="97"/>
                  </a:lnTo>
                  <a:lnTo>
                    <a:pt x="98" y="74"/>
                  </a:lnTo>
                  <a:lnTo>
                    <a:pt x="108" y="64"/>
                  </a:lnTo>
                  <a:lnTo>
                    <a:pt x="117" y="55"/>
                  </a:lnTo>
                  <a:lnTo>
                    <a:pt x="127" y="46"/>
                  </a:lnTo>
                  <a:lnTo>
                    <a:pt x="137" y="40"/>
                  </a:lnTo>
                  <a:lnTo>
                    <a:pt x="147" y="33"/>
                  </a:lnTo>
                  <a:lnTo>
                    <a:pt x="157" y="27"/>
                  </a:lnTo>
                  <a:lnTo>
                    <a:pt x="167" y="24"/>
                  </a:lnTo>
                  <a:lnTo>
                    <a:pt x="179" y="21"/>
                  </a:lnTo>
                  <a:lnTo>
                    <a:pt x="190" y="18"/>
                  </a:lnTo>
                  <a:lnTo>
                    <a:pt x="201" y="18"/>
                  </a:lnTo>
                  <a:lnTo>
                    <a:pt x="201" y="0"/>
                  </a:lnTo>
                  <a:lnTo>
                    <a:pt x="186" y="0"/>
                  </a:lnTo>
                  <a:lnTo>
                    <a:pt x="171" y="1"/>
                  </a:lnTo>
                  <a:lnTo>
                    <a:pt x="157" y="4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4"/>
                  </a:lnTo>
                  <a:lnTo>
                    <a:pt x="103" y="18"/>
                  </a:lnTo>
                  <a:lnTo>
                    <a:pt x="91" y="24"/>
                  </a:lnTo>
                  <a:lnTo>
                    <a:pt x="78" y="31"/>
                  </a:lnTo>
                  <a:lnTo>
                    <a:pt x="66" y="37"/>
                  </a:lnTo>
                  <a:lnTo>
                    <a:pt x="43" y="53"/>
                  </a:lnTo>
                  <a:lnTo>
                    <a:pt x="21" y="71"/>
                  </a:lnTo>
                  <a:lnTo>
                    <a:pt x="0" y="91"/>
                  </a:lnTo>
                  <a:lnTo>
                    <a:pt x="23" y="119"/>
                  </a:lnTo>
                  <a:lnTo>
                    <a:pt x="34" y="135"/>
                  </a:lnTo>
                  <a:lnTo>
                    <a:pt x="45" y="1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85">
              <a:extLst>
                <a:ext uri="{FF2B5EF4-FFF2-40B4-BE49-F238E27FC236}">
                  <a16:creationId xmlns:a16="http://schemas.microsoft.com/office/drawing/2014/main" id="{5125600B-8CB8-490F-AC05-D5126A42F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154" y="2535872"/>
              <a:ext cx="407611" cy="368055"/>
            </a:xfrm>
            <a:custGeom>
              <a:avLst/>
              <a:gdLst>
                <a:gd name="T0" fmla="*/ 381 w 381"/>
                <a:gd name="T1" fmla="*/ 105 h 488"/>
                <a:gd name="T2" fmla="*/ 381 w 381"/>
                <a:gd name="T3" fmla="*/ 105 h 488"/>
                <a:gd name="T4" fmla="*/ 356 w 381"/>
                <a:gd name="T5" fmla="*/ 51 h 488"/>
                <a:gd name="T6" fmla="*/ 333 w 381"/>
                <a:gd name="T7" fmla="*/ 0 h 488"/>
                <a:gd name="T8" fmla="*/ 333 w 381"/>
                <a:gd name="T9" fmla="*/ 0 h 488"/>
                <a:gd name="T10" fmla="*/ 310 w 381"/>
                <a:gd name="T11" fmla="*/ 38 h 488"/>
                <a:gd name="T12" fmla="*/ 289 w 381"/>
                <a:gd name="T13" fmla="*/ 78 h 488"/>
                <a:gd name="T14" fmla="*/ 269 w 381"/>
                <a:gd name="T15" fmla="*/ 117 h 488"/>
                <a:gd name="T16" fmla="*/ 248 w 381"/>
                <a:gd name="T17" fmla="*/ 157 h 488"/>
                <a:gd name="T18" fmla="*/ 210 w 381"/>
                <a:gd name="T19" fmla="*/ 236 h 488"/>
                <a:gd name="T20" fmla="*/ 191 w 381"/>
                <a:gd name="T21" fmla="*/ 274 h 488"/>
                <a:gd name="T22" fmla="*/ 173 w 381"/>
                <a:gd name="T23" fmla="*/ 310 h 488"/>
                <a:gd name="T24" fmla="*/ 154 w 381"/>
                <a:gd name="T25" fmla="*/ 343 h 488"/>
                <a:gd name="T26" fmla="*/ 135 w 381"/>
                <a:gd name="T27" fmla="*/ 373 h 488"/>
                <a:gd name="T28" fmla="*/ 125 w 381"/>
                <a:gd name="T29" fmla="*/ 388 h 488"/>
                <a:gd name="T30" fmla="*/ 115 w 381"/>
                <a:gd name="T31" fmla="*/ 401 h 488"/>
                <a:gd name="T32" fmla="*/ 104 w 381"/>
                <a:gd name="T33" fmla="*/ 414 h 488"/>
                <a:gd name="T34" fmla="*/ 94 w 381"/>
                <a:gd name="T35" fmla="*/ 425 h 488"/>
                <a:gd name="T36" fmla="*/ 83 w 381"/>
                <a:gd name="T37" fmla="*/ 435 h 488"/>
                <a:gd name="T38" fmla="*/ 73 w 381"/>
                <a:gd name="T39" fmla="*/ 444 h 488"/>
                <a:gd name="T40" fmla="*/ 62 w 381"/>
                <a:gd name="T41" fmla="*/ 452 h 488"/>
                <a:gd name="T42" fmla="*/ 49 w 381"/>
                <a:gd name="T43" fmla="*/ 457 h 488"/>
                <a:gd name="T44" fmla="*/ 38 w 381"/>
                <a:gd name="T45" fmla="*/ 463 h 488"/>
                <a:gd name="T46" fmla="*/ 26 w 381"/>
                <a:gd name="T47" fmla="*/ 466 h 488"/>
                <a:gd name="T48" fmla="*/ 13 w 381"/>
                <a:gd name="T49" fmla="*/ 469 h 488"/>
                <a:gd name="T50" fmla="*/ 0 w 381"/>
                <a:gd name="T51" fmla="*/ 470 h 488"/>
                <a:gd name="T52" fmla="*/ 0 w 381"/>
                <a:gd name="T53" fmla="*/ 488 h 488"/>
                <a:gd name="T54" fmla="*/ 0 w 381"/>
                <a:gd name="T55" fmla="*/ 488 h 488"/>
                <a:gd name="T56" fmla="*/ 18 w 381"/>
                <a:gd name="T57" fmla="*/ 488 h 488"/>
                <a:gd name="T58" fmla="*/ 35 w 381"/>
                <a:gd name="T59" fmla="*/ 485 h 488"/>
                <a:gd name="T60" fmla="*/ 52 w 381"/>
                <a:gd name="T61" fmla="*/ 483 h 488"/>
                <a:gd name="T62" fmla="*/ 67 w 381"/>
                <a:gd name="T63" fmla="*/ 479 h 488"/>
                <a:gd name="T64" fmla="*/ 83 w 381"/>
                <a:gd name="T65" fmla="*/ 474 h 488"/>
                <a:gd name="T66" fmla="*/ 99 w 381"/>
                <a:gd name="T67" fmla="*/ 469 h 488"/>
                <a:gd name="T68" fmla="*/ 113 w 381"/>
                <a:gd name="T69" fmla="*/ 462 h 488"/>
                <a:gd name="T70" fmla="*/ 128 w 381"/>
                <a:gd name="T71" fmla="*/ 454 h 488"/>
                <a:gd name="T72" fmla="*/ 142 w 381"/>
                <a:gd name="T73" fmla="*/ 446 h 488"/>
                <a:gd name="T74" fmla="*/ 155 w 381"/>
                <a:gd name="T75" fmla="*/ 436 h 488"/>
                <a:gd name="T76" fmla="*/ 169 w 381"/>
                <a:gd name="T77" fmla="*/ 426 h 488"/>
                <a:gd name="T78" fmla="*/ 181 w 381"/>
                <a:gd name="T79" fmla="*/ 416 h 488"/>
                <a:gd name="T80" fmla="*/ 193 w 381"/>
                <a:gd name="T81" fmla="*/ 404 h 488"/>
                <a:gd name="T82" fmla="*/ 206 w 381"/>
                <a:gd name="T83" fmla="*/ 391 h 488"/>
                <a:gd name="T84" fmla="*/ 229 w 381"/>
                <a:gd name="T85" fmla="*/ 366 h 488"/>
                <a:gd name="T86" fmla="*/ 251 w 381"/>
                <a:gd name="T87" fmla="*/ 336 h 488"/>
                <a:gd name="T88" fmla="*/ 272 w 381"/>
                <a:gd name="T89" fmla="*/ 306 h 488"/>
                <a:gd name="T90" fmla="*/ 292 w 381"/>
                <a:gd name="T91" fmla="*/ 275 h 488"/>
                <a:gd name="T92" fmla="*/ 311 w 381"/>
                <a:gd name="T93" fmla="*/ 241 h 488"/>
                <a:gd name="T94" fmla="*/ 329 w 381"/>
                <a:gd name="T95" fmla="*/ 208 h 488"/>
                <a:gd name="T96" fmla="*/ 347 w 381"/>
                <a:gd name="T97" fmla="*/ 173 h 488"/>
                <a:gd name="T98" fmla="*/ 381 w 381"/>
                <a:gd name="T99" fmla="*/ 105 h 488"/>
                <a:gd name="T100" fmla="*/ 381 w 381"/>
                <a:gd name="T101" fmla="*/ 105 h 48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1" h="488">
                  <a:moveTo>
                    <a:pt x="381" y="105"/>
                  </a:moveTo>
                  <a:lnTo>
                    <a:pt x="381" y="105"/>
                  </a:lnTo>
                  <a:lnTo>
                    <a:pt x="356" y="51"/>
                  </a:lnTo>
                  <a:lnTo>
                    <a:pt x="333" y="0"/>
                  </a:lnTo>
                  <a:lnTo>
                    <a:pt x="310" y="38"/>
                  </a:lnTo>
                  <a:lnTo>
                    <a:pt x="289" y="78"/>
                  </a:lnTo>
                  <a:lnTo>
                    <a:pt x="269" y="117"/>
                  </a:lnTo>
                  <a:lnTo>
                    <a:pt x="248" y="157"/>
                  </a:lnTo>
                  <a:lnTo>
                    <a:pt x="210" y="236"/>
                  </a:lnTo>
                  <a:lnTo>
                    <a:pt x="191" y="274"/>
                  </a:lnTo>
                  <a:lnTo>
                    <a:pt x="173" y="310"/>
                  </a:lnTo>
                  <a:lnTo>
                    <a:pt x="154" y="343"/>
                  </a:lnTo>
                  <a:lnTo>
                    <a:pt x="135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4" y="414"/>
                  </a:lnTo>
                  <a:lnTo>
                    <a:pt x="94" y="425"/>
                  </a:lnTo>
                  <a:lnTo>
                    <a:pt x="83" y="435"/>
                  </a:lnTo>
                  <a:lnTo>
                    <a:pt x="73" y="444"/>
                  </a:lnTo>
                  <a:lnTo>
                    <a:pt x="62" y="452"/>
                  </a:lnTo>
                  <a:lnTo>
                    <a:pt x="49" y="457"/>
                  </a:lnTo>
                  <a:lnTo>
                    <a:pt x="38" y="463"/>
                  </a:lnTo>
                  <a:lnTo>
                    <a:pt x="26" y="466"/>
                  </a:lnTo>
                  <a:lnTo>
                    <a:pt x="13" y="469"/>
                  </a:lnTo>
                  <a:lnTo>
                    <a:pt x="0" y="470"/>
                  </a:lnTo>
                  <a:lnTo>
                    <a:pt x="0" y="488"/>
                  </a:lnTo>
                  <a:lnTo>
                    <a:pt x="18" y="488"/>
                  </a:lnTo>
                  <a:lnTo>
                    <a:pt x="35" y="485"/>
                  </a:lnTo>
                  <a:lnTo>
                    <a:pt x="52" y="483"/>
                  </a:lnTo>
                  <a:lnTo>
                    <a:pt x="67" y="479"/>
                  </a:lnTo>
                  <a:lnTo>
                    <a:pt x="83" y="474"/>
                  </a:lnTo>
                  <a:lnTo>
                    <a:pt x="99" y="469"/>
                  </a:lnTo>
                  <a:lnTo>
                    <a:pt x="113" y="462"/>
                  </a:lnTo>
                  <a:lnTo>
                    <a:pt x="128" y="454"/>
                  </a:lnTo>
                  <a:lnTo>
                    <a:pt x="142" y="446"/>
                  </a:lnTo>
                  <a:lnTo>
                    <a:pt x="155" y="436"/>
                  </a:lnTo>
                  <a:lnTo>
                    <a:pt x="169" y="426"/>
                  </a:lnTo>
                  <a:lnTo>
                    <a:pt x="181" y="416"/>
                  </a:lnTo>
                  <a:lnTo>
                    <a:pt x="193" y="404"/>
                  </a:lnTo>
                  <a:lnTo>
                    <a:pt x="206" y="391"/>
                  </a:lnTo>
                  <a:lnTo>
                    <a:pt x="229" y="366"/>
                  </a:lnTo>
                  <a:lnTo>
                    <a:pt x="251" y="336"/>
                  </a:lnTo>
                  <a:lnTo>
                    <a:pt x="272" y="306"/>
                  </a:lnTo>
                  <a:lnTo>
                    <a:pt x="292" y="275"/>
                  </a:lnTo>
                  <a:lnTo>
                    <a:pt x="311" y="241"/>
                  </a:lnTo>
                  <a:lnTo>
                    <a:pt x="329" y="208"/>
                  </a:lnTo>
                  <a:lnTo>
                    <a:pt x="347" y="173"/>
                  </a:lnTo>
                  <a:lnTo>
                    <a:pt x="381" y="10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 86">
              <a:extLst>
                <a:ext uri="{FF2B5EF4-FFF2-40B4-BE49-F238E27FC236}">
                  <a16:creationId xmlns:a16="http://schemas.microsoft.com/office/drawing/2014/main" id="{762E0B30-DFAD-48B3-BF2C-F76F1149D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56" y="2400962"/>
              <a:ext cx="865503" cy="474398"/>
            </a:xfrm>
            <a:custGeom>
              <a:avLst/>
              <a:gdLst>
                <a:gd name="T0" fmla="*/ 0 w 809"/>
                <a:gd name="T1" fmla="*/ 384 h 629"/>
                <a:gd name="T2" fmla="*/ 49 w 809"/>
                <a:gd name="T3" fmla="*/ 487 h 629"/>
                <a:gd name="T4" fmla="*/ 71 w 809"/>
                <a:gd name="T5" fmla="*/ 449 h 629"/>
                <a:gd name="T6" fmla="*/ 113 w 809"/>
                <a:gd name="T7" fmla="*/ 371 h 629"/>
                <a:gd name="T8" fmla="*/ 170 w 809"/>
                <a:gd name="T9" fmla="*/ 252 h 629"/>
                <a:gd name="T10" fmla="*/ 208 w 809"/>
                <a:gd name="T11" fmla="*/ 179 h 629"/>
                <a:gd name="T12" fmla="*/ 246 w 809"/>
                <a:gd name="T13" fmla="*/ 114 h 629"/>
                <a:gd name="T14" fmla="*/ 265 w 809"/>
                <a:gd name="T15" fmla="*/ 87 h 629"/>
                <a:gd name="T16" fmla="*/ 287 w 809"/>
                <a:gd name="T17" fmla="*/ 64 h 629"/>
                <a:gd name="T18" fmla="*/ 308 w 809"/>
                <a:gd name="T19" fmla="*/ 45 h 629"/>
                <a:gd name="T20" fmla="*/ 331 w 809"/>
                <a:gd name="T21" fmla="*/ 30 h 629"/>
                <a:gd name="T22" fmla="*/ 354 w 809"/>
                <a:gd name="T23" fmla="*/ 21 h 629"/>
                <a:gd name="T24" fmla="*/ 380 w 809"/>
                <a:gd name="T25" fmla="*/ 19 h 629"/>
                <a:gd name="T26" fmla="*/ 380 w 809"/>
                <a:gd name="T27" fmla="*/ 19 h 629"/>
                <a:gd name="T28" fmla="*/ 412 w 809"/>
                <a:gd name="T29" fmla="*/ 23 h 629"/>
                <a:gd name="T30" fmla="*/ 441 w 809"/>
                <a:gd name="T31" fmla="*/ 38 h 629"/>
                <a:gd name="T32" fmla="*/ 468 w 809"/>
                <a:gd name="T33" fmla="*/ 60 h 629"/>
                <a:gd name="T34" fmla="*/ 494 w 809"/>
                <a:gd name="T35" fmla="*/ 91 h 629"/>
                <a:gd name="T36" fmla="*/ 517 w 809"/>
                <a:gd name="T37" fmla="*/ 126 h 629"/>
                <a:gd name="T38" fmla="*/ 541 w 809"/>
                <a:gd name="T39" fmla="*/ 167 h 629"/>
                <a:gd name="T40" fmla="*/ 587 w 809"/>
                <a:gd name="T41" fmla="*/ 260 h 629"/>
                <a:gd name="T42" fmla="*/ 658 w 809"/>
                <a:gd name="T43" fmla="*/ 412 h 629"/>
                <a:gd name="T44" fmla="*/ 697 w 809"/>
                <a:gd name="T45" fmla="*/ 486 h 629"/>
                <a:gd name="T46" fmla="*/ 725 w 809"/>
                <a:gd name="T47" fmla="*/ 532 h 629"/>
                <a:gd name="T48" fmla="*/ 757 w 809"/>
                <a:gd name="T49" fmla="*/ 574 h 629"/>
                <a:gd name="T50" fmla="*/ 790 w 809"/>
                <a:gd name="T51" fmla="*/ 613 h 629"/>
                <a:gd name="T52" fmla="*/ 809 w 809"/>
                <a:gd name="T53" fmla="*/ 510 h 629"/>
                <a:gd name="T54" fmla="*/ 790 w 809"/>
                <a:gd name="T55" fmla="*/ 471 h 629"/>
                <a:gd name="T56" fmla="*/ 732 w 809"/>
                <a:gd name="T57" fmla="*/ 346 h 629"/>
                <a:gd name="T58" fmla="*/ 690 w 809"/>
                <a:gd name="T59" fmla="*/ 261 h 629"/>
                <a:gd name="T60" fmla="*/ 644 w 809"/>
                <a:gd name="T61" fmla="*/ 181 h 629"/>
                <a:gd name="T62" fmla="*/ 618 w 809"/>
                <a:gd name="T63" fmla="*/ 144 h 629"/>
                <a:gd name="T64" fmla="*/ 591 w 809"/>
                <a:gd name="T65" fmla="*/ 110 h 629"/>
                <a:gd name="T66" fmla="*/ 562 w 809"/>
                <a:gd name="T67" fmla="*/ 79 h 629"/>
                <a:gd name="T68" fmla="*/ 532 w 809"/>
                <a:gd name="T69" fmla="*/ 52 h 629"/>
                <a:gd name="T70" fmla="*/ 498 w 809"/>
                <a:gd name="T71" fmla="*/ 31 h 629"/>
                <a:gd name="T72" fmla="*/ 461 w 809"/>
                <a:gd name="T73" fmla="*/ 14 h 629"/>
                <a:gd name="T74" fmla="*/ 423 w 809"/>
                <a:gd name="T75" fmla="*/ 4 h 629"/>
                <a:gd name="T76" fmla="*/ 380 w 809"/>
                <a:gd name="T77" fmla="*/ 0 h 629"/>
                <a:gd name="T78" fmla="*/ 380 w 809"/>
                <a:gd name="T79" fmla="*/ 1 h 629"/>
                <a:gd name="T80" fmla="*/ 345 w 809"/>
                <a:gd name="T81" fmla="*/ 2 h 629"/>
                <a:gd name="T82" fmla="*/ 313 w 809"/>
                <a:gd name="T83" fmla="*/ 9 h 629"/>
                <a:gd name="T84" fmla="*/ 282 w 809"/>
                <a:gd name="T85" fmla="*/ 20 h 629"/>
                <a:gd name="T86" fmla="*/ 253 w 809"/>
                <a:gd name="T87" fmla="*/ 33 h 629"/>
                <a:gd name="T88" fmla="*/ 225 w 809"/>
                <a:gd name="T89" fmla="*/ 51 h 629"/>
                <a:gd name="T90" fmla="*/ 199 w 809"/>
                <a:gd name="T91" fmla="*/ 73 h 629"/>
                <a:gd name="T92" fmla="*/ 176 w 809"/>
                <a:gd name="T93" fmla="*/ 96 h 629"/>
                <a:gd name="T94" fmla="*/ 129 w 809"/>
                <a:gd name="T95" fmla="*/ 151 h 629"/>
                <a:gd name="T96" fmla="*/ 89 w 809"/>
                <a:gd name="T97" fmla="*/ 214 h 629"/>
                <a:gd name="T98" fmla="*/ 52 w 809"/>
                <a:gd name="T99" fmla="*/ 280 h 629"/>
                <a:gd name="T100" fmla="*/ 0 w 809"/>
                <a:gd name="T101" fmla="*/ 384 h 6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09" h="629">
                  <a:moveTo>
                    <a:pt x="0" y="384"/>
                  </a:moveTo>
                  <a:lnTo>
                    <a:pt x="0" y="384"/>
                  </a:lnTo>
                  <a:lnTo>
                    <a:pt x="24" y="437"/>
                  </a:lnTo>
                  <a:lnTo>
                    <a:pt x="49" y="487"/>
                  </a:lnTo>
                  <a:lnTo>
                    <a:pt x="71" y="449"/>
                  </a:lnTo>
                  <a:lnTo>
                    <a:pt x="92" y="411"/>
                  </a:lnTo>
                  <a:lnTo>
                    <a:pt x="113" y="371"/>
                  </a:lnTo>
                  <a:lnTo>
                    <a:pt x="133" y="330"/>
                  </a:lnTo>
                  <a:lnTo>
                    <a:pt x="170" y="252"/>
                  </a:lnTo>
                  <a:lnTo>
                    <a:pt x="189" y="215"/>
                  </a:lnTo>
                  <a:lnTo>
                    <a:pt x="208" y="179"/>
                  </a:lnTo>
                  <a:lnTo>
                    <a:pt x="227" y="145"/>
                  </a:lnTo>
                  <a:lnTo>
                    <a:pt x="246" y="114"/>
                  </a:lnTo>
                  <a:lnTo>
                    <a:pt x="256" y="101"/>
                  </a:lnTo>
                  <a:lnTo>
                    <a:pt x="265" y="87"/>
                  </a:lnTo>
                  <a:lnTo>
                    <a:pt x="277" y="75"/>
                  </a:lnTo>
                  <a:lnTo>
                    <a:pt x="287" y="64"/>
                  </a:lnTo>
                  <a:lnTo>
                    <a:pt x="297" y="54"/>
                  </a:lnTo>
                  <a:lnTo>
                    <a:pt x="308" y="45"/>
                  </a:lnTo>
                  <a:lnTo>
                    <a:pt x="319" y="37"/>
                  </a:lnTo>
                  <a:lnTo>
                    <a:pt x="331" y="30"/>
                  </a:lnTo>
                  <a:lnTo>
                    <a:pt x="343" y="26"/>
                  </a:lnTo>
                  <a:lnTo>
                    <a:pt x="354" y="21"/>
                  </a:lnTo>
                  <a:lnTo>
                    <a:pt x="368" y="19"/>
                  </a:lnTo>
                  <a:lnTo>
                    <a:pt x="380" y="19"/>
                  </a:lnTo>
                  <a:lnTo>
                    <a:pt x="396" y="20"/>
                  </a:lnTo>
                  <a:lnTo>
                    <a:pt x="412" y="23"/>
                  </a:lnTo>
                  <a:lnTo>
                    <a:pt x="426" y="30"/>
                  </a:lnTo>
                  <a:lnTo>
                    <a:pt x="441" y="38"/>
                  </a:lnTo>
                  <a:lnTo>
                    <a:pt x="454" y="49"/>
                  </a:lnTo>
                  <a:lnTo>
                    <a:pt x="468" y="60"/>
                  </a:lnTo>
                  <a:lnTo>
                    <a:pt x="481" y="75"/>
                  </a:lnTo>
                  <a:lnTo>
                    <a:pt x="494" y="91"/>
                  </a:lnTo>
                  <a:lnTo>
                    <a:pt x="506" y="107"/>
                  </a:lnTo>
                  <a:lnTo>
                    <a:pt x="517" y="126"/>
                  </a:lnTo>
                  <a:lnTo>
                    <a:pt x="530" y="147"/>
                  </a:lnTo>
                  <a:lnTo>
                    <a:pt x="541" y="167"/>
                  </a:lnTo>
                  <a:lnTo>
                    <a:pt x="563" y="212"/>
                  </a:lnTo>
                  <a:lnTo>
                    <a:pt x="587" y="260"/>
                  </a:lnTo>
                  <a:lnTo>
                    <a:pt x="633" y="361"/>
                  </a:lnTo>
                  <a:lnTo>
                    <a:pt x="658" y="412"/>
                  </a:lnTo>
                  <a:lnTo>
                    <a:pt x="684" y="461"/>
                  </a:lnTo>
                  <a:lnTo>
                    <a:pt x="697" y="486"/>
                  </a:lnTo>
                  <a:lnTo>
                    <a:pt x="710" y="510"/>
                  </a:lnTo>
                  <a:lnTo>
                    <a:pt x="725" y="532"/>
                  </a:lnTo>
                  <a:lnTo>
                    <a:pt x="741" y="554"/>
                  </a:lnTo>
                  <a:lnTo>
                    <a:pt x="757" y="574"/>
                  </a:lnTo>
                  <a:lnTo>
                    <a:pt x="773" y="595"/>
                  </a:lnTo>
                  <a:lnTo>
                    <a:pt x="790" y="613"/>
                  </a:lnTo>
                  <a:lnTo>
                    <a:pt x="808" y="629"/>
                  </a:lnTo>
                  <a:lnTo>
                    <a:pt x="809" y="510"/>
                  </a:lnTo>
                  <a:lnTo>
                    <a:pt x="790" y="471"/>
                  </a:lnTo>
                  <a:lnTo>
                    <a:pt x="771" y="431"/>
                  </a:lnTo>
                  <a:lnTo>
                    <a:pt x="732" y="346"/>
                  </a:lnTo>
                  <a:lnTo>
                    <a:pt x="712" y="303"/>
                  </a:lnTo>
                  <a:lnTo>
                    <a:pt x="690" y="261"/>
                  </a:lnTo>
                  <a:lnTo>
                    <a:pt x="668" y="220"/>
                  </a:lnTo>
                  <a:lnTo>
                    <a:pt x="644" y="181"/>
                  </a:lnTo>
                  <a:lnTo>
                    <a:pt x="632" y="162"/>
                  </a:lnTo>
                  <a:lnTo>
                    <a:pt x="618" y="144"/>
                  </a:lnTo>
                  <a:lnTo>
                    <a:pt x="605" y="126"/>
                  </a:lnTo>
                  <a:lnTo>
                    <a:pt x="591" y="110"/>
                  </a:lnTo>
                  <a:lnTo>
                    <a:pt x="578" y="94"/>
                  </a:lnTo>
                  <a:lnTo>
                    <a:pt x="562" y="79"/>
                  </a:lnTo>
                  <a:lnTo>
                    <a:pt x="548" y="66"/>
                  </a:lnTo>
                  <a:lnTo>
                    <a:pt x="532" y="52"/>
                  </a:lnTo>
                  <a:lnTo>
                    <a:pt x="515" y="41"/>
                  </a:lnTo>
                  <a:lnTo>
                    <a:pt x="498" y="31"/>
                  </a:lnTo>
                  <a:lnTo>
                    <a:pt x="480" y="22"/>
                  </a:lnTo>
                  <a:lnTo>
                    <a:pt x="461" y="14"/>
                  </a:lnTo>
                  <a:lnTo>
                    <a:pt x="442" y="9"/>
                  </a:lnTo>
                  <a:lnTo>
                    <a:pt x="423" y="4"/>
                  </a:lnTo>
                  <a:lnTo>
                    <a:pt x="401" y="1"/>
                  </a:lnTo>
                  <a:lnTo>
                    <a:pt x="380" y="0"/>
                  </a:lnTo>
                  <a:lnTo>
                    <a:pt x="380" y="1"/>
                  </a:lnTo>
                  <a:lnTo>
                    <a:pt x="363" y="1"/>
                  </a:lnTo>
                  <a:lnTo>
                    <a:pt x="345" y="2"/>
                  </a:lnTo>
                  <a:lnTo>
                    <a:pt x="329" y="5"/>
                  </a:lnTo>
                  <a:lnTo>
                    <a:pt x="313" y="9"/>
                  </a:lnTo>
                  <a:lnTo>
                    <a:pt x="297" y="13"/>
                  </a:lnTo>
                  <a:lnTo>
                    <a:pt x="282" y="20"/>
                  </a:lnTo>
                  <a:lnTo>
                    <a:pt x="268" y="27"/>
                  </a:lnTo>
                  <a:lnTo>
                    <a:pt x="253" y="33"/>
                  </a:lnTo>
                  <a:lnTo>
                    <a:pt x="240" y="42"/>
                  </a:lnTo>
                  <a:lnTo>
                    <a:pt x="225" y="51"/>
                  </a:lnTo>
                  <a:lnTo>
                    <a:pt x="213" y="61"/>
                  </a:lnTo>
                  <a:lnTo>
                    <a:pt x="199" y="73"/>
                  </a:lnTo>
                  <a:lnTo>
                    <a:pt x="187" y="84"/>
                  </a:lnTo>
                  <a:lnTo>
                    <a:pt x="176" y="96"/>
                  </a:lnTo>
                  <a:lnTo>
                    <a:pt x="152" y="123"/>
                  </a:lnTo>
                  <a:lnTo>
                    <a:pt x="129" y="151"/>
                  </a:lnTo>
                  <a:lnTo>
                    <a:pt x="109" y="181"/>
                  </a:lnTo>
                  <a:lnTo>
                    <a:pt x="89" y="214"/>
                  </a:lnTo>
                  <a:lnTo>
                    <a:pt x="70" y="246"/>
                  </a:lnTo>
                  <a:lnTo>
                    <a:pt x="52" y="280"/>
                  </a:lnTo>
                  <a:lnTo>
                    <a:pt x="34" y="315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 87">
              <a:extLst>
                <a:ext uri="{FF2B5EF4-FFF2-40B4-BE49-F238E27FC236}">
                  <a16:creationId xmlns:a16="http://schemas.microsoft.com/office/drawing/2014/main" id="{D29DAE77-DD3F-4501-B57D-FA4AD8924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4296" y="2391124"/>
              <a:ext cx="864515" cy="527979"/>
            </a:xfrm>
            <a:custGeom>
              <a:avLst/>
              <a:gdLst>
                <a:gd name="T0" fmla="*/ 789 w 977"/>
                <a:gd name="T1" fmla="*/ 682 h 700"/>
                <a:gd name="T2" fmla="*/ 821 w 977"/>
                <a:gd name="T3" fmla="*/ 673 h 700"/>
                <a:gd name="T4" fmla="*/ 850 w 977"/>
                <a:gd name="T5" fmla="*/ 654 h 700"/>
                <a:gd name="T6" fmla="*/ 880 w 977"/>
                <a:gd name="T7" fmla="*/ 626 h 700"/>
                <a:gd name="T8" fmla="*/ 932 w 977"/>
                <a:gd name="T9" fmla="*/ 549 h 700"/>
                <a:gd name="T10" fmla="*/ 977 w 977"/>
                <a:gd name="T11" fmla="*/ 609 h 700"/>
                <a:gd name="T12" fmla="*/ 935 w 977"/>
                <a:gd name="T13" fmla="*/ 647 h 700"/>
                <a:gd name="T14" fmla="*/ 887 w 977"/>
                <a:gd name="T15" fmla="*/ 676 h 700"/>
                <a:gd name="T16" fmla="*/ 848 w 977"/>
                <a:gd name="T17" fmla="*/ 691 h 700"/>
                <a:gd name="T18" fmla="*/ 807 w 977"/>
                <a:gd name="T19" fmla="*/ 698 h 700"/>
                <a:gd name="T20" fmla="*/ 776 w 977"/>
                <a:gd name="T21" fmla="*/ 700 h 700"/>
                <a:gd name="T22" fmla="*/ 729 w 977"/>
                <a:gd name="T23" fmla="*/ 695 h 700"/>
                <a:gd name="T24" fmla="*/ 686 w 977"/>
                <a:gd name="T25" fmla="*/ 683 h 700"/>
                <a:gd name="T26" fmla="*/ 647 w 977"/>
                <a:gd name="T27" fmla="*/ 663 h 700"/>
                <a:gd name="T28" fmla="*/ 610 w 977"/>
                <a:gd name="T29" fmla="*/ 636 h 700"/>
                <a:gd name="T30" fmla="*/ 546 w 977"/>
                <a:gd name="T31" fmla="*/ 567 h 700"/>
                <a:gd name="T32" fmla="*/ 491 w 977"/>
                <a:gd name="T33" fmla="*/ 483 h 700"/>
                <a:gd name="T34" fmla="*/ 427 w 977"/>
                <a:gd name="T35" fmla="*/ 359 h 700"/>
                <a:gd name="T36" fmla="*/ 341 w 977"/>
                <a:gd name="T37" fmla="*/ 176 h 700"/>
                <a:gd name="T38" fmla="*/ 297 w 977"/>
                <a:gd name="T39" fmla="*/ 102 h 700"/>
                <a:gd name="T40" fmla="*/ 250 w 977"/>
                <a:gd name="T41" fmla="*/ 49 h 700"/>
                <a:gd name="T42" fmla="*/ 223 w 977"/>
                <a:gd name="T43" fmla="*/ 31 h 700"/>
                <a:gd name="T44" fmla="*/ 195 w 977"/>
                <a:gd name="T45" fmla="*/ 21 h 700"/>
                <a:gd name="T46" fmla="*/ 175 w 977"/>
                <a:gd name="T47" fmla="*/ 18 h 700"/>
                <a:gd name="T48" fmla="*/ 137 w 977"/>
                <a:gd name="T49" fmla="*/ 25 h 700"/>
                <a:gd name="T50" fmla="*/ 102 w 977"/>
                <a:gd name="T51" fmla="*/ 45 h 700"/>
                <a:gd name="T52" fmla="*/ 69 w 977"/>
                <a:gd name="T53" fmla="*/ 78 h 700"/>
                <a:gd name="T54" fmla="*/ 39 w 977"/>
                <a:gd name="T55" fmla="*/ 118 h 700"/>
                <a:gd name="T56" fmla="*/ 1 w 977"/>
                <a:gd name="T57" fmla="*/ 68 h 700"/>
                <a:gd name="T58" fmla="*/ 39 w 977"/>
                <a:gd name="T59" fmla="*/ 40 h 700"/>
                <a:gd name="T60" fmla="*/ 103 w 977"/>
                <a:gd name="T61" fmla="*/ 11 h 700"/>
                <a:gd name="T62" fmla="*/ 176 w 977"/>
                <a:gd name="T63" fmla="*/ 0 h 700"/>
                <a:gd name="T64" fmla="*/ 207 w 977"/>
                <a:gd name="T65" fmla="*/ 3 h 700"/>
                <a:gd name="T66" fmla="*/ 251 w 977"/>
                <a:gd name="T67" fmla="*/ 13 h 700"/>
                <a:gd name="T68" fmla="*/ 292 w 977"/>
                <a:gd name="T69" fmla="*/ 31 h 700"/>
                <a:gd name="T70" fmla="*/ 329 w 977"/>
                <a:gd name="T71" fmla="*/ 55 h 700"/>
                <a:gd name="T72" fmla="*/ 385 w 977"/>
                <a:gd name="T73" fmla="*/ 108 h 700"/>
                <a:gd name="T74" fmla="*/ 443 w 977"/>
                <a:gd name="T75" fmla="*/ 188 h 700"/>
                <a:gd name="T76" fmla="*/ 494 w 977"/>
                <a:gd name="T77" fmla="*/ 278 h 700"/>
                <a:gd name="T78" fmla="*/ 611 w 977"/>
                <a:gd name="T79" fmla="*/ 524 h 700"/>
                <a:gd name="T80" fmla="*/ 656 w 977"/>
                <a:gd name="T81" fmla="*/ 598 h 700"/>
                <a:gd name="T82" fmla="*/ 703 w 977"/>
                <a:gd name="T83" fmla="*/ 651 h 700"/>
                <a:gd name="T84" fmla="*/ 729 w 977"/>
                <a:gd name="T85" fmla="*/ 669 h 700"/>
                <a:gd name="T86" fmla="*/ 757 w 977"/>
                <a:gd name="T87" fmla="*/ 679 h 700"/>
                <a:gd name="T88" fmla="*/ 776 w 977"/>
                <a:gd name="T89" fmla="*/ 682 h 7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894 w 10000"/>
                <a:gd name="connsiteY65" fmla="*/ 271 h 10000"/>
                <a:gd name="connsiteX66" fmla="*/ 1791 w 10000"/>
                <a:gd name="connsiteY66" fmla="*/ 257 h 10000"/>
                <a:gd name="connsiteX67" fmla="*/ 1668 w 10000"/>
                <a:gd name="connsiteY67" fmla="*/ 271 h 10000"/>
                <a:gd name="connsiteX68" fmla="*/ 1525 w 10000"/>
                <a:gd name="connsiteY68" fmla="*/ 314 h 10000"/>
                <a:gd name="connsiteX69" fmla="*/ 1402 w 10000"/>
                <a:gd name="connsiteY69" fmla="*/ 357 h 10000"/>
                <a:gd name="connsiteX70" fmla="*/ 1279 w 10000"/>
                <a:gd name="connsiteY70" fmla="*/ 443 h 10000"/>
                <a:gd name="connsiteX71" fmla="*/ 1157 w 10000"/>
                <a:gd name="connsiteY71" fmla="*/ 529 h 10000"/>
                <a:gd name="connsiteX72" fmla="*/ 1044 w 10000"/>
                <a:gd name="connsiteY72" fmla="*/ 643 h 10000"/>
                <a:gd name="connsiteX73" fmla="*/ 931 w 10000"/>
                <a:gd name="connsiteY73" fmla="*/ 786 h 10000"/>
                <a:gd name="connsiteX74" fmla="*/ 809 w 10000"/>
                <a:gd name="connsiteY74" fmla="*/ 929 h 10000"/>
                <a:gd name="connsiteX75" fmla="*/ 706 w 10000"/>
                <a:gd name="connsiteY75" fmla="*/ 1114 h 10000"/>
                <a:gd name="connsiteX76" fmla="*/ 604 w 10000"/>
                <a:gd name="connsiteY76" fmla="*/ 1286 h 10000"/>
                <a:gd name="connsiteX77" fmla="*/ 491 w 10000"/>
                <a:gd name="connsiteY77" fmla="*/ 1486 h 10000"/>
                <a:gd name="connsiteX78" fmla="*/ 399 w 10000"/>
                <a:gd name="connsiteY78" fmla="*/ 1686 h 10000"/>
                <a:gd name="connsiteX79" fmla="*/ 194 w 10000"/>
                <a:gd name="connsiteY79" fmla="*/ 2157 h 10000"/>
                <a:gd name="connsiteX80" fmla="*/ 0 w 10000"/>
                <a:gd name="connsiteY80" fmla="*/ 2643 h 10000"/>
                <a:gd name="connsiteX81" fmla="*/ 10 w 10000"/>
                <a:gd name="connsiteY81" fmla="*/ 971 h 10000"/>
                <a:gd name="connsiteX82" fmla="*/ 205 w 10000"/>
                <a:gd name="connsiteY82" fmla="*/ 757 h 10000"/>
                <a:gd name="connsiteX83" fmla="*/ 399 w 10000"/>
                <a:gd name="connsiteY83" fmla="*/ 571 h 10000"/>
                <a:gd name="connsiteX84" fmla="*/ 604 w 10000"/>
                <a:gd name="connsiteY84" fmla="*/ 386 h 10000"/>
                <a:gd name="connsiteX85" fmla="*/ 819 w 10000"/>
                <a:gd name="connsiteY85" fmla="*/ 257 h 10000"/>
                <a:gd name="connsiteX86" fmla="*/ 1054 w 10000"/>
                <a:gd name="connsiteY86" fmla="*/ 157 h 10000"/>
                <a:gd name="connsiteX87" fmla="*/ 1300 w 10000"/>
                <a:gd name="connsiteY87" fmla="*/ 71 h 10000"/>
                <a:gd name="connsiteX88" fmla="*/ 1535 w 10000"/>
                <a:gd name="connsiteY88" fmla="*/ 29 h 10000"/>
                <a:gd name="connsiteX89" fmla="*/ 1801 w 10000"/>
                <a:gd name="connsiteY89" fmla="*/ 0 h 10000"/>
                <a:gd name="connsiteX90" fmla="*/ 1965 w 10000"/>
                <a:gd name="connsiteY90" fmla="*/ 0 h 10000"/>
                <a:gd name="connsiteX91" fmla="*/ 2119 w 10000"/>
                <a:gd name="connsiteY91" fmla="*/ 43 h 10000"/>
                <a:gd name="connsiteX92" fmla="*/ 2272 w 10000"/>
                <a:gd name="connsiteY92" fmla="*/ 71 h 10000"/>
                <a:gd name="connsiteX93" fmla="*/ 2426 w 10000"/>
                <a:gd name="connsiteY93" fmla="*/ 114 h 10000"/>
                <a:gd name="connsiteX94" fmla="*/ 2569 w 10000"/>
                <a:gd name="connsiteY94" fmla="*/ 186 h 10000"/>
                <a:gd name="connsiteX95" fmla="*/ 2712 w 10000"/>
                <a:gd name="connsiteY95" fmla="*/ 257 h 10000"/>
                <a:gd name="connsiteX96" fmla="*/ 2845 w 10000"/>
                <a:gd name="connsiteY96" fmla="*/ 343 h 10000"/>
                <a:gd name="connsiteX97" fmla="*/ 2989 w 10000"/>
                <a:gd name="connsiteY97" fmla="*/ 443 h 10000"/>
                <a:gd name="connsiteX98" fmla="*/ 3112 w 10000"/>
                <a:gd name="connsiteY98" fmla="*/ 529 h 10000"/>
                <a:gd name="connsiteX99" fmla="*/ 3234 w 10000"/>
                <a:gd name="connsiteY99" fmla="*/ 657 h 10000"/>
                <a:gd name="connsiteX100" fmla="*/ 3367 w 10000"/>
                <a:gd name="connsiteY100" fmla="*/ 786 h 10000"/>
                <a:gd name="connsiteX101" fmla="*/ 3490 w 10000"/>
                <a:gd name="connsiteY101" fmla="*/ 914 h 10000"/>
                <a:gd name="connsiteX102" fmla="*/ 3726 w 10000"/>
                <a:gd name="connsiteY102" fmla="*/ 1200 h 10000"/>
                <a:gd name="connsiteX103" fmla="*/ 3941 w 10000"/>
                <a:gd name="connsiteY103" fmla="*/ 1543 h 10000"/>
                <a:gd name="connsiteX104" fmla="*/ 4145 w 10000"/>
                <a:gd name="connsiteY104" fmla="*/ 1900 h 10000"/>
                <a:gd name="connsiteX105" fmla="*/ 4340 w 10000"/>
                <a:gd name="connsiteY105" fmla="*/ 2286 h 10000"/>
                <a:gd name="connsiteX106" fmla="*/ 4534 w 10000"/>
                <a:gd name="connsiteY106" fmla="*/ 2686 h 10000"/>
                <a:gd name="connsiteX107" fmla="*/ 4708 w 10000"/>
                <a:gd name="connsiteY107" fmla="*/ 3100 h 10000"/>
                <a:gd name="connsiteX108" fmla="*/ 4893 w 10000"/>
                <a:gd name="connsiteY108" fmla="*/ 3529 h 10000"/>
                <a:gd name="connsiteX109" fmla="*/ 5056 w 10000"/>
                <a:gd name="connsiteY109" fmla="*/ 3971 h 10000"/>
                <a:gd name="connsiteX110" fmla="*/ 5363 w 10000"/>
                <a:gd name="connsiteY110" fmla="*/ 4871 h 10000"/>
                <a:gd name="connsiteX111" fmla="*/ 5967 w 10000"/>
                <a:gd name="connsiteY111" fmla="*/ 6657 h 10000"/>
                <a:gd name="connsiteX112" fmla="*/ 6254 w 10000"/>
                <a:gd name="connsiteY112" fmla="*/ 7486 h 10000"/>
                <a:gd name="connsiteX113" fmla="*/ 6407 w 10000"/>
                <a:gd name="connsiteY113" fmla="*/ 7843 h 10000"/>
                <a:gd name="connsiteX114" fmla="*/ 6551 w 10000"/>
                <a:gd name="connsiteY114" fmla="*/ 8214 h 10000"/>
                <a:gd name="connsiteX115" fmla="*/ 6714 w 10000"/>
                <a:gd name="connsiteY115" fmla="*/ 8543 h 10000"/>
                <a:gd name="connsiteX116" fmla="*/ 6868 w 10000"/>
                <a:gd name="connsiteY116" fmla="*/ 8829 h 10000"/>
                <a:gd name="connsiteX117" fmla="*/ 7021 w 10000"/>
                <a:gd name="connsiteY117" fmla="*/ 9100 h 10000"/>
                <a:gd name="connsiteX118" fmla="*/ 7195 w 10000"/>
                <a:gd name="connsiteY118" fmla="*/ 9300 h 10000"/>
                <a:gd name="connsiteX119" fmla="*/ 7288 w 10000"/>
                <a:gd name="connsiteY119" fmla="*/ 9400 h 10000"/>
                <a:gd name="connsiteX120" fmla="*/ 7369 w 10000"/>
                <a:gd name="connsiteY120" fmla="*/ 9500 h 10000"/>
                <a:gd name="connsiteX121" fmla="*/ 7462 w 10000"/>
                <a:gd name="connsiteY121" fmla="*/ 9557 h 10000"/>
                <a:gd name="connsiteX122" fmla="*/ 7554 w 10000"/>
                <a:gd name="connsiteY122" fmla="*/ 9629 h 10000"/>
                <a:gd name="connsiteX123" fmla="*/ 7646 w 10000"/>
                <a:gd name="connsiteY123" fmla="*/ 9671 h 10000"/>
                <a:gd name="connsiteX124" fmla="*/ 7748 w 10000"/>
                <a:gd name="connsiteY124" fmla="*/ 9700 h 10000"/>
                <a:gd name="connsiteX125" fmla="*/ 7851 w 10000"/>
                <a:gd name="connsiteY125" fmla="*/ 9743 h 10000"/>
                <a:gd name="connsiteX126" fmla="*/ 7943 w 10000"/>
                <a:gd name="connsiteY126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119 w 10000"/>
                <a:gd name="connsiteY90" fmla="*/ 43 h 10000"/>
                <a:gd name="connsiteX91" fmla="*/ 2272 w 10000"/>
                <a:gd name="connsiteY91" fmla="*/ 71 h 10000"/>
                <a:gd name="connsiteX92" fmla="*/ 2426 w 10000"/>
                <a:gd name="connsiteY92" fmla="*/ 114 h 10000"/>
                <a:gd name="connsiteX93" fmla="*/ 2569 w 10000"/>
                <a:gd name="connsiteY93" fmla="*/ 186 h 10000"/>
                <a:gd name="connsiteX94" fmla="*/ 2712 w 10000"/>
                <a:gd name="connsiteY94" fmla="*/ 257 h 10000"/>
                <a:gd name="connsiteX95" fmla="*/ 2845 w 10000"/>
                <a:gd name="connsiteY95" fmla="*/ 343 h 10000"/>
                <a:gd name="connsiteX96" fmla="*/ 2989 w 10000"/>
                <a:gd name="connsiteY96" fmla="*/ 443 h 10000"/>
                <a:gd name="connsiteX97" fmla="*/ 3112 w 10000"/>
                <a:gd name="connsiteY97" fmla="*/ 529 h 10000"/>
                <a:gd name="connsiteX98" fmla="*/ 3234 w 10000"/>
                <a:gd name="connsiteY98" fmla="*/ 657 h 10000"/>
                <a:gd name="connsiteX99" fmla="*/ 3367 w 10000"/>
                <a:gd name="connsiteY99" fmla="*/ 786 h 10000"/>
                <a:gd name="connsiteX100" fmla="*/ 3490 w 10000"/>
                <a:gd name="connsiteY100" fmla="*/ 914 h 10000"/>
                <a:gd name="connsiteX101" fmla="*/ 3726 w 10000"/>
                <a:gd name="connsiteY101" fmla="*/ 1200 h 10000"/>
                <a:gd name="connsiteX102" fmla="*/ 3941 w 10000"/>
                <a:gd name="connsiteY102" fmla="*/ 1543 h 10000"/>
                <a:gd name="connsiteX103" fmla="*/ 4145 w 10000"/>
                <a:gd name="connsiteY103" fmla="*/ 1900 h 10000"/>
                <a:gd name="connsiteX104" fmla="*/ 4340 w 10000"/>
                <a:gd name="connsiteY104" fmla="*/ 2286 h 10000"/>
                <a:gd name="connsiteX105" fmla="*/ 4534 w 10000"/>
                <a:gd name="connsiteY105" fmla="*/ 2686 h 10000"/>
                <a:gd name="connsiteX106" fmla="*/ 4708 w 10000"/>
                <a:gd name="connsiteY106" fmla="*/ 3100 h 10000"/>
                <a:gd name="connsiteX107" fmla="*/ 4893 w 10000"/>
                <a:gd name="connsiteY107" fmla="*/ 3529 h 10000"/>
                <a:gd name="connsiteX108" fmla="*/ 5056 w 10000"/>
                <a:gd name="connsiteY108" fmla="*/ 3971 h 10000"/>
                <a:gd name="connsiteX109" fmla="*/ 5363 w 10000"/>
                <a:gd name="connsiteY109" fmla="*/ 4871 h 10000"/>
                <a:gd name="connsiteX110" fmla="*/ 5967 w 10000"/>
                <a:gd name="connsiteY110" fmla="*/ 6657 h 10000"/>
                <a:gd name="connsiteX111" fmla="*/ 6254 w 10000"/>
                <a:gd name="connsiteY111" fmla="*/ 7486 h 10000"/>
                <a:gd name="connsiteX112" fmla="*/ 6407 w 10000"/>
                <a:gd name="connsiteY112" fmla="*/ 7843 h 10000"/>
                <a:gd name="connsiteX113" fmla="*/ 6551 w 10000"/>
                <a:gd name="connsiteY113" fmla="*/ 8214 h 10000"/>
                <a:gd name="connsiteX114" fmla="*/ 6714 w 10000"/>
                <a:gd name="connsiteY114" fmla="*/ 8543 h 10000"/>
                <a:gd name="connsiteX115" fmla="*/ 6868 w 10000"/>
                <a:gd name="connsiteY115" fmla="*/ 8829 h 10000"/>
                <a:gd name="connsiteX116" fmla="*/ 7021 w 10000"/>
                <a:gd name="connsiteY116" fmla="*/ 9100 h 10000"/>
                <a:gd name="connsiteX117" fmla="*/ 7195 w 10000"/>
                <a:gd name="connsiteY117" fmla="*/ 9300 h 10000"/>
                <a:gd name="connsiteX118" fmla="*/ 7288 w 10000"/>
                <a:gd name="connsiteY118" fmla="*/ 9400 h 10000"/>
                <a:gd name="connsiteX119" fmla="*/ 7369 w 10000"/>
                <a:gd name="connsiteY119" fmla="*/ 9500 h 10000"/>
                <a:gd name="connsiteX120" fmla="*/ 7462 w 10000"/>
                <a:gd name="connsiteY120" fmla="*/ 9557 h 10000"/>
                <a:gd name="connsiteX121" fmla="*/ 7554 w 10000"/>
                <a:gd name="connsiteY121" fmla="*/ 9629 h 10000"/>
                <a:gd name="connsiteX122" fmla="*/ 7646 w 10000"/>
                <a:gd name="connsiteY122" fmla="*/ 9671 h 10000"/>
                <a:gd name="connsiteX123" fmla="*/ 7748 w 10000"/>
                <a:gd name="connsiteY123" fmla="*/ 9700 h 10000"/>
                <a:gd name="connsiteX124" fmla="*/ 7851 w 10000"/>
                <a:gd name="connsiteY124" fmla="*/ 9743 h 10000"/>
                <a:gd name="connsiteX125" fmla="*/ 7943 w 10000"/>
                <a:gd name="connsiteY125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272 w 10000"/>
                <a:gd name="connsiteY90" fmla="*/ 71 h 10000"/>
                <a:gd name="connsiteX91" fmla="*/ 2426 w 10000"/>
                <a:gd name="connsiteY91" fmla="*/ 114 h 10000"/>
                <a:gd name="connsiteX92" fmla="*/ 2569 w 10000"/>
                <a:gd name="connsiteY92" fmla="*/ 186 h 10000"/>
                <a:gd name="connsiteX93" fmla="*/ 2712 w 10000"/>
                <a:gd name="connsiteY93" fmla="*/ 257 h 10000"/>
                <a:gd name="connsiteX94" fmla="*/ 2845 w 10000"/>
                <a:gd name="connsiteY94" fmla="*/ 343 h 10000"/>
                <a:gd name="connsiteX95" fmla="*/ 2989 w 10000"/>
                <a:gd name="connsiteY95" fmla="*/ 443 h 10000"/>
                <a:gd name="connsiteX96" fmla="*/ 3112 w 10000"/>
                <a:gd name="connsiteY96" fmla="*/ 529 h 10000"/>
                <a:gd name="connsiteX97" fmla="*/ 3234 w 10000"/>
                <a:gd name="connsiteY97" fmla="*/ 657 h 10000"/>
                <a:gd name="connsiteX98" fmla="*/ 3367 w 10000"/>
                <a:gd name="connsiteY98" fmla="*/ 786 h 10000"/>
                <a:gd name="connsiteX99" fmla="*/ 3490 w 10000"/>
                <a:gd name="connsiteY99" fmla="*/ 914 h 10000"/>
                <a:gd name="connsiteX100" fmla="*/ 3726 w 10000"/>
                <a:gd name="connsiteY100" fmla="*/ 1200 h 10000"/>
                <a:gd name="connsiteX101" fmla="*/ 3941 w 10000"/>
                <a:gd name="connsiteY101" fmla="*/ 1543 h 10000"/>
                <a:gd name="connsiteX102" fmla="*/ 4145 w 10000"/>
                <a:gd name="connsiteY102" fmla="*/ 1900 h 10000"/>
                <a:gd name="connsiteX103" fmla="*/ 4340 w 10000"/>
                <a:gd name="connsiteY103" fmla="*/ 2286 h 10000"/>
                <a:gd name="connsiteX104" fmla="*/ 4534 w 10000"/>
                <a:gd name="connsiteY104" fmla="*/ 2686 h 10000"/>
                <a:gd name="connsiteX105" fmla="*/ 4708 w 10000"/>
                <a:gd name="connsiteY105" fmla="*/ 3100 h 10000"/>
                <a:gd name="connsiteX106" fmla="*/ 4893 w 10000"/>
                <a:gd name="connsiteY106" fmla="*/ 3529 h 10000"/>
                <a:gd name="connsiteX107" fmla="*/ 5056 w 10000"/>
                <a:gd name="connsiteY107" fmla="*/ 3971 h 10000"/>
                <a:gd name="connsiteX108" fmla="*/ 5363 w 10000"/>
                <a:gd name="connsiteY108" fmla="*/ 4871 h 10000"/>
                <a:gd name="connsiteX109" fmla="*/ 5967 w 10000"/>
                <a:gd name="connsiteY109" fmla="*/ 6657 h 10000"/>
                <a:gd name="connsiteX110" fmla="*/ 6254 w 10000"/>
                <a:gd name="connsiteY110" fmla="*/ 7486 h 10000"/>
                <a:gd name="connsiteX111" fmla="*/ 6407 w 10000"/>
                <a:gd name="connsiteY111" fmla="*/ 7843 h 10000"/>
                <a:gd name="connsiteX112" fmla="*/ 6551 w 10000"/>
                <a:gd name="connsiteY112" fmla="*/ 8214 h 10000"/>
                <a:gd name="connsiteX113" fmla="*/ 6714 w 10000"/>
                <a:gd name="connsiteY113" fmla="*/ 8543 h 10000"/>
                <a:gd name="connsiteX114" fmla="*/ 6868 w 10000"/>
                <a:gd name="connsiteY114" fmla="*/ 8829 h 10000"/>
                <a:gd name="connsiteX115" fmla="*/ 7021 w 10000"/>
                <a:gd name="connsiteY115" fmla="*/ 9100 h 10000"/>
                <a:gd name="connsiteX116" fmla="*/ 7195 w 10000"/>
                <a:gd name="connsiteY116" fmla="*/ 9300 h 10000"/>
                <a:gd name="connsiteX117" fmla="*/ 7288 w 10000"/>
                <a:gd name="connsiteY117" fmla="*/ 9400 h 10000"/>
                <a:gd name="connsiteX118" fmla="*/ 7369 w 10000"/>
                <a:gd name="connsiteY118" fmla="*/ 9500 h 10000"/>
                <a:gd name="connsiteX119" fmla="*/ 7462 w 10000"/>
                <a:gd name="connsiteY119" fmla="*/ 9557 h 10000"/>
                <a:gd name="connsiteX120" fmla="*/ 7554 w 10000"/>
                <a:gd name="connsiteY120" fmla="*/ 9629 h 10000"/>
                <a:gd name="connsiteX121" fmla="*/ 7646 w 10000"/>
                <a:gd name="connsiteY121" fmla="*/ 9671 h 10000"/>
                <a:gd name="connsiteX122" fmla="*/ 7748 w 10000"/>
                <a:gd name="connsiteY122" fmla="*/ 9700 h 10000"/>
                <a:gd name="connsiteX123" fmla="*/ 7851 w 10000"/>
                <a:gd name="connsiteY123" fmla="*/ 9743 h 10000"/>
                <a:gd name="connsiteX124" fmla="*/ 7943 w 10000"/>
                <a:gd name="connsiteY124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1965 w 10000"/>
                <a:gd name="connsiteY88" fmla="*/ 0 h 10000"/>
                <a:gd name="connsiteX89" fmla="*/ 2272 w 10000"/>
                <a:gd name="connsiteY89" fmla="*/ 71 h 10000"/>
                <a:gd name="connsiteX90" fmla="*/ 2426 w 10000"/>
                <a:gd name="connsiteY90" fmla="*/ 114 h 10000"/>
                <a:gd name="connsiteX91" fmla="*/ 2569 w 10000"/>
                <a:gd name="connsiteY91" fmla="*/ 186 h 10000"/>
                <a:gd name="connsiteX92" fmla="*/ 2712 w 10000"/>
                <a:gd name="connsiteY92" fmla="*/ 257 h 10000"/>
                <a:gd name="connsiteX93" fmla="*/ 2845 w 10000"/>
                <a:gd name="connsiteY93" fmla="*/ 343 h 10000"/>
                <a:gd name="connsiteX94" fmla="*/ 2989 w 10000"/>
                <a:gd name="connsiteY94" fmla="*/ 443 h 10000"/>
                <a:gd name="connsiteX95" fmla="*/ 3112 w 10000"/>
                <a:gd name="connsiteY95" fmla="*/ 529 h 10000"/>
                <a:gd name="connsiteX96" fmla="*/ 3234 w 10000"/>
                <a:gd name="connsiteY96" fmla="*/ 657 h 10000"/>
                <a:gd name="connsiteX97" fmla="*/ 3367 w 10000"/>
                <a:gd name="connsiteY97" fmla="*/ 786 h 10000"/>
                <a:gd name="connsiteX98" fmla="*/ 3490 w 10000"/>
                <a:gd name="connsiteY98" fmla="*/ 914 h 10000"/>
                <a:gd name="connsiteX99" fmla="*/ 3726 w 10000"/>
                <a:gd name="connsiteY99" fmla="*/ 1200 h 10000"/>
                <a:gd name="connsiteX100" fmla="*/ 3941 w 10000"/>
                <a:gd name="connsiteY100" fmla="*/ 1543 h 10000"/>
                <a:gd name="connsiteX101" fmla="*/ 4145 w 10000"/>
                <a:gd name="connsiteY101" fmla="*/ 1900 h 10000"/>
                <a:gd name="connsiteX102" fmla="*/ 4340 w 10000"/>
                <a:gd name="connsiteY102" fmla="*/ 2286 h 10000"/>
                <a:gd name="connsiteX103" fmla="*/ 4534 w 10000"/>
                <a:gd name="connsiteY103" fmla="*/ 2686 h 10000"/>
                <a:gd name="connsiteX104" fmla="*/ 4708 w 10000"/>
                <a:gd name="connsiteY104" fmla="*/ 3100 h 10000"/>
                <a:gd name="connsiteX105" fmla="*/ 4893 w 10000"/>
                <a:gd name="connsiteY105" fmla="*/ 3529 h 10000"/>
                <a:gd name="connsiteX106" fmla="*/ 5056 w 10000"/>
                <a:gd name="connsiteY106" fmla="*/ 3971 h 10000"/>
                <a:gd name="connsiteX107" fmla="*/ 5363 w 10000"/>
                <a:gd name="connsiteY107" fmla="*/ 4871 h 10000"/>
                <a:gd name="connsiteX108" fmla="*/ 5967 w 10000"/>
                <a:gd name="connsiteY108" fmla="*/ 6657 h 10000"/>
                <a:gd name="connsiteX109" fmla="*/ 6254 w 10000"/>
                <a:gd name="connsiteY109" fmla="*/ 7486 h 10000"/>
                <a:gd name="connsiteX110" fmla="*/ 6407 w 10000"/>
                <a:gd name="connsiteY110" fmla="*/ 7843 h 10000"/>
                <a:gd name="connsiteX111" fmla="*/ 6551 w 10000"/>
                <a:gd name="connsiteY111" fmla="*/ 8214 h 10000"/>
                <a:gd name="connsiteX112" fmla="*/ 6714 w 10000"/>
                <a:gd name="connsiteY112" fmla="*/ 8543 h 10000"/>
                <a:gd name="connsiteX113" fmla="*/ 6868 w 10000"/>
                <a:gd name="connsiteY113" fmla="*/ 8829 h 10000"/>
                <a:gd name="connsiteX114" fmla="*/ 7021 w 10000"/>
                <a:gd name="connsiteY114" fmla="*/ 9100 h 10000"/>
                <a:gd name="connsiteX115" fmla="*/ 7195 w 10000"/>
                <a:gd name="connsiteY115" fmla="*/ 9300 h 10000"/>
                <a:gd name="connsiteX116" fmla="*/ 7288 w 10000"/>
                <a:gd name="connsiteY116" fmla="*/ 9400 h 10000"/>
                <a:gd name="connsiteX117" fmla="*/ 7369 w 10000"/>
                <a:gd name="connsiteY117" fmla="*/ 9500 h 10000"/>
                <a:gd name="connsiteX118" fmla="*/ 7462 w 10000"/>
                <a:gd name="connsiteY118" fmla="*/ 9557 h 10000"/>
                <a:gd name="connsiteX119" fmla="*/ 7554 w 10000"/>
                <a:gd name="connsiteY119" fmla="*/ 9629 h 10000"/>
                <a:gd name="connsiteX120" fmla="*/ 7646 w 10000"/>
                <a:gd name="connsiteY120" fmla="*/ 9671 h 10000"/>
                <a:gd name="connsiteX121" fmla="*/ 7748 w 10000"/>
                <a:gd name="connsiteY121" fmla="*/ 9700 h 10000"/>
                <a:gd name="connsiteX122" fmla="*/ 7851 w 10000"/>
                <a:gd name="connsiteY122" fmla="*/ 9743 h 10000"/>
                <a:gd name="connsiteX123" fmla="*/ 7943 w 10000"/>
                <a:gd name="connsiteY123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2272 w 10000"/>
                <a:gd name="connsiteY88" fmla="*/ 71 h 10000"/>
                <a:gd name="connsiteX89" fmla="*/ 2426 w 10000"/>
                <a:gd name="connsiteY89" fmla="*/ 114 h 10000"/>
                <a:gd name="connsiteX90" fmla="*/ 2569 w 10000"/>
                <a:gd name="connsiteY90" fmla="*/ 186 h 10000"/>
                <a:gd name="connsiteX91" fmla="*/ 2712 w 10000"/>
                <a:gd name="connsiteY91" fmla="*/ 257 h 10000"/>
                <a:gd name="connsiteX92" fmla="*/ 2845 w 10000"/>
                <a:gd name="connsiteY92" fmla="*/ 343 h 10000"/>
                <a:gd name="connsiteX93" fmla="*/ 2989 w 10000"/>
                <a:gd name="connsiteY93" fmla="*/ 443 h 10000"/>
                <a:gd name="connsiteX94" fmla="*/ 3112 w 10000"/>
                <a:gd name="connsiteY94" fmla="*/ 529 h 10000"/>
                <a:gd name="connsiteX95" fmla="*/ 3234 w 10000"/>
                <a:gd name="connsiteY95" fmla="*/ 657 h 10000"/>
                <a:gd name="connsiteX96" fmla="*/ 3367 w 10000"/>
                <a:gd name="connsiteY96" fmla="*/ 786 h 10000"/>
                <a:gd name="connsiteX97" fmla="*/ 3490 w 10000"/>
                <a:gd name="connsiteY97" fmla="*/ 914 h 10000"/>
                <a:gd name="connsiteX98" fmla="*/ 3726 w 10000"/>
                <a:gd name="connsiteY98" fmla="*/ 1200 h 10000"/>
                <a:gd name="connsiteX99" fmla="*/ 3941 w 10000"/>
                <a:gd name="connsiteY99" fmla="*/ 1543 h 10000"/>
                <a:gd name="connsiteX100" fmla="*/ 4145 w 10000"/>
                <a:gd name="connsiteY100" fmla="*/ 1900 h 10000"/>
                <a:gd name="connsiteX101" fmla="*/ 4340 w 10000"/>
                <a:gd name="connsiteY101" fmla="*/ 2286 h 10000"/>
                <a:gd name="connsiteX102" fmla="*/ 4534 w 10000"/>
                <a:gd name="connsiteY102" fmla="*/ 2686 h 10000"/>
                <a:gd name="connsiteX103" fmla="*/ 4708 w 10000"/>
                <a:gd name="connsiteY103" fmla="*/ 3100 h 10000"/>
                <a:gd name="connsiteX104" fmla="*/ 4893 w 10000"/>
                <a:gd name="connsiteY104" fmla="*/ 3529 h 10000"/>
                <a:gd name="connsiteX105" fmla="*/ 5056 w 10000"/>
                <a:gd name="connsiteY105" fmla="*/ 3971 h 10000"/>
                <a:gd name="connsiteX106" fmla="*/ 5363 w 10000"/>
                <a:gd name="connsiteY106" fmla="*/ 4871 h 10000"/>
                <a:gd name="connsiteX107" fmla="*/ 5967 w 10000"/>
                <a:gd name="connsiteY107" fmla="*/ 6657 h 10000"/>
                <a:gd name="connsiteX108" fmla="*/ 6254 w 10000"/>
                <a:gd name="connsiteY108" fmla="*/ 7486 h 10000"/>
                <a:gd name="connsiteX109" fmla="*/ 6407 w 10000"/>
                <a:gd name="connsiteY109" fmla="*/ 7843 h 10000"/>
                <a:gd name="connsiteX110" fmla="*/ 6551 w 10000"/>
                <a:gd name="connsiteY110" fmla="*/ 8214 h 10000"/>
                <a:gd name="connsiteX111" fmla="*/ 6714 w 10000"/>
                <a:gd name="connsiteY111" fmla="*/ 8543 h 10000"/>
                <a:gd name="connsiteX112" fmla="*/ 6868 w 10000"/>
                <a:gd name="connsiteY112" fmla="*/ 8829 h 10000"/>
                <a:gd name="connsiteX113" fmla="*/ 7021 w 10000"/>
                <a:gd name="connsiteY113" fmla="*/ 9100 h 10000"/>
                <a:gd name="connsiteX114" fmla="*/ 7195 w 10000"/>
                <a:gd name="connsiteY114" fmla="*/ 9300 h 10000"/>
                <a:gd name="connsiteX115" fmla="*/ 7288 w 10000"/>
                <a:gd name="connsiteY115" fmla="*/ 9400 h 10000"/>
                <a:gd name="connsiteX116" fmla="*/ 7369 w 10000"/>
                <a:gd name="connsiteY116" fmla="*/ 9500 h 10000"/>
                <a:gd name="connsiteX117" fmla="*/ 7462 w 10000"/>
                <a:gd name="connsiteY117" fmla="*/ 9557 h 10000"/>
                <a:gd name="connsiteX118" fmla="*/ 7554 w 10000"/>
                <a:gd name="connsiteY118" fmla="*/ 9629 h 10000"/>
                <a:gd name="connsiteX119" fmla="*/ 7646 w 10000"/>
                <a:gd name="connsiteY119" fmla="*/ 9671 h 10000"/>
                <a:gd name="connsiteX120" fmla="*/ 7748 w 10000"/>
                <a:gd name="connsiteY120" fmla="*/ 9700 h 10000"/>
                <a:gd name="connsiteX121" fmla="*/ 7851 w 10000"/>
                <a:gd name="connsiteY121" fmla="*/ 9743 h 10000"/>
                <a:gd name="connsiteX122" fmla="*/ 7943 w 10000"/>
                <a:gd name="connsiteY122" fmla="*/ 9743 h 10000"/>
                <a:gd name="connsiteX0" fmla="*/ 7943 w 10000"/>
                <a:gd name="connsiteY0" fmla="*/ 9714 h 9971"/>
                <a:gd name="connsiteX1" fmla="*/ 7943 w 10000"/>
                <a:gd name="connsiteY1" fmla="*/ 9714 h 9971"/>
                <a:gd name="connsiteX2" fmla="*/ 8076 w 10000"/>
                <a:gd name="connsiteY2" fmla="*/ 9714 h 9971"/>
                <a:gd name="connsiteX3" fmla="*/ 8178 w 10000"/>
                <a:gd name="connsiteY3" fmla="*/ 9671 h 9971"/>
                <a:gd name="connsiteX4" fmla="*/ 8291 w 10000"/>
                <a:gd name="connsiteY4" fmla="*/ 9628 h 9971"/>
                <a:gd name="connsiteX5" fmla="*/ 8403 w 10000"/>
                <a:gd name="connsiteY5" fmla="*/ 9585 h 9971"/>
                <a:gd name="connsiteX6" fmla="*/ 8506 w 10000"/>
                <a:gd name="connsiteY6" fmla="*/ 9500 h 9971"/>
                <a:gd name="connsiteX7" fmla="*/ 8608 w 10000"/>
                <a:gd name="connsiteY7" fmla="*/ 9400 h 9971"/>
                <a:gd name="connsiteX8" fmla="*/ 8700 w 10000"/>
                <a:gd name="connsiteY8" fmla="*/ 9314 h 9971"/>
                <a:gd name="connsiteX9" fmla="*/ 8802 w 10000"/>
                <a:gd name="connsiteY9" fmla="*/ 9185 h 9971"/>
                <a:gd name="connsiteX10" fmla="*/ 8915 w 10000"/>
                <a:gd name="connsiteY10" fmla="*/ 9057 h 9971"/>
                <a:gd name="connsiteX11" fmla="*/ 9007 w 10000"/>
                <a:gd name="connsiteY11" fmla="*/ 8914 h 9971"/>
                <a:gd name="connsiteX12" fmla="*/ 9191 w 10000"/>
                <a:gd name="connsiteY12" fmla="*/ 8585 h 9971"/>
                <a:gd name="connsiteX13" fmla="*/ 9376 w 10000"/>
                <a:gd name="connsiteY13" fmla="*/ 8214 h 9971"/>
                <a:gd name="connsiteX14" fmla="*/ 9539 w 10000"/>
                <a:gd name="connsiteY14" fmla="*/ 7814 h 9971"/>
                <a:gd name="connsiteX15" fmla="*/ 9775 w 10000"/>
                <a:gd name="connsiteY15" fmla="*/ 8257 h 9971"/>
                <a:gd name="connsiteX16" fmla="*/ 10000 w 10000"/>
                <a:gd name="connsiteY16" fmla="*/ 8671 h 9971"/>
                <a:gd name="connsiteX17" fmla="*/ 9785 w 10000"/>
                <a:gd name="connsiteY17" fmla="*/ 8957 h 9971"/>
                <a:gd name="connsiteX18" fmla="*/ 9570 w 10000"/>
                <a:gd name="connsiteY18" fmla="*/ 9214 h 9971"/>
                <a:gd name="connsiteX19" fmla="*/ 9324 w 10000"/>
                <a:gd name="connsiteY19" fmla="*/ 9442 h 9971"/>
                <a:gd name="connsiteX20" fmla="*/ 9212 w 10000"/>
                <a:gd name="connsiteY20" fmla="*/ 9528 h 9971"/>
                <a:gd name="connsiteX21" fmla="*/ 9079 w 10000"/>
                <a:gd name="connsiteY21" fmla="*/ 9628 h 9971"/>
                <a:gd name="connsiteX22" fmla="*/ 8946 w 10000"/>
                <a:gd name="connsiteY22" fmla="*/ 9714 h 9971"/>
                <a:gd name="connsiteX23" fmla="*/ 8823 w 10000"/>
                <a:gd name="connsiteY23" fmla="*/ 9771 h 9971"/>
                <a:gd name="connsiteX24" fmla="*/ 8680 w 10000"/>
                <a:gd name="connsiteY24" fmla="*/ 9842 h 9971"/>
                <a:gd name="connsiteX25" fmla="*/ 8547 w 10000"/>
                <a:gd name="connsiteY25" fmla="*/ 9885 h 9971"/>
                <a:gd name="connsiteX26" fmla="*/ 8403 w 10000"/>
                <a:gd name="connsiteY26" fmla="*/ 9914 h 9971"/>
                <a:gd name="connsiteX27" fmla="*/ 8260 w 10000"/>
                <a:gd name="connsiteY27" fmla="*/ 9942 h 9971"/>
                <a:gd name="connsiteX28" fmla="*/ 8106 w 10000"/>
                <a:gd name="connsiteY28" fmla="*/ 9971 h 9971"/>
                <a:gd name="connsiteX29" fmla="*/ 7943 w 10000"/>
                <a:gd name="connsiteY29" fmla="*/ 9971 h 9971"/>
                <a:gd name="connsiteX30" fmla="*/ 7779 w 10000"/>
                <a:gd name="connsiteY30" fmla="*/ 9971 h 9971"/>
                <a:gd name="connsiteX31" fmla="*/ 7625 w 10000"/>
                <a:gd name="connsiteY31" fmla="*/ 9928 h 9971"/>
                <a:gd name="connsiteX32" fmla="*/ 7462 w 10000"/>
                <a:gd name="connsiteY32" fmla="*/ 9900 h 9971"/>
                <a:gd name="connsiteX33" fmla="*/ 7308 w 10000"/>
                <a:gd name="connsiteY33" fmla="*/ 9857 h 9971"/>
                <a:gd name="connsiteX34" fmla="*/ 7165 w 10000"/>
                <a:gd name="connsiteY34" fmla="*/ 9785 h 9971"/>
                <a:gd name="connsiteX35" fmla="*/ 7021 w 10000"/>
                <a:gd name="connsiteY35" fmla="*/ 9728 h 9971"/>
                <a:gd name="connsiteX36" fmla="*/ 6888 w 10000"/>
                <a:gd name="connsiteY36" fmla="*/ 9628 h 9971"/>
                <a:gd name="connsiteX37" fmla="*/ 6745 w 10000"/>
                <a:gd name="connsiteY37" fmla="*/ 9528 h 9971"/>
                <a:gd name="connsiteX38" fmla="*/ 6622 w 10000"/>
                <a:gd name="connsiteY38" fmla="*/ 9442 h 9971"/>
                <a:gd name="connsiteX39" fmla="*/ 6479 w 10000"/>
                <a:gd name="connsiteY39" fmla="*/ 9314 h 9971"/>
                <a:gd name="connsiteX40" fmla="*/ 6366 w 10000"/>
                <a:gd name="connsiteY40" fmla="*/ 9200 h 9971"/>
                <a:gd name="connsiteX41" fmla="*/ 6244 w 10000"/>
                <a:gd name="connsiteY41" fmla="*/ 9057 h 9971"/>
                <a:gd name="connsiteX42" fmla="*/ 6008 w 10000"/>
                <a:gd name="connsiteY42" fmla="*/ 8757 h 9971"/>
                <a:gd name="connsiteX43" fmla="*/ 5793 w 10000"/>
                <a:gd name="connsiteY43" fmla="*/ 8428 h 9971"/>
                <a:gd name="connsiteX44" fmla="*/ 5589 w 10000"/>
                <a:gd name="connsiteY44" fmla="*/ 8071 h 9971"/>
                <a:gd name="connsiteX45" fmla="*/ 5394 w 10000"/>
                <a:gd name="connsiteY45" fmla="*/ 7685 h 9971"/>
                <a:gd name="connsiteX46" fmla="*/ 5200 w 10000"/>
                <a:gd name="connsiteY46" fmla="*/ 7285 h 9971"/>
                <a:gd name="connsiteX47" fmla="*/ 5026 w 10000"/>
                <a:gd name="connsiteY47" fmla="*/ 6871 h 9971"/>
                <a:gd name="connsiteX48" fmla="*/ 4852 w 10000"/>
                <a:gd name="connsiteY48" fmla="*/ 6442 h 9971"/>
                <a:gd name="connsiteX49" fmla="*/ 4688 w 10000"/>
                <a:gd name="connsiteY49" fmla="*/ 6000 h 9971"/>
                <a:gd name="connsiteX50" fmla="*/ 4371 w 10000"/>
                <a:gd name="connsiteY50" fmla="*/ 5100 h 9971"/>
                <a:gd name="connsiteX51" fmla="*/ 3777 w 10000"/>
                <a:gd name="connsiteY51" fmla="*/ 3328 h 9971"/>
                <a:gd name="connsiteX52" fmla="*/ 3644 w 10000"/>
                <a:gd name="connsiteY52" fmla="*/ 2885 h 9971"/>
                <a:gd name="connsiteX53" fmla="*/ 3490 w 10000"/>
                <a:gd name="connsiteY53" fmla="*/ 2485 h 9971"/>
                <a:gd name="connsiteX54" fmla="*/ 3347 w 10000"/>
                <a:gd name="connsiteY54" fmla="*/ 2128 h 9971"/>
                <a:gd name="connsiteX55" fmla="*/ 3193 w 10000"/>
                <a:gd name="connsiteY55" fmla="*/ 1757 h 9971"/>
                <a:gd name="connsiteX56" fmla="*/ 3040 w 10000"/>
                <a:gd name="connsiteY56" fmla="*/ 1428 h 9971"/>
                <a:gd name="connsiteX57" fmla="*/ 2886 w 10000"/>
                <a:gd name="connsiteY57" fmla="*/ 1142 h 9971"/>
                <a:gd name="connsiteX58" fmla="*/ 2723 w 10000"/>
                <a:gd name="connsiteY58" fmla="*/ 871 h 9971"/>
                <a:gd name="connsiteX59" fmla="*/ 2559 w 10000"/>
                <a:gd name="connsiteY59" fmla="*/ 671 h 9971"/>
                <a:gd name="connsiteX60" fmla="*/ 2467 w 10000"/>
                <a:gd name="connsiteY60" fmla="*/ 571 h 9971"/>
                <a:gd name="connsiteX61" fmla="*/ 2375 w 10000"/>
                <a:gd name="connsiteY61" fmla="*/ 471 h 9971"/>
                <a:gd name="connsiteX62" fmla="*/ 2282 w 10000"/>
                <a:gd name="connsiteY62" fmla="*/ 414 h 9971"/>
                <a:gd name="connsiteX63" fmla="*/ 2190 w 10000"/>
                <a:gd name="connsiteY63" fmla="*/ 342 h 9971"/>
                <a:gd name="connsiteX64" fmla="*/ 1791 w 10000"/>
                <a:gd name="connsiteY64" fmla="*/ 228 h 9971"/>
                <a:gd name="connsiteX65" fmla="*/ 1668 w 10000"/>
                <a:gd name="connsiteY65" fmla="*/ 242 h 9971"/>
                <a:gd name="connsiteX66" fmla="*/ 1525 w 10000"/>
                <a:gd name="connsiteY66" fmla="*/ 285 h 9971"/>
                <a:gd name="connsiteX67" fmla="*/ 1402 w 10000"/>
                <a:gd name="connsiteY67" fmla="*/ 328 h 9971"/>
                <a:gd name="connsiteX68" fmla="*/ 1279 w 10000"/>
                <a:gd name="connsiteY68" fmla="*/ 414 h 9971"/>
                <a:gd name="connsiteX69" fmla="*/ 1157 w 10000"/>
                <a:gd name="connsiteY69" fmla="*/ 500 h 9971"/>
                <a:gd name="connsiteX70" fmla="*/ 1044 w 10000"/>
                <a:gd name="connsiteY70" fmla="*/ 614 h 9971"/>
                <a:gd name="connsiteX71" fmla="*/ 931 w 10000"/>
                <a:gd name="connsiteY71" fmla="*/ 757 h 9971"/>
                <a:gd name="connsiteX72" fmla="*/ 809 w 10000"/>
                <a:gd name="connsiteY72" fmla="*/ 900 h 9971"/>
                <a:gd name="connsiteX73" fmla="*/ 706 w 10000"/>
                <a:gd name="connsiteY73" fmla="*/ 1085 h 9971"/>
                <a:gd name="connsiteX74" fmla="*/ 604 w 10000"/>
                <a:gd name="connsiteY74" fmla="*/ 1257 h 9971"/>
                <a:gd name="connsiteX75" fmla="*/ 491 w 10000"/>
                <a:gd name="connsiteY75" fmla="*/ 1457 h 9971"/>
                <a:gd name="connsiteX76" fmla="*/ 399 w 10000"/>
                <a:gd name="connsiteY76" fmla="*/ 1657 h 9971"/>
                <a:gd name="connsiteX77" fmla="*/ 194 w 10000"/>
                <a:gd name="connsiteY77" fmla="*/ 2128 h 9971"/>
                <a:gd name="connsiteX78" fmla="*/ 0 w 10000"/>
                <a:gd name="connsiteY78" fmla="*/ 2614 h 9971"/>
                <a:gd name="connsiteX79" fmla="*/ 10 w 10000"/>
                <a:gd name="connsiteY79" fmla="*/ 942 h 9971"/>
                <a:gd name="connsiteX80" fmla="*/ 205 w 10000"/>
                <a:gd name="connsiteY80" fmla="*/ 728 h 9971"/>
                <a:gd name="connsiteX81" fmla="*/ 399 w 10000"/>
                <a:gd name="connsiteY81" fmla="*/ 542 h 9971"/>
                <a:gd name="connsiteX82" fmla="*/ 604 w 10000"/>
                <a:gd name="connsiteY82" fmla="*/ 357 h 9971"/>
                <a:gd name="connsiteX83" fmla="*/ 819 w 10000"/>
                <a:gd name="connsiteY83" fmla="*/ 228 h 9971"/>
                <a:gd name="connsiteX84" fmla="*/ 1054 w 10000"/>
                <a:gd name="connsiteY84" fmla="*/ 128 h 9971"/>
                <a:gd name="connsiteX85" fmla="*/ 1300 w 10000"/>
                <a:gd name="connsiteY85" fmla="*/ 42 h 9971"/>
                <a:gd name="connsiteX86" fmla="*/ 1535 w 10000"/>
                <a:gd name="connsiteY86" fmla="*/ 0 h 9971"/>
                <a:gd name="connsiteX87" fmla="*/ 2272 w 10000"/>
                <a:gd name="connsiteY87" fmla="*/ 42 h 9971"/>
                <a:gd name="connsiteX88" fmla="*/ 2426 w 10000"/>
                <a:gd name="connsiteY88" fmla="*/ 85 h 9971"/>
                <a:gd name="connsiteX89" fmla="*/ 2569 w 10000"/>
                <a:gd name="connsiteY89" fmla="*/ 157 h 9971"/>
                <a:gd name="connsiteX90" fmla="*/ 2712 w 10000"/>
                <a:gd name="connsiteY90" fmla="*/ 228 h 9971"/>
                <a:gd name="connsiteX91" fmla="*/ 2845 w 10000"/>
                <a:gd name="connsiteY91" fmla="*/ 314 h 9971"/>
                <a:gd name="connsiteX92" fmla="*/ 2989 w 10000"/>
                <a:gd name="connsiteY92" fmla="*/ 414 h 9971"/>
                <a:gd name="connsiteX93" fmla="*/ 3112 w 10000"/>
                <a:gd name="connsiteY93" fmla="*/ 500 h 9971"/>
                <a:gd name="connsiteX94" fmla="*/ 3234 w 10000"/>
                <a:gd name="connsiteY94" fmla="*/ 628 h 9971"/>
                <a:gd name="connsiteX95" fmla="*/ 3367 w 10000"/>
                <a:gd name="connsiteY95" fmla="*/ 757 h 9971"/>
                <a:gd name="connsiteX96" fmla="*/ 3490 w 10000"/>
                <a:gd name="connsiteY96" fmla="*/ 885 h 9971"/>
                <a:gd name="connsiteX97" fmla="*/ 3726 w 10000"/>
                <a:gd name="connsiteY97" fmla="*/ 1171 h 9971"/>
                <a:gd name="connsiteX98" fmla="*/ 3941 w 10000"/>
                <a:gd name="connsiteY98" fmla="*/ 1514 h 9971"/>
                <a:gd name="connsiteX99" fmla="*/ 4145 w 10000"/>
                <a:gd name="connsiteY99" fmla="*/ 1871 h 9971"/>
                <a:gd name="connsiteX100" fmla="*/ 4340 w 10000"/>
                <a:gd name="connsiteY100" fmla="*/ 2257 h 9971"/>
                <a:gd name="connsiteX101" fmla="*/ 4534 w 10000"/>
                <a:gd name="connsiteY101" fmla="*/ 2657 h 9971"/>
                <a:gd name="connsiteX102" fmla="*/ 4708 w 10000"/>
                <a:gd name="connsiteY102" fmla="*/ 3071 h 9971"/>
                <a:gd name="connsiteX103" fmla="*/ 4893 w 10000"/>
                <a:gd name="connsiteY103" fmla="*/ 3500 h 9971"/>
                <a:gd name="connsiteX104" fmla="*/ 5056 w 10000"/>
                <a:gd name="connsiteY104" fmla="*/ 3942 h 9971"/>
                <a:gd name="connsiteX105" fmla="*/ 5363 w 10000"/>
                <a:gd name="connsiteY105" fmla="*/ 4842 h 9971"/>
                <a:gd name="connsiteX106" fmla="*/ 5967 w 10000"/>
                <a:gd name="connsiteY106" fmla="*/ 6628 h 9971"/>
                <a:gd name="connsiteX107" fmla="*/ 6254 w 10000"/>
                <a:gd name="connsiteY107" fmla="*/ 7457 h 9971"/>
                <a:gd name="connsiteX108" fmla="*/ 6407 w 10000"/>
                <a:gd name="connsiteY108" fmla="*/ 7814 h 9971"/>
                <a:gd name="connsiteX109" fmla="*/ 6551 w 10000"/>
                <a:gd name="connsiteY109" fmla="*/ 8185 h 9971"/>
                <a:gd name="connsiteX110" fmla="*/ 6714 w 10000"/>
                <a:gd name="connsiteY110" fmla="*/ 8514 h 9971"/>
                <a:gd name="connsiteX111" fmla="*/ 6868 w 10000"/>
                <a:gd name="connsiteY111" fmla="*/ 8800 h 9971"/>
                <a:gd name="connsiteX112" fmla="*/ 7021 w 10000"/>
                <a:gd name="connsiteY112" fmla="*/ 9071 h 9971"/>
                <a:gd name="connsiteX113" fmla="*/ 7195 w 10000"/>
                <a:gd name="connsiteY113" fmla="*/ 9271 h 9971"/>
                <a:gd name="connsiteX114" fmla="*/ 7288 w 10000"/>
                <a:gd name="connsiteY114" fmla="*/ 9371 h 9971"/>
                <a:gd name="connsiteX115" fmla="*/ 7369 w 10000"/>
                <a:gd name="connsiteY115" fmla="*/ 9471 h 9971"/>
                <a:gd name="connsiteX116" fmla="*/ 7462 w 10000"/>
                <a:gd name="connsiteY116" fmla="*/ 9528 h 9971"/>
                <a:gd name="connsiteX117" fmla="*/ 7554 w 10000"/>
                <a:gd name="connsiteY117" fmla="*/ 9600 h 9971"/>
                <a:gd name="connsiteX118" fmla="*/ 7646 w 10000"/>
                <a:gd name="connsiteY118" fmla="*/ 9642 h 9971"/>
                <a:gd name="connsiteX119" fmla="*/ 7748 w 10000"/>
                <a:gd name="connsiteY119" fmla="*/ 9671 h 9971"/>
                <a:gd name="connsiteX120" fmla="*/ 7851 w 10000"/>
                <a:gd name="connsiteY120" fmla="*/ 9714 h 9971"/>
                <a:gd name="connsiteX121" fmla="*/ 7943 w 10000"/>
                <a:gd name="connsiteY121" fmla="*/ 9714 h 9971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525 w 10000"/>
                <a:gd name="connsiteY65" fmla="*/ 286 h 10000"/>
                <a:gd name="connsiteX66" fmla="*/ 1402 w 10000"/>
                <a:gd name="connsiteY66" fmla="*/ 329 h 10000"/>
                <a:gd name="connsiteX67" fmla="*/ 1279 w 10000"/>
                <a:gd name="connsiteY67" fmla="*/ 415 h 10000"/>
                <a:gd name="connsiteX68" fmla="*/ 1157 w 10000"/>
                <a:gd name="connsiteY68" fmla="*/ 501 h 10000"/>
                <a:gd name="connsiteX69" fmla="*/ 1044 w 10000"/>
                <a:gd name="connsiteY69" fmla="*/ 616 h 10000"/>
                <a:gd name="connsiteX70" fmla="*/ 931 w 10000"/>
                <a:gd name="connsiteY70" fmla="*/ 759 h 10000"/>
                <a:gd name="connsiteX71" fmla="*/ 809 w 10000"/>
                <a:gd name="connsiteY71" fmla="*/ 903 h 10000"/>
                <a:gd name="connsiteX72" fmla="*/ 706 w 10000"/>
                <a:gd name="connsiteY72" fmla="*/ 1088 h 10000"/>
                <a:gd name="connsiteX73" fmla="*/ 604 w 10000"/>
                <a:gd name="connsiteY73" fmla="*/ 1261 h 10000"/>
                <a:gd name="connsiteX74" fmla="*/ 491 w 10000"/>
                <a:gd name="connsiteY74" fmla="*/ 1461 h 10000"/>
                <a:gd name="connsiteX75" fmla="*/ 399 w 10000"/>
                <a:gd name="connsiteY75" fmla="*/ 1662 h 10000"/>
                <a:gd name="connsiteX76" fmla="*/ 194 w 10000"/>
                <a:gd name="connsiteY76" fmla="*/ 2134 h 10000"/>
                <a:gd name="connsiteX77" fmla="*/ 0 w 10000"/>
                <a:gd name="connsiteY77" fmla="*/ 2622 h 10000"/>
                <a:gd name="connsiteX78" fmla="*/ 10 w 10000"/>
                <a:gd name="connsiteY78" fmla="*/ 945 h 10000"/>
                <a:gd name="connsiteX79" fmla="*/ 205 w 10000"/>
                <a:gd name="connsiteY79" fmla="*/ 730 h 10000"/>
                <a:gd name="connsiteX80" fmla="*/ 399 w 10000"/>
                <a:gd name="connsiteY80" fmla="*/ 544 h 10000"/>
                <a:gd name="connsiteX81" fmla="*/ 604 w 10000"/>
                <a:gd name="connsiteY81" fmla="*/ 358 h 10000"/>
                <a:gd name="connsiteX82" fmla="*/ 819 w 10000"/>
                <a:gd name="connsiteY82" fmla="*/ 229 h 10000"/>
                <a:gd name="connsiteX83" fmla="*/ 1054 w 10000"/>
                <a:gd name="connsiteY83" fmla="*/ 128 h 10000"/>
                <a:gd name="connsiteX84" fmla="*/ 1300 w 10000"/>
                <a:gd name="connsiteY84" fmla="*/ 42 h 10000"/>
                <a:gd name="connsiteX85" fmla="*/ 1535 w 10000"/>
                <a:gd name="connsiteY85" fmla="*/ 0 h 10000"/>
                <a:gd name="connsiteX86" fmla="*/ 2272 w 10000"/>
                <a:gd name="connsiteY86" fmla="*/ 42 h 10000"/>
                <a:gd name="connsiteX87" fmla="*/ 2426 w 10000"/>
                <a:gd name="connsiteY87" fmla="*/ 85 h 10000"/>
                <a:gd name="connsiteX88" fmla="*/ 2569 w 10000"/>
                <a:gd name="connsiteY88" fmla="*/ 157 h 10000"/>
                <a:gd name="connsiteX89" fmla="*/ 2712 w 10000"/>
                <a:gd name="connsiteY89" fmla="*/ 229 h 10000"/>
                <a:gd name="connsiteX90" fmla="*/ 2845 w 10000"/>
                <a:gd name="connsiteY90" fmla="*/ 315 h 10000"/>
                <a:gd name="connsiteX91" fmla="*/ 2989 w 10000"/>
                <a:gd name="connsiteY91" fmla="*/ 415 h 10000"/>
                <a:gd name="connsiteX92" fmla="*/ 3112 w 10000"/>
                <a:gd name="connsiteY92" fmla="*/ 501 h 10000"/>
                <a:gd name="connsiteX93" fmla="*/ 3234 w 10000"/>
                <a:gd name="connsiteY93" fmla="*/ 630 h 10000"/>
                <a:gd name="connsiteX94" fmla="*/ 3367 w 10000"/>
                <a:gd name="connsiteY94" fmla="*/ 759 h 10000"/>
                <a:gd name="connsiteX95" fmla="*/ 3490 w 10000"/>
                <a:gd name="connsiteY95" fmla="*/ 888 h 10000"/>
                <a:gd name="connsiteX96" fmla="*/ 3726 w 10000"/>
                <a:gd name="connsiteY96" fmla="*/ 1174 h 10000"/>
                <a:gd name="connsiteX97" fmla="*/ 3941 w 10000"/>
                <a:gd name="connsiteY97" fmla="*/ 1518 h 10000"/>
                <a:gd name="connsiteX98" fmla="*/ 4145 w 10000"/>
                <a:gd name="connsiteY98" fmla="*/ 1876 h 10000"/>
                <a:gd name="connsiteX99" fmla="*/ 4340 w 10000"/>
                <a:gd name="connsiteY99" fmla="*/ 2264 h 10000"/>
                <a:gd name="connsiteX100" fmla="*/ 4534 w 10000"/>
                <a:gd name="connsiteY100" fmla="*/ 2665 h 10000"/>
                <a:gd name="connsiteX101" fmla="*/ 4708 w 10000"/>
                <a:gd name="connsiteY101" fmla="*/ 3080 h 10000"/>
                <a:gd name="connsiteX102" fmla="*/ 4893 w 10000"/>
                <a:gd name="connsiteY102" fmla="*/ 3510 h 10000"/>
                <a:gd name="connsiteX103" fmla="*/ 5056 w 10000"/>
                <a:gd name="connsiteY103" fmla="*/ 3953 h 10000"/>
                <a:gd name="connsiteX104" fmla="*/ 5363 w 10000"/>
                <a:gd name="connsiteY104" fmla="*/ 4856 h 10000"/>
                <a:gd name="connsiteX105" fmla="*/ 5967 w 10000"/>
                <a:gd name="connsiteY105" fmla="*/ 6647 h 10000"/>
                <a:gd name="connsiteX106" fmla="*/ 6254 w 10000"/>
                <a:gd name="connsiteY106" fmla="*/ 7479 h 10000"/>
                <a:gd name="connsiteX107" fmla="*/ 6407 w 10000"/>
                <a:gd name="connsiteY107" fmla="*/ 7837 h 10000"/>
                <a:gd name="connsiteX108" fmla="*/ 6551 w 10000"/>
                <a:gd name="connsiteY108" fmla="*/ 8209 h 10000"/>
                <a:gd name="connsiteX109" fmla="*/ 6714 w 10000"/>
                <a:gd name="connsiteY109" fmla="*/ 8539 h 10000"/>
                <a:gd name="connsiteX110" fmla="*/ 6868 w 10000"/>
                <a:gd name="connsiteY110" fmla="*/ 8826 h 10000"/>
                <a:gd name="connsiteX111" fmla="*/ 7021 w 10000"/>
                <a:gd name="connsiteY111" fmla="*/ 9097 h 10000"/>
                <a:gd name="connsiteX112" fmla="*/ 7195 w 10000"/>
                <a:gd name="connsiteY112" fmla="*/ 9298 h 10000"/>
                <a:gd name="connsiteX113" fmla="*/ 7288 w 10000"/>
                <a:gd name="connsiteY113" fmla="*/ 9398 h 10000"/>
                <a:gd name="connsiteX114" fmla="*/ 7369 w 10000"/>
                <a:gd name="connsiteY114" fmla="*/ 9499 h 10000"/>
                <a:gd name="connsiteX115" fmla="*/ 7462 w 10000"/>
                <a:gd name="connsiteY115" fmla="*/ 9556 h 10000"/>
                <a:gd name="connsiteX116" fmla="*/ 7554 w 10000"/>
                <a:gd name="connsiteY116" fmla="*/ 9628 h 10000"/>
                <a:gd name="connsiteX117" fmla="*/ 7646 w 10000"/>
                <a:gd name="connsiteY117" fmla="*/ 9670 h 10000"/>
                <a:gd name="connsiteX118" fmla="*/ 7748 w 10000"/>
                <a:gd name="connsiteY118" fmla="*/ 9699 h 10000"/>
                <a:gd name="connsiteX119" fmla="*/ 7851 w 10000"/>
                <a:gd name="connsiteY119" fmla="*/ 9742 h 10000"/>
                <a:gd name="connsiteX120" fmla="*/ 7943 w 10000"/>
                <a:gd name="connsiteY120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402 w 10000"/>
                <a:gd name="connsiteY65" fmla="*/ 329 h 10000"/>
                <a:gd name="connsiteX66" fmla="*/ 1279 w 10000"/>
                <a:gd name="connsiteY66" fmla="*/ 415 h 10000"/>
                <a:gd name="connsiteX67" fmla="*/ 1157 w 10000"/>
                <a:gd name="connsiteY67" fmla="*/ 501 h 10000"/>
                <a:gd name="connsiteX68" fmla="*/ 1044 w 10000"/>
                <a:gd name="connsiteY68" fmla="*/ 616 h 10000"/>
                <a:gd name="connsiteX69" fmla="*/ 931 w 10000"/>
                <a:gd name="connsiteY69" fmla="*/ 759 h 10000"/>
                <a:gd name="connsiteX70" fmla="*/ 809 w 10000"/>
                <a:gd name="connsiteY70" fmla="*/ 903 h 10000"/>
                <a:gd name="connsiteX71" fmla="*/ 706 w 10000"/>
                <a:gd name="connsiteY71" fmla="*/ 1088 h 10000"/>
                <a:gd name="connsiteX72" fmla="*/ 604 w 10000"/>
                <a:gd name="connsiteY72" fmla="*/ 1261 h 10000"/>
                <a:gd name="connsiteX73" fmla="*/ 491 w 10000"/>
                <a:gd name="connsiteY73" fmla="*/ 1461 h 10000"/>
                <a:gd name="connsiteX74" fmla="*/ 399 w 10000"/>
                <a:gd name="connsiteY74" fmla="*/ 1662 h 10000"/>
                <a:gd name="connsiteX75" fmla="*/ 194 w 10000"/>
                <a:gd name="connsiteY75" fmla="*/ 2134 h 10000"/>
                <a:gd name="connsiteX76" fmla="*/ 0 w 10000"/>
                <a:gd name="connsiteY76" fmla="*/ 2622 h 10000"/>
                <a:gd name="connsiteX77" fmla="*/ 10 w 10000"/>
                <a:gd name="connsiteY77" fmla="*/ 945 h 10000"/>
                <a:gd name="connsiteX78" fmla="*/ 205 w 10000"/>
                <a:gd name="connsiteY78" fmla="*/ 730 h 10000"/>
                <a:gd name="connsiteX79" fmla="*/ 399 w 10000"/>
                <a:gd name="connsiteY79" fmla="*/ 544 h 10000"/>
                <a:gd name="connsiteX80" fmla="*/ 604 w 10000"/>
                <a:gd name="connsiteY80" fmla="*/ 358 h 10000"/>
                <a:gd name="connsiteX81" fmla="*/ 819 w 10000"/>
                <a:gd name="connsiteY81" fmla="*/ 229 h 10000"/>
                <a:gd name="connsiteX82" fmla="*/ 1054 w 10000"/>
                <a:gd name="connsiteY82" fmla="*/ 128 h 10000"/>
                <a:gd name="connsiteX83" fmla="*/ 1300 w 10000"/>
                <a:gd name="connsiteY83" fmla="*/ 42 h 10000"/>
                <a:gd name="connsiteX84" fmla="*/ 1535 w 10000"/>
                <a:gd name="connsiteY84" fmla="*/ 0 h 10000"/>
                <a:gd name="connsiteX85" fmla="*/ 2272 w 10000"/>
                <a:gd name="connsiteY85" fmla="*/ 42 h 10000"/>
                <a:gd name="connsiteX86" fmla="*/ 2426 w 10000"/>
                <a:gd name="connsiteY86" fmla="*/ 85 h 10000"/>
                <a:gd name="connsiteX87" fmla="*/ 2569 w 10000"/>
                <a:gd name="connsiteY87" fmla="*/ 157 h 10000"/>
                <a:gd name="connsiteX88" fmla="*/ 2712 w 10000"/>
                <a:gd name="connsiteY88" fmla="*/ 229 h 10000"/>
                <a:gd name="connsiteX89" fmla="*/ 2845 w 10000"/>
                <a:gd name="connsiteY89" fmla="*/ 315 h 10000"/>
                <a:gd name="connsiteX90" fmla="*/ 2989 w 10000"/>
                <a:gd name="connsiteY90" fmla="*/ 415 h 10000"/>
                <a:gd name="connsiteX91" fmla="*/ 3112 w 10000"/>
                <a:gd name="connsiteY91" fmla="*/ 501 h 10000"/>
                <a:gd name="connsiteX92" fmla="*/ 3234 w 10000"/>
                <a:gd name="connsiteY92" fmla="*/ 630 h 10000"/>
                <a:gd name="connsiteX93" fmla="*/ 3367 w 10000"/>
                <a:gd name="connsiteY93" fmla="*/ 759 h 10000"/>
                <a:gd name="connsiteX94" fmla="*/ 3490 w 10000"/>
                <a:gd name="connsiteY94" fmla="*/ 888 h 10000"/>
                <a:gd name="connsiteX95" fmla="*/ 3726 w 10000"/>
                <a:gd name="connsiteY95" fmla="*/ 1174 h 10000"/>
                <a:gd name="connsiteX96" fmla="*/ 3941 w 10000"/>
                <a:gd name="connsiteY96" fmla="*/ 1518 h 10000"/>
                <a:gd name="connsiteX97" fmla="*/ 4145 w 10000"/>
                <a:gd name="connsiteY97" fmla="*/ 1876 h 10000"/>
                <a:gd name="connsiteX98" fmla="*/ 4340 w 10000"/>
                <a:gd name="connsiteY98" fmla="*/ 2264 h 10000"/>
                <a:gd name="connsiteX99" fmla="*/ 4534 w 10000"/>
                <a:gd name="connsiteY99" fmla="*/ 2665 h 10000"/>
                <a:gd name="connsiteX100" fmla="*/ 4708 w 10000"/>
                <a:gd name="connsiteY100" fmla="*/ 3080 h 10000"/>
                <a:gd name="connsiteX101" fmla="*/ 4893 w 10000"/>
                <a:gd name="connsiteY101" fmla="*/ 3510 h 10000"/>
                <a:gd name="connsiteX102" fmla="*/ 5056 w 10000"/>
                <a:gd name="connsiteY102" fmla="*/ 3953 h 10000"/>
                <a:gd name="connsiteX103" fmla="*/ 5363 w 10000"/>
                <a:gd name="connsiteY103" fmla="*/ 4856 h 10000"/>
                <a:gd name="connsiteX104" fmla="*/ 5967 w 10000"/>
                <a:gd name="connsiteY104" fmla="*/ 6647 h 10000"/>
                <a:gd name="connsiteX105" fmla="*/ 6254 w 10000"/>
                <a:gd name="connsiteY105" fmla="*/ 7479 h 10000"/>
                <a:gd name="connsiteX106" fmla="*/ 6407 w 10000"/>
                <a:gd name="connsiteY106" fmla="*/ 7837 h 10000"/>
                <a:gd name="connsiteX107" fmla="*/ 6551 w 10000"/>
                <a:gd name="connsiteY107" fmla="*/ 8209 h 10000"/>
                <a:gd name="connsiteX108" fmla="*/ 6714 w 10000"/>
                <a:gd name="connsiteY108" fmla="*/ 8539 h 10000"/>
                <a:gd name="connsiteX109" fmla="*/ 6868 w 10000"/>
                <a:gd name="connsiteY109" fmla="*/ 8826 h 10000"/>
                <a:gd name="connsiteX110" fmla="*/ 7021 w 10000"/>
                <a:gd name="connsiteY110" fmla="*/ 9097 h 10000"/>
                <a:gd name="connsiteX111" fmla="*/ 7195 w 10000"/>
                <a:gd name="connsiteY111" fmla="*/ 9298 h 10000"/>
                <a:gd name="connsiteX112" fmla="*/ 7288 w 10000"/>
                <a:gd name="connsiteY112" fmla="*/ 9398 h 10000"/>
                <a:gd name="connsiteX113" fmla="*/ 7369 w 10000"/>
                <a:gd name="connsiteY113" fmla="*/ 9499 h 10000"/>
                <a:gd name="connsiteX114" fmla="*/ 7462 w 10000"/>
                <a:gd name="connsiteY114" fmla="*/ 9556 h 10000"/>
                <a:gd name="connsiteX115" fmla="*/ 7554 w 10000"/>
                <a:gd name="connsiteY115" fmla="*/ 9628 h 10000"/>
                <a:gd name="connsiteX116" fmla="*/ 7646 w 10000"/>
                <a:gd name="connsiteY116" fmla="*/ 9670 h 10000"/>
                <a:gd name="connsiteX117" fmla="*/ 7748 w 10000"/>
                <a:gd name="connsiteY117" fmla="*/ 9699 h 10000"/>
                <a:gd name="connsiteX118" fmla="*/ 7851 w 10000"/>
                <a:gd name="connsiteY118" fmla="*/ 9742 h 10000"/>
                <a:gd name="connsiteX119" fmla="*/ 7943 w 10000"/>
                <a:gd name="connsiteY119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402 w 10000"/>
                <a:gd name="connsiteY64" fmla="*/ 329 h 10000"/>
                <a:gd name="connsiteX65" fmla="*/ 1279 w 10000"/>
                <a:gd name="connsiteY65" fmla="*/ 415 h 10000"/>
                <a:gd name="connsiteX66" fmla="*/ 1157 w 10000"/>
                <a:gd name="connsiteY66" fmla="*/ 501 h 10000"/>
                <a:gd name="connsiteX67" fmla="*/ 1044 w 10000"/>
                <a:gd name="connsiteY67" fmla="*/ 616 h 10000"/>
                <a:gd name="connsiteX68" fmla="*/ 931 w 10000"/>
                <a:gd name="connsiteY68" fmla="*/ 759 h 10000"/>
                <a:gd name="connsiteX69" fmla="*/ 809 w 10000"/>
                <a:gd name="connsiteY69" fmla="*/ 903 h 10000"/>
                <a:gd name="connsiteX70" fmla="*/ 706 w 10000"/>
                <a:gd name="connsiteY70" fmla="*/ 1088 h 10000"/>
                <a:gd name="connsiteX71" fmla="*/ 604 w 10000"/>
                <a:gd name="connsiteY71" fmla="*/ 1261 h 10000"/>
                <a:gd name="connsiteX72" fmla="*/ 491 w 10000"/>
                <a:gd name="connsiteY72" fmla="*/ 1461 h 10000"/>
                <a:gd name="connsiteX73" fmla="*/ 399 w 10000"/>
                <a:gd name="connsiteY73" fmla="*/ 1662 h 10000"/>
                <a:gd name="connsiteX74" fmla="*/ 194 w 10000"/>
                <a:gd name="connsiteY74" fmla="*/ 2134 h 10000"/>
                <a:gd name="connsiteX75" fmla="*/ 0 w 10000"/>
                <a:gd name="connsiteY75" fmla="*/ 2622 h 10000"/>
                <a:gd name="connsiteX76" fmla="*/ 10 w 10000"/>
                <a:gd name="connsiteY76" fmla="*/ 945 h 10000"/>
                <a:gd name="connsiteX77" fmla="*/ 205 w 10000"/>
                <a:gd name="connsiteY77" fmla="*/ 730 h 10000"/>
                <a:gd name="connsiteX78" fmla="*/ 399 w 10000"/>
                <a:gd name="connsiteY78" fmla="*/ 544 h 10000"/>
                <a:gd name="connsiteX79" fmla="*/ 604 w 10000"/>
                <a:gd name="connsiteY79" fmla="*/ 358 h 10000"/>
                <a:gd name="connsiteX80" fmla="*/ 819 w 10000"/>
                <a:gd name="connsiteY80" fmla="*/ 229 h 10000"/>
                <a:gd name="connsiteX81" fmla="*/ 1054 w 10000"/>
                <a:gd name="connsiteY81" fmla="*/ 128 h 10000"/>
                <a:gd name="connsiteX82" fmla="*/ 1300 w 10000"/>
                <a:gd name="connsiteY82" fmla="*/ 42 h 10000"/>
                <a:gd name="connsiteX83" fmla="*/ 1535 w 10000"/>
                <a:gd name="connsiteY83" fmla="*/ 0 h 10000"/>
                <a:gd name="connsiteX84" fmla="*/ 2272 w 10000"/>
                <a:gd name="connsiteY84" fmla="*/ 42 h 10000"/>
                <a:gd name="connsiteX85" fmla="*/ 2426 w 10000"/>
                <a:gd name="connsiteY85" fmla="*/ 85 h 10000"/>
                <a:gd name="connsiteX86" fmla="*/ 2569 w 10000"/>
                <a:gd name="connsiteY86" fmla="*/ 157 h 10000"/>
                <a:gd name="connsiteX87" fmla="*/ 2712 w 10000"/>
                <a:gd name="connsiteY87" fmla="*/ 229 h 10000"/>
                <a:gd name="connsiteX88" fmla="*/ 2845 w 10000"/>
                <a:gd name="connsiteY88" fmla="*/ 315 h 10000"/>
                <a:gd name="connsiteX89" fmla="*/ 2989 w 10000"/>
                <a:gd name="connsiteY89" fmla="*/ 415 h 10000"/>
                <a:gd name="connsiteX90" fmla="*/ 3112 w 10000"/>
                <a:gd name="connsiteY90" fmla="*/ 501 h 10000"/>
                <a:gd name="connsiteX91" fmla="*/ 3234 w 10000"/>
                <a:gd name="connsiteY91" fmla="*/ 630 h 10000"/>
                <a:gd name="connsiteX92" fmla="*/ 3367 w 10000"/>
                <a:gd name="connsiteY92" fmla="*/ 759 h 10000"/>
                <a:gd name="connsiteX93" fmla="*/ 3490 w 10000"/>
                <a:gd name="connsiteY93" fmla="*/ 888 h 10000"/>
                <a:gd name="connsiteX94" fmla="*/ 3726 w 10000"/>
                <a:gd name="connsiteY94" fmla="*/ 1174 h 10000"/>
                <a:gd name="connsiteX95" fmla="*/ 3941 w 10000"/>
                <a:gd name="connsiteY95" fmla="*/ 1518 h 10000"/>
                <a:gd name="connsiteX96" fmla="*/ 4145 w 10000"/>
                <a:gd name="connsiteY96" fmla="*/ 1876 h 10000"/>
                <a:gd name="connsiteX97" fmla="*/ 4340 w 10000"/>
                <a:gd name="connsiteY97" fmla="*/ 2264 h 10000"/>
                <a:gd name="connsiteX98" fmla="*/ 4534 w 10000"/>
                <a:gd name="connsiteY98" fmla="*/ 2665 h 10000"/>
                <a:gd name="connsiteX99" fmla="*/ 4708 w 10000"/>
                <a:gd name="connsiteY99" fmla="*/ 3080 h 10000"/>
                <a:gd name="connsiteX100" fmla="*/ 4893 w 10000"/>
                <a:gd name="connsiteY100" fmla="*/ 3510 h 10000"/>
                <a:gd name="connsiteX101" fmla="*/ 5056 w 10000"/>
                <a:gd name="connsiteY101" fmla="*/ 3953 h 10000"/>
                <a:gd name="connsiteX102" fmla="*/ 5363 w 10000"/>
                <a:gd name="connsiteY102" fmla="*/ 4856 h 10000"/>
                <a:gd name="connsiteX103" fmla="*/ 5967 w 10000"/>
                <a:gd name="connsiteY103" fmla="*/ 6647 h 10000"/>
                <a:gd name="connsiteX104" fmla="*/ 6254 w 10000"/>
                <a:gd name="connsiteY104" fmla="*/ 7479 h 10000"/>
                <a:gd name="connsiteX105" fmla="*/ 6407 w 10000"/>
                <a:gd name="connsiteY105" fmla="*/ 7837 h 10000"/>
                <a:gd name="connsiteX106" fmla="*/ 6551 w 10000"/>
                <a:gd name="connsiteY106" fmla="*/ 8209 h 10000"/>
                <a:gd name="connsiteX107" fmla="*/ 6714 w 10000"/>
                <a:gd name="connsiteY107" fmla="*/ 8539 h 10000"/>
                <a:gd name="connsiteX108" fmla="*/ 6868 w 10000"/>
                <a:gd name="connsiteY108" fmla="*/ 8826 h 10000"/>
                <a:gd name="connsiteX109" fmla="*/ 7021 w 10000"/>
                <a:gd name="connsiteY109" fmla="*/ 9097 h 10000"/>
                <a:gd name="connsiteX110" fmla="*/ 7195 w 10000"/>
                <a:gd name="connsiteY110" fmla="*/ 9298 h 10000"/>
                <a:gd name="connsiteX111" fmla="*/ 7288 w 10000"/>
                <a:gd name="connsiteY111" fmla="*/ 9398 h 10000"/>
                <a:gd name="connsiteX112" fmla="*/ 7369 w 10000"/>
                <a:gd name="connsiteY112" fmla="*/ 9499 h 10000"/>
                <a:gd name="connsiteX113" fmla="*/ 7462 w 10000"/>
                <a:gd name="connsiteY113" fmla="*/ 9556 h 10000"/>
                <a:gd name="connsiteX114" fmla="*/ 7554 w 10000"/>
                <a:gd name="connsiteY114" fmla="*/ 9628 h 10000"/>
                <a:gd name="connsiteX115" fmla="*/ 7646 w 10000"/>
                <a:gd name="connsiteY115" fmla="*/ 9670 h 10000"/>
                <a:gd name="connsiteX116" fmla="*/ 7748 w 10000"/>
                <a:gd name="connsiteY116" fmla="*/ 9699 h 10000"/>
                <a:gd name="connsiteX117" fmla="*/ 7851 w 10000"/>
                <a:gd name="connsiteY117" fmla="*/ 9742 h 10000"/>
                <a:gd name="connsiteX118" fmla="*/ 7943 w 10000"/>
                <a:gd name="connsiteY118" fmla="*/ 9742 h 10000"/>
                <a:gd name="connsiteX0" fmla="*/ 7943 w 10000"/>
                <a:gd name="connsiteY0" fmla="*/ 9700 h 9958"/>
                <a:gd name="connsiteX1" fmla="*/ 7943 w 10000"/>
                <a:gd name="connsiteY1" fmla="*/ 9700 h 9958"/>
                <a:gd name="connsiteX2" fmla="*/ 8076 w 10000"/>
                <a:gd name="connsiteY2" fmla="*/ 9700 h 9958"/>
                <a:gd name="connsiteX3" fmla="*/ 8178 w 10000"/>
                <a:gd name="connsiteY3" fmla="*/ 9657 h 9958"/>
                <a:gd name="connsiteX4" fmla="*/ 8291 w 10000"/>
                <a:gd name="connsiteY4" fmla="*/ 9614 h 9958"/>
                <a:gd name="connsiteX5" fmla="*/ 8403 w 10000"/>
                <a:gd name="connsiteY5" fmla="*/ 9571 h 9958"/>
                <a:gd name="connsiteX6" fmla="*/ 8506 w 10000"/>
                <a:gd name="connsiteY6" fmla="*/ 9486 h 9958"/>
                <a:gd name="connsiteX7" fmla="*/ 8608 w 10000"/>
                <a:gd name="connsiteY7" fmla="*/ 9385 h 9958"/>
                <a:gd name="connsiteX8" fmla="*/ 8700 w 10000"/>
                <a:gd name="connsiteY8" fmla="*/ 9299 h 9958"/>
                <a:gd name="connsiteX9" fmla="*/ 8802 w 10000"/>
                <a:gd name="connsiteY9" fmla="*/ 9170 h 9958"/>
                <a:gd name="connsiteX10" fmla="*/ 8915 w 10000"/>
                <a:gd name="connsiteY10" fmla="*/ 9041 h 9958"/>
                <a:gd name="connsiteX11" fmla="*/ 9007 w 10000"/>
                <a:gd name="connsiteY11" fmla="*/ 8898 h 9958"/>
                <a:gd name="connsiteX12" fmla="*/ 9191 w 10000"/>
                <a:gd name="connsiteY12" fmla="*/ 8568 h 9958"/>
                <a:gd name="connsiteX13" fmla="*/ 9376 w 10000"/>
                <a:gd name="connsiteY13" fmla="*/ 8196 h 9958"/>
                <a:gd name="connsiteX14" fmla="*/ 9539 w 10000"/>
                <a:gd name="connsiteY14" fmla="*/ 7795 h 9958"/>
                <a:gd name="connsiteX15" fmla="*/ 9775 w 10000"/>
                <a:gd name="connsiteY15" fmla="*/ 8239 h 9958"/>
                <a:gd name="connsiteX16" fmla="*/ 10000 w 10000"/>
                <a:gd name="connsiteY16" fmla="*/ 8654 h 9958"/>
                <a:gd name="connsiteX17" fmla="*/ 9785 w 10000"/>
                <a:gd name="connsiteY17" fmla="*/ 8941 h 9958"/>
                <a:gd name="connsiteX18" fmla="*/ 9570 w 10000"/>
                <a:gd name="connsiteY18" fmla="*/ 9199 h 9958"/>
                <a:gd name="connsiteX19" fmla="*/ 9324 w 10000"/>
                <a:gd name="connsiteY19" fmla="*/ 9427 h 9958"/>
                <a:gd name="connsiteX20" fmla="*/ 9212 w 10000"/>
                <a:gd name="connsiteY20" fmla="*/ 9514 h 9958"/>
                <a:gd name="connsiteX21" fmla="*/ 9079 w 10000"/>
                <a:gd name="connsiteY21" fmla="*/ 9614 h 9958"/>
                <a:gd name="connsiteX22" fmla="*/ 8946 w 10000"/>
                <a:gd name="connsiteY22" fmla="*/ 9700 h 9958"/>
                <a:gd name="connsiteX23" fmla="*/ 8823 w 10000"/>
                <a:gd name="connsiteY23" fmla="*/ 9757 h 9958"/>
                <a:gd name="connsiteX24" fmla="*/ 8680 w 10000"/>
                <a:gd name="connsiteY24" fmla="*/ 9829 h 9958"/>
                <a:gd name="connsiteX25" fmla="*/ 8547 w 10000"/>
                <a:gd name="connsiteY25" fmla="*/ 9872 h 9958"/>
                <a:gd name="connsiteX26" fmla="*/ 8403 w 10000"/>
                <a:gd name="connsiteY26" fmla="*/ 9901 h 9958"/>
                <a:gd name="connsiteX27" fmla="*/ 8260 w 10000"/>
                <a:gd name="connsiteY27" fmla="*/ 9929 h 9958"/>
                <a:gd name="connsiteX28" fmla="*/ 8106 w 10000"/>
                <a:gd name="connsiteY28" fmla="*/ 9958 h 9958"/>
                <a:gd name="connsiteX29" fmla="*/ 7943 w 10000"/>
                <a:gd name="connsiteY29" fmla="*/ 9958 h 9958"/>
                <a:gd name="connsiteX30" fmla="*/ 7779 w 10000"/>
                <a:gd name="connsiteY30" fmla="*/ 9958 h 9958"/>
                <a:gd name="connsiteX31" fmla="*/ 7625 w 10000"/>
                <a:gd name="connsiteY31" fmla="*/ 9915 h 9958"/>
                <a:gd name="connsiteX32" fmla="*/ 7462 w 10000"/>
                <a:gd name="connsiteY32" fmla="*/ 9887 h 9958"/>
                <a:gd name="connsiteX33" fmla="*/ 7308 w 10000"/>
                <a:gd name="connsiteY33" fmla="*/ 9844 h 9958"/>
                <a:gd name="connsiteX34" fmla="*/ 7165 w 10000"/>
                <a:gd name="connsiteY34" fmla="*/ 9771 h 9958"/>
                <a:gd name="connsiteX35" fmla="*/ 7021 w 10000"/>
                <a:gd name="connsiteY35" fmla="*/ 9714 h 9958"/>
                <a:gd name="connsiteX36" fmla="*/ 6888 w 10000"/>
                <a:gd name="connsiteY36" fmla="*/ 9614 h 9958"/>
                <a:gd name="connsiteX37" fmla="*/ 6745 w 10000"/>
                <a:gd name="connsiteY37" fmla="*/ 9514 h 9958"/>
                <a:gd name="connsiteX38" fmla="*/ 6622 w 10000"/>
                <a:gd name="connsiteY38" fmla="*/ 9427 h 9958"/>
                <a:gd name="connsiteX39" fmla="*/ 6479 w 10000"/>
                <a:gd name="connsiteY39" fmla="*/ 9299 h 9958"/>
                <a:gd name="connsiteX40" fmla="*/ 6366 w 10000"/>
                <a:gd name="connsiteY40" fmla="*/ 9185 h 9958"/>
                <a:gd name="connsiteX41" fmla="*/ 6244 w 10000"/>
                <a:gd name="connsiteY41" fmla="*/ 9041 h 9958"/>
                <a:gd name="connsiteX42" fmla="*/ 6008 w 10000"/>
                <a:gd name="connsiteY42" fmla="*/ 8740 h 9958"/>
                <a:gd name="connsiteX43" fmla="*/ 5793 w 10000"/>
                <a:gd name="connsiteY43" fmla="*/ 8411 h 9958"/>
                <a:gd name="connsiteX44" fmla="*/ 5589 w 10000"/>
                <a:gd name="connsiteY44" fmla="*/ 8052 h 9958"/>
                <a:gd name="connsiteX45" fmla="*/ 5394 w 10000"/>
                <a:gd name="connsiteY45" fmla="*/ 7665 h 9958"/>
                <a:gd name="connsiteX46" fmla="*/ 5200 w 10000"/>
                <a:gd name="connsiteY46" fmla="*/ 7264 h 9958"/>
                <a:gd name="connsiteX47" fmla="*/ 5026 w 10000"/>
                <a:gd name="connsiteY47" fmla="*/ 6849 h 9958"/>
                <a:gd name="connsiteX48" fmla="*/ 4852 w 10000"/>
                <a:gd name="connsiteY48" fmla="*/ 6419 h 9958"/>
                <a:gd name="connsiteX49" fmla="*/ 4688 w 10000"/>
                <a:gd name="connsiteY49" fmla="*/ 5975 h 9958"/>
                <a:gd name="connsiteX50" fmla="*/ 4371 w 10000"/>
                <a:gd name="connsiteY50" fmla="*/ 5073 h 9958"/>
                <a:gd name="connsiteX51" fmla="*/ 3777 w 10000"/>
                <a:gd name="connsiteY51" fmla="*/ 3296 h 9958"/>
                <a:gd name="connsiteX52" fmla="*/ 3644 w 10000"/>
                <a:gd name="connsiteY52" fmla="*/ 2851 h 9958"/>
                <a:gd name="connsiteX53" fmla="*/ 3490 w 10000"/>
                <a:gd name="connsiteY53" fmla="*/ 2450 h 9958"/>
                <a:gd name="connsiteX54" fmla="*/ 3347 w 10000"/>
                <a:gd name="connsiteY54" fmla="*/ 2092 h 9958"/>
                <a:gd name="connsiteX55" fmla="*/ 3193 w 10000"/>
                <a:gd name="connsiteY55" fmla="*/ 1720 h 9958"/>
                <a:gd name="connsiteX56" fmla="*/ 3040 w 10000"/>
                <a:gd name="connsiteY56" fmla="*/ 1390 h 9958"/>
                <a:gd name="connsiteX57" fmla="*/ 2886 w 10000"/>
                <a:gd name="connsiteY57" fmla="*/ 1103 h 9958"/>
                <a:gd name="connsiteX58" fmla="*/ 2723 w 10000"/>
                <a:gd name="connsiteY58" fmla="*/ 832 h 9958"/>
                <a:gd name="connsiteX59" fmla="*/ 2559 w 10000"/>
                <a:gd name="connsiteY59" fmla="*/ 631 h 9958"/>
                <a:gd name="connsiteX60" fmla="*/ 2467 w 10000"/>
                <a:gd name="connsiteY60" fmla="*/ 531 h 9958"/>
                <a:gd name="connsiteX61" fmla="*/ 2375 w 10000"/>
                <a:gd name="connsiteY61" fmla="*/ 430 h 9958"/>
                <a:gd name="connsiteX62" fmla="*/ 2282 w 10000"/>
                <a:gd name="connsiteY62" fmla="*/ 373 h 9958"/>
                <a:gd name="connsiteX63" fmla="*/ 2190 w 10000"/>
                <a:gd name="connsiteY63" fmla="*/ 301 h 9958"/>
                <a:gd name="connsiteX64" fmla="*/ 1402 w 10000"/>
                <a:gd name="connsiteY64" fmla="*/ 287 h 9958"/>
                <a:gd name="connsiteX65" fmla="*/ 1279 w 10000"/>
                <a:gd name="connsiteY65" fmla="*/ 373 h 9958"/>
                <a:gd name="connsiteX66" fmla="*/ 1157 w 10000"/>
                <a:gd name="connsiteY66" fmla="*/ 459 h 9958"/>
                <a:gd name="connsiteX67" fmla="*/ 1044 w 10000"/>
                <a:gd name="connsiteY67" fmla="*/ 574 h 9958"/>
                <a:gd name="connsiteX68" fmla="*/ 931 w 10000"/>
                <a:gd name="connsiteY68" fmla="*/ 717 h 9958"/>
                <a:gd name="connsiteX69" fmla="*/ 809 w 10000"/>
                <a:gd name="connsiteY69" fmla="*/ 861 h 9958"/>
                <a:gd name="connsiteX70" fmla="*/ 706 w 10000"/>
                <a:gd name="connsiteY70" fmla="*/ 1046 h 9958"/>
                <a:gd name="connsiteX71" fmla="*/ 604 w 10000"/>
                <a:gd name="connsiteY71" fmla="*/ 1219 h 9958"/>
                <a:gd name="connsiteX72" fmla="*/ 491 w 10000"/>
                <a:gd name="connsiteY72" fmla="*/ 1419 h 9958"/>
                <a:gd name="connsiteX73" fmla="*/ 399 w 10000"/>
                <a:gd name="connsiteY73" fmla="*/ 1620 h 9958"/>
                <a:gd name="connsiteX74" fmla="*/ 194 w 10000"/>
                <a:gd name="connsiteY74" fmla="*/ 2092 h 9958"/>
                <a:gd name="connsiteX75" fmla="*/ 0 w 10000"/>
                <a:gd name="connsiteY75" fmla="*/ 2580 h 9958"/>
                <a:gd name="connsiteX76" fmla="*/ 10 w 10000"/>
                <a:gd name="connsiteY76" fmla="*/ 903 h 9958"/>
                <a:gd name="connsiteX77" fmla="*/ 205 w 10000"/>
                <a:gd name="connsiteY77" fmla="*/ 688 h 9958"/>
                <a:gd name="connsiteX78" fmla="*/ 399 w 10000"/>
                <a:gd name="connsiteY78" fmla="*/ 502 h 9958"/>
                <a:gd name="connsiteX79" fmla="*/ 604 w 10000"/>
                <a:gd name="connsiteY79" fmla="*/ 316 h 9958"/>
                <a:gd name="connsiteX80" fmla="*/ 819 w 10000"/>
                <a:gd name="connsiteY80" fmla="*/ 187 h 9958"/>
                <a:gd name="connsiteX81" fmla="*/ 1054 w 10000"/>
                <a:gd name="connsiteY81" fmla="*/ 86 h 9958"/>
                <a:gd name="connsiteX82" fmla="*/ 1300 w 10000"/>
                <a:gd name="connsiteY82" fmla="*/ 0 h 9958"/>
                <a:gd name="connsiteX83" fmla="*/ 2272 w 10000"/>
                <a:gd name="connsiteY83" fmla="*/ 0 h 9958"/>
                <a:gd name="connsiteX84" fmla="*/ 2426 w 10000"/>
                <a:gd name="connsiteY84" fmla="*/ 43 h 9958"/>
                <a:gd name="connsiteX85" fmla="*/ 2569 w 10000"/>
                <a:gd name="connsiteY85" fmla="*/ 115 h 9958"/>
                <a:gd name="connsiteX86" fmla="*/ 2712 w 10000"/>
                <a:gd name="connsiteY86" fmla="*/ 187 h 9958"/>
                <a:gd name="connsiteX87" fmla="*/ 2845 w 10000"/>
                <a:gd name="connsiteY87" fmla="*/ 273 h 9958"/>
                <a:gd name="connsiteX88" fmla="*/ 2989 w 10000"/>
                <a:gd name="connsiteY88" fmla="*/ 373 h 9958"/>
                <a:gd name="connsiteX89" fmla="*/ 3112 w 10000"/>
                <a:gd name="connsiteY89" fmla="*/ 459 h 9958"/>
                <a:gd name="connsiteX90" fmla="*/ 3234 w 10000"/>
                <a:gd name="connsiteY90" fmla="*/ 588 h 9958"/>
                <a:gd name="connsiteX91" fmla="*/ 3367 w 10000"/>
                <a:gd name="connsiteY91" fmla="*/ 717 h 9958"/>
                <a:gd name="connsiteX92" fmla="*/ 3490 w 10000"/>
                <a:gd name="connsiteY92" fmla="*/ 846 h 9958"/>
                <a:gd name="connsiteX93" fmla="*/ 3726 w 10000"/>
                <a:gd name="connsiteY93" fmla="*/ 1132 h 9958"/>
                <a:gd name="connsiteX94" fmla="*/ 3941 w 10000"/>
                <a:gd name="connsiteY94" fmla="*/ 1476 h 9958"/>
                <a:gd name="connsiteX95" fmla="*/ 4145 w 10000"/>
                <a:gd name="connsiteY95" fmla="*/ 1834 h 9958"/>
                <a:gd name="connsiteX96" fmla="*/ 4340 w 10000"/>
                <a:gd name="connsiteY96" fmla="*/ 2222 h 9958"/>
                <a:gd name="connsiteX97" fmla="*/ 4534 w 10000"/>
                <a:gd name="connsiteY97" fmla="*/ 2623 h 9958"/>
                <a:gd name="connsiteX98" fmla="*/ 4708 w 10000"/>
                <a:gd name="connsiteY98" fmla="*/ 3038 h 9958"/>
                <a:gd name="connsiteX99" fmla="*/ 4893 w 10000"/>
                <a:gd name="connsiteY99" fmla="*/ 3468 h 9958"/>
                <a:gd name="connsiteX100" fmla="*/ 5056 w 10000"/>
                <a:gd name="connsiteY100" fmla="*/ 3911 h 9958"/>
                <a:gd name="connsiteX101" fmla="*/ 5363 w 10000"/>
                <a:gd name="connsiteY101" fmla="*/ 4814 h 9958"/>
                <a:gd name="connsiteX102" fmla="*/ 5967 w 10000"/>
                <a:gd name="connsiteY102" fmla="*/ 6605 h 9958"/>
                <a:gd name="connsiteX103" fmla="*/ 6254 w 10000"/>
                <a:gd name="connsiteY103" fmla="*/ 7437 h 9958"/>
                <a:gd name="connsiteX104" fmla="*/ 6407 w 10000"/>
                <a:gd name="connsiteY104" fmla="*/ 7795 h 9958"/>
                <a:gd name="connsiteX105" fmla="*/ 6551 w 10000"/>
                <a:gd name="connsiteY105" fmla="*/ 8167 h 9958"/>
                <a:gd name="connsiteX106" fmla="*/ 6714 w 10000"/>
                <a:gd name="connsiteY106" fmla="*/ 8497 h 9958"/>
                <a:gd name="connsiteX107" fmla="*/ 6868 w 10000"/>
                <a:gd name="connsiteY107" fmla="*/ 8784 h 9958"/>
                <a:gd name="connsiteX108" fmla="*/ 7021 w 10000"/>
                <a:gd name="connsiteY108" fmla="*/ 9055 h 9958"/>
                <a:gd name="connsiteX109" fmla="*/ 7195 w 10000"/>
                <a:gd name="connsiteY109" fmla="*/ 9256 h 9958"/>
                <a:gd name="connsiteX110" fmla="*/ 7288 w 10000"/>
                <a:gd name="connsiteY110" fmla="*/ 9356 h 9958"/>
                <a:gd name="connsiteX111" fmla="*/ 7369 w 10000"/>
                <a:gd name="connsiteY111" fmla="*/ 9457 h 9958"/>
                <a:gd name="connsiteX112" fmla="*/ 7462 w 10000"/>
                <a:gd name="connsiteY112" fmla="*/ 9514 h 9958"/>
                <a:gd name="connsiteX113" fmla="*/ 7554 w 10000"/>
                <a:gd name="connsiteY113" fmla="*/ 9586 h 9958"/>
                <a:gd name="connsiteX114" fmla="*/ 7646 w 10000"/>
                <a:gd name="connsiteY114" fmla="*/ 9628 h 9958"/>
                <a:gd name="connsiteX115" fmla="*/ 7748 w 10000"/>
                <a:gd name="connsiteY115" fmla="*/ 9657 h 9958"/>
                <a:gd name="connsiteX116" fmla="*/ 7851 w 10000"/>
                <a:gd name="connsiteY116" fmla="*/ 9700 h 9958"/>
                <a:gd name="connsiteX117" fmla="*/ 7943 w 10000"/>
                <a:gd name="connsiteY117" fmla="*/ 9700 h 9958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402 w 10000"/>
                <a:gd name="connsiteY64" fmla="*/ 288 h 10000"/>
                <a:gd name="connsiteX65" fmla="*/ 1279 w 10000"/>
                <a:gd name="connsiteY65" fmla="*/ 375 h 10000"/>
                <a:gd name="connsiteX66" fmla="*/ 1157 w 10000"/>
                <a:gd name="connsiteY66" fmla="*/ 461 h 10000"/>
                <a:gd name="connsiteX67" fmla="*/ 1044 w 10000"/>
                <a:gd name="connsiteY67" fmla="*/ 576 h 10000"/>
                <a:gd name="connsiteX68" fmla="*/ 931 w 10000"/>
                <a:gd name="connsiteY68" fmla="*/ 720 h 10000"/>
                <a:gd name="connsiteX69" fmla="*/ 809 w 10000"/>
                <a:gd name="connsiteY69" fmla="*/ 865 h 10000"/>
                <a:gd name="connsiteX70" fmla="*/ 706 w 10000"/>
                <a:gd name="connsiteY70" fmla="*/ 1050 h 10000"/>
                <a:gd name="connsiteX71" fmla="*/ 604 w 10000"/>
                <a:gd name="connsiteY71" fmla="*/ 1224 h 10000"/>
                <a:gd name="connsiteX72" fmla="*/ 491 w 10000"/>
                <a:gd name="connsiteY72" fmla="*/ 1425 h 10000"/>
                <a:gd name="connsiteX73" fmla="*/ 399 w 10000"/>
                <a:gd name="connsiteY73" fmla="*/ 1627 h 10000"/>
                <a:gd name="connsiteX74" fmla="*/ 194 w 10000"/>
                <a:gd name="connsiteY74" fmla="*/ 2101 h 10000"/>
                <a:gd name="connsiteX75" fmla="*/ 0 w 10000"/>
                <a:gd name="connsiteY75" fmla="*/ 2591 h 10000"/>
                <a:gd name="connsiteX76" fmla="*/ 10 w 10000"/>
                <a:gd name="connsiteY76" fmla="*/ 907 h 10000"/>
                <a:gd name="connsiteX77" fmla="*/ 205 w 10000"/>
                <a:gd name="connsiteY77" fmla="*/ 691 h 10000"/>
                <a:gd name="connsiteX78" fmla="*/ 399 w 10000"/>
                <a:gd name="connsiteY78" fmla="*/ 504 h 10000"/>
                <a:gd name="connsiteX79" fmla="*/ 604 w 10000"/>
                <a:gd name="connsiteY79" fmla="*/ 317 h 10000"/>
                <a:gd name="connsiteX80" fmla="*/ 819 w 10000"/>
                <a:gd name="connsiteY80" fmla="*/ 188 h 10000"/>
                <a:gd name="connsiteX81" fmla="*/ 1054 w 10000"/>
                <a:gd name="connsiteY81" fmla="*/ 86 h 10000"/>
                <a:gd name="connsiteX82" fmla="*/ 2272 w 10000"/>
                <a:gd name="connsiteY82" fmla="*/ 0 h 10000"/>
                <a:gd name="connsiteX83" fmla="*/ 2426 w 10000"/>
                <a:gd name="connsiteY83" fmla="*/ 43 h 10000"/>
                <a:gd name="connsiteX84" fmla="*/ 2569 w 10000"/>
                <a:gd name="connsiteY84" fmla="*/ 115 h 10000"/>
                <a:gd name="connsiteX85" fmla="*/ 2712 w 10000"/>
                <a:gd name="connsiteY85" fmla="*/ 188 h 10000"/>
                <a:gd name="connsiteX86" fmla="*/ 2845 w 10000"/>
                <a:gd name="connsiteY86" fmla="*/ 274 h 10000"/>
                <a:gd name="connsiteX87" fmla="*/ 2989 w 10000"/>
                <a:gd name="connsiteY87" fmla="*/ 375 h 10000"/>
                <a:gd name="connsiteX88" fmla="*/ 3112 w 10000"/>
                <a:gd name="connsiteY88" fmla="*/ 461 h 10000"/>
                <a:gd name="connsiteX89" fmla="*/ 3234 w 10000"/>
                <a:gd name="connsiteY89" fmla="*/ 590 h 10000"/>
                <a:gd name="connsiteX90" fmla="*/ 3367 w 10000"/>
                <a:gd name="connsiteY90" fmla="*/ 720 h 10000"/>
                <a:gd name="connsiteX91" fmla="*/ 3490 w 10000"/>
                <a:gd name="connsiteY91" fmla="*/ 850 h 10000"/>
                <a:gd name="connsiteX92" fmla="*/ 3726 w 10000"/>
                <a:gd name="connsiteY92" fmla="*/ 1137 h 10000"/>
                <a:gd name="connsiteX93" fmla="*/ 3941 w 10000"/>
                <a:gd name="connsiteY93" fmla="*/ 1482 h 10000"/>
                <a:gd name="connsiteX94" fmla="*/ 4145 w 10000"/>
                <a:gd name="connsiteY94" fmla="*/ 1842 h 10000"/>
                <a:gd name="connsiteX95" fmla="*/ 4340 w 10000"/>
                <a:gd name="connsiteY95" fmla="*/ 2231 h 10000"/>
                <a:gd name="connsiteX96" fmla="*/ 4534 w 10000"/>
                <a:gd name="connsiteY96" fmla="*/ 2634 h 10000"/>
                <a:gd name="connsiteX97" fmla="*/ 4708 w 10000"/>
                <a:gd name="connsiteY97" fmla="*/ 3051 h 10000"/>
                <a:gd name="connsiteX98" fmla="*/ 4893 w 10000"/>
                <a:gd name="connsiteY98" fmla="*/ 3483 h 10000"/>
                <a:gd name="connsiteX99" fmla="*/ 5056 w 10000"/>
                <a:gd name="connsiteY99" fmla="*/ 3927 h 10000"/>
                <a:gd name="connsiteX100" fmla="*/ 5363 w 10000"/>
                <a:gd name="connsiteY100" fmla="*/ 4834 h 10000"/>
                <a:gd name="connsiteX101" fmla="*/ 5967 w 10000"/>
                <a:gd name="connsiteY101" fmla="*/ 6633 h 10000"/>
                <a:gd name="connsiteX102" fmla="*/ 6254 w 10000"/>
                <a:gd name="connsiteY102" fmla="*/ 7468 h 10000"/>
                <a:gd name="connsiteX103" fmla="*/ 6407 w 10000"/>
                <a:gd name="connsiteY103" fmla="*/ 7828 h 10000"/>
                <a:gd name="connsiteX104" fmla="*/ 6551 w 10000"/>
                <a:gd name="connsiteY104" fmla="*/ 8201 h 10000"/>
                <a:gd name="connsiteX105" fmla="*/ 6714 w 10000"/>
                <a:gd name="connsiteY105" fmla="*/ 8533 h 10000"/>
                <a:gd name="connsiteX106" fmla="*/ 6868 w 10000"/>
                <a:gd name="connsiteY106" fmla="*/ 8821 h 10000"/>
                <a:gd name="connsiteX107" fmla="*/ 7021 w 10000"/>
                <a:gd name="connsiteY107" fmla="*/ 9093 h 10000"/>
                <a:gd name="connsiteX108" fmla="*/ 7195 w 10000"/>
                <a:gd name="connsiteY108" fmla="*/ 9295 h 10000"/>
                <a:gd name="connsiteX109" fmla="*/ 7288 w 10000"/>
                <a:gd name="connsiteY109" fmla="*/ 9395 h 10000"/>
                <a:gd name="connsiteX110" fmla="*/ 7369 w 10000"/>
                <a:gd name="connsiteY110" fmla="*/ 9497 h 10000"/>
                <a:gd name="connsiteX111" fmla="*/ 7462 w 10000"/>
                <a:gd name="connsiteY111" fmla="*/ 9554 h 10000"/>
                <a:gd name="connsiteX112" fmla="*/ 7554 w 10000"/>
                <a:gd name="connsiteY112" fmla="*/ 9626 h 10000"/>
                <a:gd name="connsiteX113" fmla="*/ 7646 w 10000"/>
                <a:gd name="connsiteY113" fmla="*/ 9669 h 10000"/>
                <a:gd name="connsiteX114" fmla="*/ 7748 w 10000"/>
                <a:gd name="connsiteY114" fmla="*/ 9698 h 10000"/>
                <a:gd name="connsiteX115" fmla="*/ 7851 w 10000"/>
                <a:gd name="connsiteY115" fmla="*/ 9741 h 10000"/>
                <a:gd name="connsiteX116" fmla="*/ 7943 w 10000"/>
                <a:gd name="connsiteY11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279 w 10000"/>
                <a:gd name="connsiteY64" fmla="*/ 375 h 10000"/>
                <a:gd name="connsiteX65" fmla="*/ 1157 w 10000"/>
                <a:gd name="connsiteY65" fmla="*/ 461 h 10000"/>
                <a:gd name="connsiteX66" fmla="*/ 1044 w 10000"/>
                <a:gd name="connsiteY66" fmla="*/ 576 h 10000"/>
                <a:gd name="connsiteX67" fmla="*/ 931 w 10000"/>
                <a:gd name="connsiteY67" fmla="*/ 720 h 10000"/>
                <a:gd name="connsiteX68" fmla="*/ 809 w 10000"/>
                <a:gd name="connsiteY68" fmla="*/ 865 h 10000"/>
                <a:gd name="connsiteX69" fmla="*/ 706 w 10000"/>
                <a:gd name="connsiteY69" fmla="*/ 1050 h 10000"/>
                <a:gd name="connsiteX70" fmla="*/ 604 w 10000"/>
                <a:gd name="connsiteY70" fmla="*/ 1224 h 10000"/>
                <a:gd name="connsiteX71" fmla="*/ 491 w 10000"/>
                <a:gd name="connsiteY71" fmla="*/ 1425 h 10000"/>
                <a:gd name="connsiteX72" fmla="*/ 399 w 10000"/>
                <a:gd name="connsiteY72" fmla="*/ 1627 h 10000"/>
                <a:gd name="connsiteX73" fmla="*/ 194 w 10000"/>
                <a:gd name="connsiteY73" fmla="*/ 2101 h 10000"/>
                <a:gd name="connsiteX74" fmla="*/ 0 w 10000"/>
                <a:gd name="connsiteY74" fmla="*/ 2591 h 10000"/>
                <a:gd name="connsiteX75" fmla="*/ 10 w 10000"/>
                <a:gd name="connsiteY75" fmla="*/ 907 h 10000"/>
                <a:gd name="connsiteX76" fmla="*/ 205 w 10000"/>
                <a:gd name="connsiteY76" fmla="*/ 691 h 10000"/>
                <a:gd name="connsiteX77" fmla="*/ 399 w 10000"/>
                <a:gd name="connsiteY77" fmla="*/ 504 h 10000"/>
                <a:gd name="connsiteX78" fmla="*/ 604 w 10000"/>
                <a:gd name="connsiteY78" fmla="*/ 317 h 10000"/>
                <a:gd name="connsiteX79" fmla="*/ 819 w 10000"/>
                <a:gd name="connsiteY79" fmla="*/ 188 h 10000"/>
                <a:gd name="connsiteX80" fmla="*/ 1054 w 10000"/>
                <a:gd name="connsiteY80" fmla="*/ 86 h 10000"/>
                <a:gd name="connsiteX81" fmla="*/ 2272 w 10000"/>
                <a:gd name="connsiteY81" fmla="*/ 0 h 10000"/>
                <a:gd name="connsiteX82" fmla="*/ 2426 w 10000"/>
                <a:gd name="connsiteY82" fmla="*/ 43 h 10000"/>
                <a:gd name="connsiteX83" fmla="*/ 2569 w 10000"/>
                <a:gd name="connsiteY83" fmla="*/ 115 h 10000"/>
                <a:gd name="connsiteX84" fmla="*/ 2712 w 10000"/>
                <a:gd name="connsiteY84" fmla="*/ 188 h 10000"/>
                <a:gd name="connsiteX85" fmla="*/ 2845 w 10000"/>
                <a:gd name="connsiteY85" fmla="*/ 274 h 10000"/>
                <a:gd name="connsiteX86" fmla="*/ 2989 w 10000"/>
                <a:gd name="connsiteY86" fmla="*/ 375 h 10000"/>
                <a:gd name="connsiteX87" fmla="*/ 3112 w 10000"/>
                <a:gd name="connsiteY87" fmla="*/ 461 h 10000"/>
                <a:gd name="connsiteX88" fmla="*/ 3234 w 10000"/>
                <a:gd name="connsiteY88" fmla="*/ 590 h 10000"/>
                <a:gd name="connsiteX89" fmla="*/ 3367 w 10000"/>
                <a:gd name="connsiteY89" fmla="*/ 720 h 10000"/>
                <a:gd name="connsiteX90" fmla="*/ 3490 w 10000"/>
                <a:gd name="connsiteY90" fmla="*/ 850 h 10000"/>
                <a:gd name="connsiteX91" fmla="*/ 3726 w 10000"/>
                <a:gd name="connsiteY91" fmla="*/ 1137 h 10000"/>
                <a:gd name="connsiteX92" fmla="*/ 3941 w 10000"/>
                <a:gd name="connsiteY92" fmla="*/ 1482 h 10000"/>
                <a:gd name="connsiteX93" fmla="*/ 4145 w 10000"/>
                <a:gd name="connsiteY93" fmla="*/ 1842 h 10000"/>
                <a:gd name="connsiteX94" fmla="*/ 4340 w 10000"/>
                <a:gd name="connsiteY94" fmla="*/ 2231 h 10000"/>
                <a:gd name="connsiteX95" fmla="*/ 4534 w 10000"/>
                <a:gd name="connsiteY95" fmla="*/ 2634 h 10000"/>
                <a:gd name="connsiteX96" fmla="*/ 4708 w 10000"/>
                <a:gd name="connsiteY96" fmla="*/ 3051 h 10000"/>
                <a:gd name="connsiteX97" fmla="*/ 4893 w 10000"/>
                <a:gd name="connsiteY97" fmla="*/ 3483 h 10000"/>
                <a:gd name="connsiteX98" fmla="*/ 5056 w 10000"/>
                <a:gd name="connsiteY98" fmla="*/ 3927 h 10000"/>
                <a:gd name="connsiteX99" fmla="*/ 5363 w 10000"/>
                <a:gd name="connsiteY99" fmla="*/ 4834 h 10000"/>
                <a:gd name="connsiteX100" fmla="*/ 5967 w 10000"/>
                <a:gd name="connsiteY100" fmla="*/ 6633 h 10000"/>
                <a:gd name="connsiteX101" fmla="*/ 6254 w 10000"/>
                <a:gd name="connsiteY101" fmla="*/ 7468 h 10000"/>
                <a:gd name="connsiteX102" fmla="*/ 6407 w 10000"/>
                <a:gd name="connsiteY102" fmla="*/ 7828 h 10000"/>
                <a:gd name="connsiteX103" fmla="*/ 6551 w 10000"/>
                <a:gd name="connsiteY103" fmla="*/ 8201 h 10000"/>
                <a:gd name="connsiteX104" fmla="*/ 6714 w 10000"/>
                <a:gd name="connsiteY104" fmla="*/ 8533 h 10000"/>
                <a:gd name="connsiteX105" fmla="*/ 6868 w 10000"/>
                <a:gd name="connsiteY105" fmla="*/ 8821 h 10000"/>
                <a:gd name="connsiteX106" fmla="*/ 7021 w 10000"/>
                <a:gd name="connsiteY106" fmla="*/ 9093 h 10000"/>
                <a:gd name="connsiteX107" fmla="*/ 7195 w 10000"/>
                <a:gd name="connsiteY107" fmla="*/ 9295 h 10000"/>
                <a:gd name="connsiteX108" fmla="*/ 7288 w 10000"/>
                <a:gd name="connsiteY108" fmla="*/ 9395 h 10000"/>
                <a:gd name="connsiteX109" fmla="*/ 7369 w 10000"/>
                <a:gd name="connsiteY109" fmla="*/ 9497 h 10000"/>
                <a:gd name="connsiteX110" fmla="*/ 7462 w 10000"/>
                <a:gd name="connsiteY110" fmla="*/ 9554 h 10000"/>
                <a:gd name="connsiteX111" fmla="*/ 7554 w 10000"/>
                <a:gd name="connsiteY111" fmla="*/ 9626 h 10000"/>
                <a:gd name="connsiteX112" fmla="*/ 7646 w 10000"/>
                <a:gd name="connsiteY112" fmla="*/ 9669 h 10000"/>
                <a:gd name="connsiteX113" fmla="*/ 7748 w 10000"/>
                <a:gd name="connsiteY113" fmla="*/ 9698 h 10000"/>
                <a:gd name="connsiteX114" fmla="*/ 7851 w 10000"/>
                <a:gd name="connsiteY114" fmla="*/ 9741 h 10000"/>
                <a:gd name="connsiteX115" fmla="*/ 7943 w 10000"/>
                <a:gd name="connsiteY11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157 w 10000"/>
                <a:gd name="connsiteY64" fmla="*/ 461 h 10000"/>
                <a:gd name="connsiteX65" fmla="*/ 1044 w 10000"/>
                <a:gd name="connsiteY65" fmla="*/ 576 h 10000"/>
                <a:gd name="connsiteX66" fmla="*/ 931 w 10000"/>
                <a:gd name="connsiteY66" fmla="*/ 720 h 10000"/>
                <a:gd name="connsiteX67" fmla="*/ 809 w 10000"/>
                <a:gd name="connsiteY67" fmla="*/ 865 h 10000"/>
                <a:gd name="connsiteX68" fmla="*/ 706 w 10000"/>
                <a:gd name="connsiteY68" fmla="*/ 1050 h 10000"/>
                <a:gd name="connsiteX69" fmla="*/ 604 w 10000"/>
                <a:gd name="connsiteY69" fmla="*/ 1224 h 10000"/>
                <a:gd name="connsiteX70" fmla="*/ 491 w 10000"/>
                <a:gd name="connsiteY70" fmla="*/ 1425 h 10000"/>
                <a:gd name="connsiteX71" fmla="*/ 399 w 10000"/>
                <a:gd name="connsiteY71" fmla="*/ 1627 h 10000"/>
                <a:gd name="connsiteX72" fmla="*/ 194 w 10000"/>
                <a:gd name="connsiteY72" fmla="*/ 2101 h 10000"/>
                <a:gd name="connsiteX73" fmla="*/ 0 w 10000"/>
                <a:gd name="connsiteY73" fmla="*/ 2591 h 10000"/>
                <a:gd name="connsiteX74" fmla="*/ 10 w 10000"/>
                <a:gd name="connsiteY74" fmla="*/ 907 h 10000"/>
                <a:gd name="connsiteX75" fmla="*/ 205 w 10000"/>
                <a:gd name="connsiteY75" fmla="*/ 691 h 10000"/>
                <a:gd name="connsiteX76" fmla="*/ 399 w 10000"/>
                <a:gd name="connsiteY76" fmla="*/ 504 h 10000"/>
                <a:gd name="connsiteX77" fmla="*/ 604 w 10000"/>
                <a:gd name="connsiteY77" fmla="*/ 317 h 10000"/>
                <a:gd name="connsiteX78" fmla="*/ 819 w 10000"/>
                <a:gd name="connsiteY78" fmla="*/ 188 h 10000"/>
                <a:gd name="connsiteX79" fmla="*/ 1054 w 10000"/>
                <a:gd name="connsiteY79" fmla="*/ 86 h 10000"/>
                <a:gd name="connsiteX80" fmla="*/ 2272 w 10000"/>
                <a:gd name="connsiteY80" fmla="*/ 0 h 10000"/>
                <a:gd name="connsiteX81" fmla="*/ 2426 w 10000"/>
                <a:gd name="connsiteY81" fmla="*/ 43 h 10000"/>
                <a:gd name="connsiteX82" fmla="*/ 2569 w 10000"/>
                <a:gd name="connsiteY82" fmla="*/ 115 h 10000"/>
                <a:gd name="connsiteX83" fmla="*/ 2712 w 10000"/>
                <a:gd name="connsiteY83" fmla="*/ 188 h 10000"/>
                <a:gd name="connsiteX84" fmla="*/ 2845 w 10000"/>
                <a:gd name="connsiteY84" fmla="*/ 274 h 10000"/>
                <a:gd name="connsiteX85" fmla="*/ 2989 w 10000"/>
                <a:gd name="connsiteY85" fmla="*/ 375 h 10000"/>
                <a:gd name="connsiteX86" fmla="*/ 3112 w 10000"/>
                <a:gd name="connsiteY86" fmla="*/ 461 h 10000"/>
                <a:gd name="connsiteX87" fmla="*/ 3234 w 10000"/>
                <a:gd name="connsiteY87" fmla="*/ 590 h 10000"/>
                <a:gd name="connsiteX88" fmla="*/ 3367 w 10000"/>
                <a:gd name="connsiteY88" fmla="*/ 720 h 10000"/>
                <a:gd name="connsiteX89" fmla="*/ 3490 w 10000"/>
                <a:gd name="connsiteY89" fmla="*/ 850 h 10000"/>
                <a:gd name="connsiteX90" fmla="*/ 3726 w 10000"/>
                <a:gd name="connsiteY90" fmla="*/ 1137 h 10000"/>
                <a:gd name="connsiteX91" fmla="*/ 3941 w 10000"/>
                <a:gd name="connsiteY91" fmla="*/ 1482 h 10000"/>
                <a:gd name="connsiteX92" fmla="*/ 4145 w 10000"/>
                <a:gd name="connsiteY92" fmla="*/ 1842 h 10000"/>
                <a:gd name="connsiteX93" fmla="*/ 4340 w 10000"/>
                <a:gd name="connsiteY93" fmla="*/ 2231 h 10000"/>
                <a:gd name="connsiteX94" fmla="*/ 4534 w 10000"/>
                <a:gd name="connsiteY94" fmla="*/ 2634 h 10000"/>
                <a:gd name="connsiteX95" fmla="*/ 4708 w 10000"/>
                <a:gd name="connsiteY95" fmla="*/ 3051 h 10000"/>
                <a:gd name="connsiteX96" fmla="*/ 4893 w 10000"/>
                <a:gd name="connsiteY96" fmla="*/ 3483 h 10000"/>
                <a:gd name="connsiteX97" fmla="*/ 5056 w 10000"/>
                <a:gd name="connsiteY97" fmla="*/ 3927 h 10000"/>
                <a:gd name="connsiteX98" fmla="*/ 5363 w 10000"/>
                <a:gd name="connsiteY98" fmla="*/ 4834 h 10000"/>
                <a:gd name="connsiteX99" fmla="*/ 5967 w 10000"/>
                <a:gd name="connsiteY99" fmla="*/ 6633 h 10000"/>
                <a:gd name="connsiteX100" fmla="*/ 6254 w 10000"/>
                <a:gd name="connsiteY100" fmla="*/ 7468 h 10000"/>
                <a:gd name="connsiteX101" fmla="*/ 6407 w 10000"/>
                <a:gd name="connsiteY101" fmla="*/ 7828 h 10000"/>
                <a:gd name="connsiteX102" fmla="*/ 6551 w 10000"/>
                <a:gd name="connsiteY102" fmla="*/ 8201 h 10000"/>
                <a:gd name="connsiteX103" fmla="*/ 6714 w 10000"/>
                <a:gd name="connsiteY103" fmla="*/ 8533 h 10000"/>
                <a:gd name="connsiteX104" fmla="*/ 6868 w 10000"/>
                <a:gd name="connsiteY104" fmla="*/ 8821 h 10000"/>
                <a:gd name="connsiteX105" fmla="*/ 7021 w 10000"/>
                <a:gd name="connsiteY105" fmla="*/ 9093 h 10000"/>
                <a:gd name="connsiteX106" fmla="*/ 7195 w 10000"/>
                <a:gd name="connsiteY106" fmla="*/ 9295 h 10000"/>
                <a:gd name="connsiteX107" fmla="*/ 7288 w 10000"/>
                <a:gd name="connsiteY107" fmla="*/ 9395 h 10000"/>
                <a:gd name="connsiteX108" fmla="*/ 7369 w 10000"/>
                <a:gd name="connsiteY108" fmla="*/ 9497 h 10000"/>
                <a:gd name="connsiteX109" fmla="*/ 7462 w 10000"/>
                <a:gd name="connsiteY109" fmla="*/ 9554 h 10000"/>
                <a:gd name="connsiteX110" fmla="*/ 7554 w 10000"/>
                <a:gd name="connsiteY110" fmla="*/ 9626 h 10000"/>
                <a:gd name="connsiteX111" fmla="*/ 7646 w 10000"/>
                <a:gd name="connsiteY111" fmla="*/ 9669 h 10000"/>
                <a:gd name="connsiteX112" fmla="*/ 7748 w 10000"/>
                <a:gd name="connsiteY112" fmla="*/ 9698 h 10000"/>
                <a:gd name="connsiteX113" fmla="*/ 7851 w 10000"/>
                <a:gd name="connsiteY113" fmla="*/ 9741 h 10000"/>
                <a:gd name="connsiteX114" fmla="*/ 7943 w 10000"/>
                <a:gd name="connsiteY11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1054 w 10000"/>
                <a:gd name="connsiteY78" fmla="*/ 86 h 10000"/>
                <a:gd name="connsiteX79" fmla="*/ 2272 w 10000"/>
                <a:gd name="connsiteY79" fmla="*/ 0 h 10000"/>
                <a:gd name="connsiteX80" fmla="*/ 2426 w 10000"/>
                <a:gd name="connsiteY80" fmla="*/ 43 h 10000"/>
                <a:gd name="connsiteX81" fmla="*/ 2569 w 10000"/>
                <a:gd name="connsiteY81" fmla="*/ 115 h 10000"/>
                <a:gd name="connsiteX82" fmla="*/ 2712 w 10000"/>
                <a:gd name="connsiteY82" fmla="*/ 188 h 10000"/>
                <a:gd name="connsiteX83" fmla="*/ 2845 w 10000"/>
                <a:gd name="connsiteY83" fmla="*/ 274 h 10000"/>
                <a:gd name="connsiteX84" fmla="*/ 2989 w 10000"/>
                <a:gd name="connsiteY84" fmla="*/ 375 h 10000"/>
                <a:gd name="connsiteX85" fmla="*/ 3112 w 10000"/>
                <a:gd name="connsiteY85" fmla="*/ 461 h 10000"/>
                <a:gd name="connsiteX86" fmla="*/ 3234 w 10000"/>
                <a:gd name="connsiteY86" fmla="*/ 590 h 10000"/>
                <a:gd name="connsiteX87" fmla="*/ 3367 w 10000"/>
                <a:gd name="connsiteY87" fmla="*/ 720 h 10000"/>
                <a:gd name="connsiteX88" fmla="*/ 3490 w 10000"/>
                <a:gd name="connsiteY88" fmla="*/ 850 h 10000"/>
                <a:gd name="connsiteX89" fmla="*/ 3726 w 10000"/>
                <a:gd name="connsiteY89" fmla="*/ 1137 h 10000"/>
                <a:gd name="connsiteX90" fmla="*/ 3941 w 10000"/>
                <a:gd name="connsiteY90" fmla="*/ 1482 h 10000"/>
                <a:gd name="connsiteX91" fmla="*/ 4145 w 10000"/>
                <a:gd name="connsiteY91" fmla="*/ 1842 h 10000"/>
                <a:gd name="connsiteX92" fmla="*/ 4340 w 10000"/>
                <a:gd name="connsiteY92" fmla="*/ 2231 h 10000"/>
                <a:gd name="connsiteX93" fmla="*/ 4534 w 10000"/>
                <a:gd name="connsiteY93" fmla="*/ 2634 h 10000"/>
                <a:gd name="connsiteX94" fmla="*/ 4708 w 10000"/>
                <a:gd name="connsiteY94" fmla="*/ 3051 h 10000"/>
                <a:gd name="connsiteX95" fmla="*/ 4893 w 10000"/>
                <a:gd name="connsiteY95" fmla="*/ 3483 h 10000"/>
                <a:gd name="connsiteX96" fmla="*/ 5056 w 10000"/>
                <a:gd name="connsiteY96" fmla="*/ 3927 h 10000"/>
                <a:gd name="connsiteX97" fmla="*/ 5363 w 10000"/>
                <a:gd name="connsiteY97" fmla="*/ 4834 h 10000"/>
                <a:gd name="connsiteX98" fmla="*/ 5967 w 10000"/>
                <a:gd name="connsiteY98" fmla="*/ 6633 h 10000"/>
                <a:gd name="connsiteX99" fmla="*/ 6254 w 10000"/>
                <a:gd name="connsiteY99" fmla="*/ 7468 h 10000"/>
                <a:gd name="connsiteX100" fmla="*/ 6407 w 10000"/>
                <a:gd name="connsiteY100" fmla="*/ 7828 h 10000"/>
                <a:gd name="connsiteX101" fmla="*/ 6551 w 10000"/>
                <a:gd name="connsiteY101" fmla="*/ 8201 h 10000"/>
                <a:gd name="connsiteX102" fmla="*/ 6714 w 10000"/>
                <a:gd name="connsiteY102" fmla="*/ 8533 h 10000"/>
                <a:gd name="connsiteX103" fmla="*/ 6868 w 10000"/>
                <a:gd name="connsiteY103" fmla="*/ 8821 h 10000"/>
                <a:gd name="connsiteX104" fmla="*/ 7021 w 10000"/>
                <a:gd name="connsiteY104" fmla="*/ 9093 h 10000"/>
                <a:gd name="connsiteX105" fmla="*/ 7195 w 10000"/>
                <a:gd name="connsiteY105" fmla="*/ 9295 h 10000"/>
                <a:gd name="connsiteX106" fmla="*/ 7288 w 10000"/>
                <a:gd name="connsiteY106" fmla="*/ 9395 h 10000"/>
                <a:gd name="connsiteX107" fmla="*/ 7369 w 10000"/>
                <a:gd name="connsiteY107" fmla="*/ 9497 h 10000"/>
                <a:gd name="connsiteX108" fmla="*/ 7462 w 10000"/>
                <a:gd name="connsiteY108" fmla="*/ 9554 h 10000"/>
                <a:gd name="connsiteX109" fmla="*/ 7554 w 10000"/>
                <a:gd name="connsiteY109" fmla="*/ 9626 h 10000"/>
                <a:gd name="connsiteX110" fmla="*/ 7646 w 10000"/>
                <a:gd name="connsiteY110" fmla="*/ 9669 h 10000"/>
                <a:gd name="connsiteX111" fmla="*/ 7748 w 10000"/>
                <a:gd name="connsiteY111" fmla="*/ 9698 h 10000"/>
                <a:gd name="connsiteX112" fmla="*/ 7851 w 10000"/>
                <a:gd name="connsiteY112" fmla="*/ 9741 h 10000"/>
                <a:gd name="connsiteX113" fmla="*/ 7943 w 10000"/>
                <a:gd name="connsiteY11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2272 w 10000"/>
                <a:gd name="connsiteY78" fmla="*/ 0 h 10000"/>
                <a:gd name="connsiteX79" fmla="*/ 2426 w 10000"/>
                <a:gd name="connsiteY79" fmla="*/ 43 h 10000"/>
                <a:gd name="connsiteX80" fmla="*/ 2569 w 10000"/>
                <a:gd name="connsiteY80" fmla="*/ 115 h 10000"/>
                <a:gd name="connsiteX81" fmla="*/ 2712 w 10000"/>
                <a:gd name="connsiteY81" fmla="*/ 188 h 10000"/>
                <a:gd name="connsiteX82" fmla="*/ 2845 w 10000"/>
                <a:gd name="connsiteY82" fmla="*/ 274 h 10000"/>
                <a:gd name="connsiteX83" fmla="*/ 2989 w 10000"/>
                <a:gd name="connsiteY83" fmla="*/ 375 h 10000"/>
                <a:gd name="connsiteX84" fmla="*/ 3112 w 10000"/>
                <a:gd name="connsiteY84" fmla="*/ 461 h 10000"/>
                <a:gd name="connsiteX85" fmla="*/ 3234 w 10000"/>
                <a:gd name="connsiteY85" fmla="*/ 590 h 10000"/>
                <a:gd name="connsiteX86" fmla="*/ 3367 w 10000"/>
                <a:gd name="connsiteY86" fmla="*/ 720 h 10000"/>
                <a:gd name="connsiteX87" fmla="*/ 3490 w 10000"/>
                <a:gd name="connsiteY87" fmla="*/ 850 h 10000"/>
                <a:gd name="connsiteX88" fmla="*/ 3726 w 10000"/>
                <a:gd name="connsiteY88" fmla="*/ 1137 h 10000"/>
                <a:gd name="connsiteX89" fmla="*/ 3941 w 10000"/>
                <a:gd name="connsiteY89" fmla="*/ 1482 h 10000"/>
                <a:gd name="connsiteX90" fmla="*/ 4145 w 10000"/>
                <a:gd name="connsiteY90" fmla="*/ 1842 h 10000"/>
                <a:gd name="connsiteX91" fmla="*/ 4340 w 10000"/>
                <a:gd name="connsiteY91" fmla="*/ 2231 h 10000"/>
                <a:gd name="connsiteX92" fmla="*/ 4534 w 10000"/>
                <a:gd name="connsiteY92" fmla="*/ 2634 h 10000"/>
                <a:gd name="connsiteX93" fmla="*/ 4708 w 10000"/>
                <a:gd name="connsiteY93" fmla="*/ 3051 h 10000"/>
                <a:gd name="connsiteX94" fmla="*/ 4893 w 10000"/>
                <a:gd name="connsiteY94" fmla="*/ 3483 h 10000"/>
                <a:gd name="connsiteX95" fmla="*/ 5056 w 10000"/>
                <a:gd name="connsiteY95" fmla="*/ 3927 h 10000"/>
                <a:gd name="connsiteX96" fmla="*/ 5363 w 10000"/>
                <a:gd name="connsiteY96" fmla="*/ 4834 h 10000"/>
                <a:gd name="connsiteX97" fmla="*/ 5967 w 10000"/>
                <a:gd name="connsiteY97" fmla="*/ 6633 h 10000"/>
                <a:gd name="connsiteX98" fmla="*/ 6254 w 10000"/>
                <a:gd name="connsiteY98" fmla="*/ 7468 h 10000"/>
                <a:gd name="connsiteX99" fmla="*/ 6407 w 10000"/>
                <a:gd name="connsiteY99" fmla="*/ 7828 h 10000"/>
                <a:gd name="connsiteX100" fmla="*/ 6551 w 10000"/>
                <a:gd name="connsiteY100" fmla="*/ 8201 h 10000"/>
                <a:gd name="connsiteX101" fmla="*/ 6714 w 10000"/>
                <a:gd name="connsiteY101" fmla="*/ 8533 h 10000"/>
                <a:gd name="connsiteX102" fmla="*/ 6868 w 10000"/>
                <a:gd name="connsiteY102" fmla="*/ 8821 h 10000"/>
                <a:gd name="connsiteX103" fmla="*/ 7021 w 10000"/>
                <a:gd name="connsiteY103" fmla="*/ 9093 h 10000"/>
                <a:gd name="connsiteX104" fmla="*/ 7195 w 10000"/>
                <a:gd name="connsiteY104" fmla="*/ 9295 h 10000"/>
                <a:gd name="connsiteX105" fmla="*/ 7288 w 10000"/>
                <a:gd name="connsiteY105" fmla="*/ 9395 h 10000"/>
                <a:gd name="connsiteX106" fmla="*/ 7369 w 10000"/>
                <a:gd name="connsiteY106" fmla="*/ 9497 h 10000"/>
                <a:gd name="connsiteX107" fmla="*/ 7462 w 10000"/>
                <a:gd name="connsiteY107" fmla="*/ 9554 h 10000"/>
                <a:gd name="connsiteX108" fmla="*/ 7554 w 10000"/>
                <a:gd name="connsiteY108" fmla="*/ 9626 h 10000"/>
                <a:gd name="connsiteX109" fmla="*/ 7646 w 10000"/>
                <a:gd name="connsiteY109" fmla="*/ 9669 h 10000"/>
                <a:gd name="connsiteX110" fmla="*/ 7748 w 10000"/>
                <a:gd name="connsiteY110" fmla="*/ 9698 h 10000"/>
                <a:gd name="connsiteX111" fmla="*/ 7851 w 10000"/>
                <a:gd name="connsiteY111" fmla="*/ 9741 h 10000"/>
                <a:gd name="connsiteX112" fmla="*/ 7943 w 10000"/>
                <a:gd name="connsiteY11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819 w 10000"/>
                <a:gd name="connsiteY76" fmla="*/ 188 h 10000"/>
                <a:gd name="connsiteX77" fmla="*/ 2272 w 10000"/>
                <a:gd name="connsiteY77" fmla="*/ 0 h 10000"/>
                <a:gd name="connsiteX78" fmla="*/ 2426 w 10000"/>
                <a:gd name="connsiteY78" fmla="*/ 43 h 10000"/>
                <a:gd name="connsiteX79" fmla="*/ 2569 w 10000"/>
                <a:gd name="connsiteY79" fmla="*/ 115 h 10000"/>
                <a:gd name="connsiteX80" fmla="*/ 2712 w 10000"/>
                <a:gd name="connsiteY80" fmla="*/ 188 h 10000"/>
                <a:gd name="connsiteX81" fmla="*/ 2845 w 10000"/>
                <a:gd name="connsiteY81" fmla="*/ 274 h 10000"/>
                <a:gd name="connsiteX82" fmla="*/ 2989 w 10000"/>
                <a:gd name="connsiteY82" fmla="*/ 375 h 10000"/>
                <a:gd name="connsiteX83" fmla="*/ 3112 w 10000"/>
                <a:gd name="connsiteY83" fmla="*/ 461 h 10000"/>
                <a:gd name="connsiteX84" fmla="*/ 3234 w 10000"/>
                <a:gd name="connsiteY84" fmla="*/ 590 h 10000"/>
                <a:gd name="connsiteX85" fmla="*/ 3367 w 10000"/>
                <a:gd name="connsiteY85" fmla="*/ 720 h 10000"/>
                <a:gd name="connsiteX86" fmla="*/ 3490 w 10000"/>
                <a:gd name="connsiteY86" fmla="*/ 850 h 10000"/>
                <a:gd name="connsiteX87" fmla="*/ 3726 w 10000"/>
                <a:gd name="connsiteY87" fmla="*/ 1137 h 10000"/>
                <a:gd name="connsiteX88" fmla="*/ 3941 w 10000"/>
                <a:gd name="connsiteY88" fmla="*/ 1482 h 10000"/>
                <a:gd name="connsiteX89" fmla="*/ 4145 w 10000"/>
                <a:gd name="connsiteY89" fmla="*/ 1842 h 10000"/>
                <a:gd name="connsiteX90" fmla="*/ 4340 w 10000"/>
                <a:gd name="connsiteY90" fmla="*/ 2231 h 10000"/>
                <a:gd name="connsiteX91" fmla="*/ 4534 w 10000"/>
                <a:gd name="connsiteY91" fmla="*/ 2634 h 10000"/>
                <a:gd name="connsiteX92" fmla="*/ 4708 w 10000"/>
                <a:gd name="connsiteY92" fmla="*/ 3051 h 10000"/>
                <a:gd name="connsiteX93" fmla="*/ 4893 w 10000"/>
                <a:gd name="connsiteY93" fmla="*/ 3483 h 10000"/>
                <a:gd name="connsiteX94" fmla="*/ 5056 w 10000"/>
                <a:gd name="connsiteY94" fmla="*/ 3927 h 10000"/>
                <a:gd name="connsiteX95" fmla="*/ 5363 w 10000"/>
                <a:gd name="connsiteY95" fmla="*/ 4834 h 10000"/>
                <a:gd name="connsiteX96" fmla="*/ 5967 w 10000"/>
                <a:gd name="connsiteY96" fmla="*/ 6633 h 10000"/>
                <a:gd name="connsiteX97" fmla="*/ 6254 w 10000"/>
                <a:gd name="connsiteY97" fmla="*/ 7468 h 10000"/>
                <a:gd name="connsiteX98" fmla="*/ 6407 w 10000"/>
                <a:gd name="connsiteY98" fmla="*/ 7828 h 10000"/>
                <a:gd name="connsiteX99" fmla="*/ 6551 w 10000"/>
                <a:gd name="connsiteY99" fmla="*/ 8201 h 10000"/>
                <a:gd name="connsiteX100" fmla="*/ 6714 w 10000"/>
                <a:gd name="connsiteY100" fmla="*/ 8533 h 10000"/>
                <a:gd name="connsiteX101" fmla="*/ 6868 w 10000"/>
                <a:gd name="connsiteY101" fmla="*/ 8821 h 10000"/>
                <a:gd name="connsiteX102" fmla="*/ 7021 w 10000"/>
                <a:gd name="connsiteY102" fmla="*/ 9093 h 10000"/>
                <a:gd name="connsiteX103" fmla="*/ 7195 w 10000"/>
                <a:gd name="connsiteY103" fmla="*/ 9295 h 10000"/>
                <a:gd name="connsiteX104" fmla="*/ 7288 w 10000"/>
                <a:gd name="connsiteY104" fmla="*/ 9395 h 10000"/>
                <a:gd name="connsiteX105" fmla="*/ 7369 w 10000"/>
                <a:gd name="connsiteY105" fmla="*/ 9497 h 10000"/>
                <a:gd name="connsiteX106" fmla="*/ 7462 w 10000"/>
                <a:gd name="connsiteY106" fmla="*/ 9554 h 10000"/>
                <a:gd name="connsiteX107" fmla="*/ 7554 w 10000"/>
                <a:gd name="connsiteY107" fmla="*/ 9626 h 10000"/>
                <a:gd name="connsiteX108" fmla="*/ 7646 w 10000"/>
                <a:gd name="connsiteY108" fmla="*/ 9669 h 10000"/>
                <a:gd name="connsiteX109" fmla="*/ 7748 w 10000"/>
                <a:gd name="connsiteY109" fmla="*/ 9698 h 10000"/>
                <a:gd name="connsiteX110" fmla="*/ 7851 w 10000"/>
                <a:gd name="connsiteY110" fmla="*/ 9741 h 10000"/>
                <a:gd name="connsiteX111" fmla="*/ 7943 w 10000"/>
                <a:gd name="connsiteY11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2272 w 10000"/>
                <a:gd name="connsiteY76" fmla="*/ 0 h 10000"/>
                <a:gd name="connsiteX77" fmla="*/ 2426 w 10000"/>
                <a:gd name="connsiteY77" fmla="*/ 43 h 10000"/>
                <a:gd name="connsiteX78" fmla="*/ 2569 w 10000"/>
                <a:gd name="connsiteY78" fmla="*/ 115 h 10000"/>
                <a:gd name="connsiteX79" fmla="*/ 2712 w 10000"/>
                <a:gd name="connsiteY79" fmla="*/ 188 h 10000"/>
                <a:gd name="connsiteX80" fmla="*/ 2845 w 10000"/>
                <a:gd name="connsiteY80" fmla="*/ 274 h 10000"/>
                <a:gd name="connsiteX81" fmla="*/ 2989 w 10000"/>
                <a:gd name="connsiteY81" fmla="*/ 375 h 10000"/>
                <a:gd name="connsiteX82" fmla="*/ 3112 w 10000"/>
                <a:gd name="connsiteY82" fmla="*/ 461 h 10000"/>
                <a:gd name="connsiteX83" fmla="*/ 3234 w 10000"/>
                <a:gd name="connsiteY83" fmla="*/ 590 h 10000"/>
                <a:gd name="connsiteX84" fmla="*/ 3367 w 10000"/>
                <a:gd name="connsiteY84" fmla="*/ 720 h 10000"/>
                <a:gd name="connsiteX85" fmla="*/ 3490 w 10000"/>
                <a:gd name="connsiteY85" fmla="*/ 850 h 10000"/>
                <a:gd name="connsiteX86" fmla="*/ 3726 w 10000"/>
                <a:gd name="connsiteY86" fmla="*/ 1137 h 10000"/>
                <a:gd name="connsiteX87" fmla="*/ 3941 w 10000"/>
                <a:gd name="connsiteY87" fmla="*/ 1482 h 10000"/>
                <a:gd name="connsiteX88" fmla="*/ 4145 w 10000"/>
                <a:gd name="connsiteY88" fmla="*/ 1842 h 10000"/>
                <a:gd name="connsiteX89" fmla="*/ 4340 w 10000"/>
                <a:gd name="connsiteY89" fmla="*/ 2231 h 10000"/>
                <a:gd name="connsiteX90" fmla="*/ 4534 w 10000"/>
                <a:gd name="connsiteY90" fmla="*/ 2634 h 10000"/>
                <a:gd name="connsiteX91" fmla="*/ 4708 w 10000"/>
                <a:gd name="connsiteY91" fmla="*/ 3051 h 10000"/>
                <a:gd name="connsiteX92" fmla="*/ 4893 w 10000"/>
                <a:gd name="connsiteY92" fmla="*/ 3483 h 10000"/>
                <a:gd name="connsiteX93" fmla="*/ 5056 w 10000"/>
                <a:gd name="connsiteY93" fmla="*/ 3927 h 10000"/>
                <a:gd name="connsiteX94" fmla="*/ 5363 w 10000"/>
                <a:gd name="connsiteY94" fmla="*/ 4834 h 10000"/>
                <a:gd name="connsiteX95" fmla="*/ 5967 w 10000"/>
                <a:gd name="connsiteY95" fmla="*/ 6633 h 10000"/>
                <a:gd name="connsiteX96" fmla="*/ 6254 w 10000"/>
                <a:gd name="connsiteY96" fmla="*/ 7468 h 10000"/>
                <a:gd name="connsiteX97" fmla="*/ 6407 w 10000"/>
                <a:gd name="connsiteY97" fmla="*/ 7828 h 10000"/>
                <a:gd name="connsiteX98" fmla="*/ 6551 w 10000"/>
                <a:gd name="connsiteY98" fmla="*/ 8201 h 10000"/>
                <a:gd name="connsiteX99" fmla="*/ 6714 w 10000"/>
                <a:gd name="connsiteY99" fmla="*/ 8533 h 10000"/>
                <a:gd name="connsiteX100" fmla="*/ 6868 w 10000"/>
                <a:gd name="connsiteY100" fmla="*/ 8821 h 10000"/>
                <a:gd name="connsiteX101" fmla="*/ 7021 w 10000"/>
                <a:gd name="connsiteY101" fmla="*/ 9093 h 10000"/>
                <a:gd name="connsiteX102" fmla="*/ 7195 w 10000"/>
                <a:gd name="connsiteY102" fmla="*/ 9295 h 10000"/>
                <a:gd name="connsiteX103" fmla="*/ 7288 w 10000"/>
                <a:gd name="connsiteY103" fmla="*/ 9395 h 10000"/>
                <a:gd name="connsiteX104" fmla="*/ 7369 w 10000"/>
                <a:gd name="connsiteY104" fmla="*/ 9497 h 10000"/>
                <a:gd name="connsiteX105" fmla="*/ 7462 w 10000"/>
                <a:gd name="connsiteY105" fmla="*/ 9554 h 10000"/>
                <a:gd name="connsiteX106" fmla="*/ 7554 w 10000"/>
                <a:gd name="connsiteY106" fmla="*/ 9626 h 10000"/>
                <a:gd name="connsiteX107" fmla="*/ 7646 w 10000"/>
                <a:gd name="connsiteY107" fmla="*/ 9669 h 10000"/>
                <a:gd name="connsiteX108" fmla="*/ 7748 w 10000"/>
                <a:gd name="connsiteY108" fmla="*/ 9698 h 10000"/>
                <a:gd name="connsiteX109" fmla="*/ 7851 w 10000"/>
                <a:gd name="connsiteY109" fmla="*/ 9741 h 10000"/>
                <a:gd name="connsiteX110" fmla="*/ 7943 w 10000"/>
                <a:gd name="connsiteY110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706 w 10000"/>
                <a:gd name="connsiteY65" fmla="*/ 1050 h 10000"/>
                <a:gd name="connsiteX66" fmla="*/ 604 w 10000"/>
                <a:gd name="connsiteY66" fmla="*/ 1224 h 10000"/>
                <a:gd name="connsiteX67" fmla="*/ 491 w 10000"/>
                <a:gd name="connsiteY67" fmla="*/ 1425 h 10000"/>
                <a:gd name="connsiteX68" fmla="*/ 399 w 10000"/>
                <a:gd name="connsiteY68" fmla="*/ 1627 h 10000"/>
                <a:gd name="connsiteX69" fmla="*/ 194 w 10000"/>
                <a:gd name="connsiteY69" fmla="*/ 2101 h 10000"/>
                <a:gd name="connsiteX70" fmla="*/ 0 w 10000"/>
                <a:gd name="connsiteY70" fmla="*/ 2591 h 10000"/>
                <a:gd name="connsiteX71" fmla="*/ 10 w 10000"/>
                <a:gd name="connsiteY71" fmla="*/ 907 h 10000"/>
                <a:gd name="connsiteX72" fmla="*/ 205 w 10000"/>
                <a:gd name="connsiteY72" fmla="*/ 691 h 10000"/>
                <a:gd name="connsiteX73" fmla="*/ 399 w 10000"/>
                <a:gd name="connsiteY73" fmla="*/ 504 h 10000"/>
                <a:gd name="connsiteX74" fmla="*/ 604 w 10000"/>
                <a:gd name="connsiteY74" fmla="*/ 317 h 10000"/>
                <a:gd name="connsiteX75" fmla="*/ 2272 w 10000"/>
                <a:gd name="connsiteY75" fmla="*/ 0 h 10000"/>
                <a:gd name="connsiteX76" fmla="*/ 2426 w 10000"/>
                <a:gd name="connsiteY76" fmla="*/ 43 h 10000"/>
                <a:gd name="connsiteX77" fmla="*/ 2569 w 10000"/>
                <a:gd name="connsiteY77" fmla="*/ 115 h 10000"/>
                <a:gd name="connsiteX78" fmla="*/ 2712 w 10000"/>
                <a:gd name="connsiteY78" fmla="*/ 188 h 10000"/>
                <a:gd name="connsiteX79" fmla="*/ 2845 w 10000"/>
                <a:gd name="connsiteY79" fmla="*/ 274 h 10000"/>
                <a:gd name="connsiteX80" fmla="*/ 2989 w 10000"/>
                <a:gd name="connsiteY80" fmla="*/ 375 h 10000"/>
                <a:gd name="connsiteX81" fmla="*/ 3112 w 10000"/>
                <a:gd name="connsiteY81" fmla="*/ 461 h 10000"/>
                <a:gd name="connsiteX82" fmla="*/ 3234 w 10000"/>
                <a:gd name="connsiteY82" fmla="*/ 590 h 10000"/>
                <a:gd name="connsiteX83" fmla="*/ 3367 w 10000"/>
                <a:gd name="connsiteY83" fmla="*/ 720 h 10000"/>
                <a:gd name="connsiteX84" fmla="*/ 3490 w 10000"/>
                <a:gd name="connsiteY84" fmla="*/ 850 h 10000"/>
                <a:gd name="connsiteX85" fmla="*/ 3726 w 10000"/>
                <a:gd name="connsiteY85" fmla="*/ 1137 h 10000"/>
                <a:gd name="connsiteX86" fmla="*/ 3941 w 10000"/>
                <a:gd name="connsiteY86" fmla="*/ 1482 h 10000"/>
                <a:gd name="connsiteX87" fmla="*/ 4145 w 10000"/>
                <a:gd name="connsiteY87" fmla="*/ 1842 h 10000"/>
                <a:gd name="connsiteX88" fmla="*/ 4340 w 10000"/>
                <a:gd name="connsiteY88" fmla="*/ 2231 h 10000"/>
                <a:gd name="connsiteX89" fmla="*/ 4534 w 10000"/>
                <a:gd name="connsiteY89" fmla="*/ 2634 h 10000"/>
                <a:gd name="connsiteX90" fmla="*/ 4708 w 10000"/>
                <a:gd name="connsiteY90" fmla="*/ 3051 h 10000"/>
                <a:gd name="connsiteX91" fmla="*/ 4893 w 10000"/>
                <a:gd name="connsiteY91" fmla="*/ 3483 h 10000"/>
                <a:gd name="connsiteX92" fmla="*/ 5056 w 10000"/>
                <a:gd name="connsiteY92" fmla="*/ 3927 h 10000"/>
                <a:gd name="connsiteX93" fmla="*/ 5363 w 10000"/>
                <a:gd name="connsiteY93" fmla="*/ 4834 h 10000"/>
                <a:gd name="connsiteX94" fmla="*/ 5967 w 10000"/>
                <a:gd name="connsiteY94" fmla="*/ 6633 h 10000"/>
                <a:gd name="connsiteX95" fmla="*/ 6254 w 10000"/>
                <a:gd name="connsiteY95" fmla="*/ 7468 h 10000"/>
                <a:gd name="connsiteX96" fmla="*/ 6407 w 10000"/>
                <a:gd name="connsiteY96" fmla="*/ 7828 h 10000"/>
                <a:gd name="connsiteX97" fmla="*/ 6551 w 10000"/>
                <a:gd name="connsiteY97" fmla="*/ 8201 h 10000"/>
                <a:gd name="connsiteX98" fmla="*/ 6714 w 10000"/>
                <a:gd name="connsiteY98" fmla="*/ 8533 h 10000"/>
                <a:gd name="connsiteX99" fmla="*/ 6868 w 10000"/>
                <a:gd name="connsiteY99" fmla="*/ 8821 h 10000"/>
                <a:gd name="connsiteX100" fmla="*/ 7021 w 10000"/>
                <a:gd name="connsiteY100" fmla="*/ 9093 h 10000"/>
                <a:gd name="connsiteX101" fmla="*/ 7195 w 10000"/>
                <a:gd name="connsiteY101" fmla="*/ 9295 h 10000"/>
                <a:gd name="connsiteX102" fmla="*/ 7288 w 10000"/>
                <a:gd name="connsiteY102" fmla="*/ 9395 h 10000"/>
                <a:gd name="connsiteX103" fmla="*/ 7369 w 10000"/>
                <a:gd name="connsiteY103" fmla="*/ 9497 h 10000"/>
                <a:gd name="connsiteX104" fmla="*/ 7462 w 10000"/>
                <a:gd name="connsiteY104" fmla="*/ 9554 h 10000"/>
                <a:gd name="connsiteX105" fmla="*/ 7554 w 10000"/>
                <a:gd name="connsiteY105" fmla="*/ 9626 h 10000"/>
                <a:gd name="connsiteX106" fmla="*/ 7646 w 10000"/>
                <a:gd name="connsiteY106" fmla="*/ 9669 h 10000"/>
                <a:gd name="connsiteX107" fmla="*/ 7748 w 10000"/>
                <a:gd name="connsiteY107" fmla="*/ 9698 h 10000"/>
                <a:gd name="connsiteX108" fmla="*/ 7851 w 10000"/>
                <a:gd name="connsiteY108" fmla="*/ 9741 h 10000"/>
                <a:gd name="connsiteX109" fmla="*/ 7943 w 10000"/>
                <a:gd name="connsiteY109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604 w 10000"/>
                <a:gd name="connsiteY65" fmla="*/ 1224 h 10000"/>
                <a:gd name="connsiteX66" fmla="*/ 491 w 10000"/>
                <a:gd name="connsiteY66" fmla="*/ 1425 h 10000"/>
                <a:gd name="connsiteX67" fmla="*/ 399 w 10000"/>
                <a:gd name="connsiteY67" fmla="*/ 1627 h 10000"/>
                <a:gd name="connsiteX68" fmla="*/ 194 w 10000"/>
                <a:gd name="connsiteY68" fmla="*/ 2101 h 10000"/>
                <a:gd name="connsiteX69" fmla="*/ 0 w 10000"/>
                <a:gd name="connsiteY69" fmla="*/ 2591 h 10000"/>
                <a:gd name="connsiteX70" fmla="*/ 10 w 10000"/>
                <a:gd name="connsiteY70" fmla="*/ 907 h 10000"/>
                <a:gd name="connsiteX71" fmla="*/ 205 w 10000"/>
                <a:gd name="connsiteY71" fmla="*/ 691 h 10000"/>
                <a:gd name="connsiteX72" fmla="*/ 399 w 10000"/>
                <a:gd name="connsiteY72" fmla="*/ 504 h 10000"/>
                <a:gd name="connsiteX73" fmla="*/ 604 w 10000"/>
                <a:gd name="connsiteY73" fmla="*/ 317 h 10000"/>
                <a:gd name="connsiteX74" fmla="*/ 2272 w 10000"/>
                <a:gd name="connsiteY74" fmla="*/ 0 h 10000"/>
                <a:gd name="connsiteX75" fmla="*/ 2426 w 10000"/>
                <a:gd name="connsiteY75" fmla="*/ 43 h 10000"/>
                <a:gd name="connsiteX76" fmla="*/ 2569 w 10000"/>
                <a:gd name="connsiteY76" fmla="*/ 115 h 10000"/>
                <a:gd name="connsiteX77" fmla="*/ 2712 w 10000"/>
                <a:gd name="connsiteY77" fmla="*/ 188 h 10000"/>
                <a:gd name="connsiteX78" fmla="*/ 2845 w 10000"/>
                <a:gd name="connsiteY78" fmla="*/ 274 h 10000"/>
                <a:gd name="connsiteX79" fmla="*/ 2989 w 10000"/>
                <a:gd name="connsiteY79" fmla="*/ 375 h 10000"/>
                <a:gd name="connsiteX80" fmla="*/ 3112 w 10000"/>
                <a:gd name="connsiteY80" fmla="*/ 461 h 10000"/>
                <a:gd name="connsiteX81" fmla="*/ 3234 w 10000"/>
                <a:gd name="connsiteY81" fmla="*/ 590 h 10000"/>
                <a:gd name="connsiteX82" fmla="*/ 3367 w 10000"/>
                <a:gd name="connsiteY82" fmla="*/ 720 h 10000"/>
                <a:gd name="connsiteX83" fmla="*/ 3490 w 10000"/>
                <a:gd name="connsiteY83" fmla="*/ 850 h 10000"/>
                <a:gd name="connsiteX84" fmla="*/ 3726 w 10000"/>
                <a:gd name="connsiteY84" fmla="*/ 1137 h 10000"/>
                <a:gd name="connsiteX85" fmla="*/ 3941 w 10000"/>
                <a:gd name="connsiteY85" fmla="*/ 1482 h 10000"/>
                <a:gd name="connsiteX86" fmla="*/ 4145 w 10000"/>
                <a:gd name="connsiteY86" fmla="*/ 1842 h 10000"/>
                <a:gd name="connsiteX87" fmla="*/ 4340 w 10000"/>
                <a:gd name="connsiteY87" fmla="*/ 2231 h 10000"/>
                <a:gd name="connsiteX88" fmla="*/ 4534 w 10000"/>
                <a:gd name="connsiteY88" fmla="*/ 2634 h 10000"/>
                <a:gd name="connsiteX89" fmla="*/ 4708 w 10000"/>
                <a:gd name="connsiteY89" fmla="*/ 3051 h 10000"/>
                <a:gd name="connsiteX90" fmla="*/ 4893 w 10000"/>
                <a:gd name="connsiteY90" fmla="*/ 3483 h 10000"/>
                <a:gd name="connsiteX91" fmla="*/ 5056 w 10000"/>
                <a:gd name="connsiteY91" fmla="*/ 3927 h 10000"/>
                <a:gd name="connsiteX92" fmla="*/ 5363 w 10000"/>
                <a:gd name="connsiteY92" fmla="*/ 4834 h 10000"/>
                <a:gd name="connsiteX93" fmla="*/ 5967 w 10000"/>
                <a:gd name="connsiteY93" fmla="*/ 6633 h 10000"/>
                <a:gd name="connsiteX94" fmla="*/ 6254 w 10000"/>
                <a:gd name="connsiteY94" fmla="*/ 7468 h 10000"/>
                <a:gd name="connsiteX95" fmla="*/ 6407 w 10000"/>
                <a:gd name="connsiteY95" fmla="*/ 7828 h 10000"/>
                <a:gd name="connsiteX96" fmla="*/ 6551 w 10000"/>
                <a:gd name="connsiteY96" fmla="*/ 8201 h 10000"/>
                <a:gd name="connsiteX97" fmla="*/ 6714 w 10000"/>
                <a:gd name="connsiteY97" fmla="*/ 8533 h 10000"/>
                <a:gd name="connsiteX98" fmla="*/ 6868 w 10000"/>
                <a:gd name="connsiteY98" fmla="*/ 8821 h 10000"/>
                <a:gd name="connsiteX99" fmla="*/ 7021 w 10000"/>
                <a:gd name="connsiteY99" fmla="*/ 9093 h 10000"/>
                <a:gd name="connsiteX100" fmla="*/ 7195 w 10000"/>
                <a:gd name="connsiteY100" fmla="*/ 9295 h 10000"/>
                <a:gd name="connsiteX101" fmla="*/ 7288 w 10000"/>
                <a:gd name="connsiteY101" fmla="*/ 9395 h 10000"/>
                <a:gd name="connsiteX102" fmla="*/ 7369 w 10000"/>
                <a:gd name="connsiteY102" fmla="*/ 9497 h 10000"/>
                <a:gd name="connsiteX103" fmla="*/ 7462 w 10000"/>
                <a:gd name="connsiteY103" fmla="*/ 9554 h 10000"/>
                <a:gd name="connsiteX104" fmla="*/ 7554 w 10000"/>
                <a:gd name="connsiteY104" fmla="*/ 9626 h 10000"/>
                <a:gd name="connsiteX105" fmla="*/ 7646 w 10000"/>
                <a:gd name="connsiteY105" fmla="*/ 9669 h 10000"/>
                <a:gd name="connsiteX106" fmla="*/ 7748 w 10000"/>
                <a:gd name="connsiteY106" fmla="*/ 9698 h 10000"/>
                <a:gd name="connsiteX107" fmla="*/ 7851 w 10000"/>
                <a:gd name="connsiteY107" fmla="*/ 9741 h 10000"/>
                <a:gd name="connsiteX108" fmla="*/ 7943 w 10000"/>
                <a:gd name="connsiteY108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604 w 10000"/>
                <a:gd name="connsiteY72" fmla="*/ 317 h 10000"/>
                <a:gd name="connsiteX73" fmla="*/ 2272 w 10000"/>
                <a:gd name="connsiteY73" fmla="*/ 0 h 10000"/>
                <a:gd name="connsiteX74" fmla="*/ 2426 w 10000"/>
                <a:gd name="connsiteY74" fmla="*/ 43 h 10000"/>
                <a:gd name="connsiteX75" fmla="*/ 2569 w 10000"/>
                <a:gd name="connsiteY75" fmla="*/ 115 h 10000"/>
                <a:gd name="connsiteX76" fmla="*/ 2712 w 10000"/>
                <a:gd name="connsiteY76" fmla="*/ 188 h 10000"/>
                <a:gd name="connsiteX77" fmla="*/ 2845 w 10000"/>
                <a:gd name="connsiteY77" fmla="*/ 274 h 10000"/>
                <a:gd name="connsiteX78" fmla="*/ 2989 w 10000"/>
                <a:gd name="connsiteY78" fmla="*/ 375 h 10000"/>
                <a:gd name="connsiteX79" fmla="*/ 3112 w 10000"/>
                <a:gd name="connsiteY79" fmla="*/ 461 h 10000"/>
                <a:gd name="connsiteX80" fmla="*/ 3234 w 10000"/>
                <a:gd name="connsiteY80" fmla="*/ 590 h 10000"/>
                <a:gd name="connsiteX81" fmla="*/ 3367 w 10000"/>
                <a:gd name="connsiteY81" fmla="*/ 720 h 10000"/>
                <a:gd name="connsiteX82" fmla="*/ 3490 w 10000"/>
                <a:gd name="connsiteY82" fmla="*/ 850 h 10000"/>
                <a:gd name="connsiteX83" fmla="*/ 3726 w 10000"/>
                <a:gd name="connsiteY83" fmla="*/ 1137 h 10000"/>
                <a:gd name="connsiteX84" fmla="*/ 3941 w 10000"/>
                <a:gd name="connsiteY84" fmla="*/ 1482 h 10000"/>
                <a:gd name="connsiteX85" fmla="*/ 4145 w 10000"/>
                <a:gd name="connsiteY85" fmla="*/ 1842 h 10000"/>
                <a:gd name="connsiteX86" fmla="*/ 4340 w 10000"/>
                <a:gd name="connsiteY86" fmla="*/ 2231 h 10000"/>
                <a:gd name="connsiteX87" fmla="*/ 4534 w 10000"/>
                <a:gd name="connsiteY87" fmla="*/ 2634 h 10000"/>
                <a:gd name="connsiteX88" fmla="*/ 4708 w 10000"/>
                <a:gd name="connsiteY88" fmla="*/ 3051 h 10000"/>
                <a:gd name="connsiteX89" fmla="*/ 4893 w 10000"/>
                <a:gd name="connsiteY89" fmla="*/ 3483 h 10000"/>
                <a:gd name="connsiteX90" fmla="*/ 5056 w 10000"/>
                <a:gd name="connsiteY90" fmla="*/ 3927 h 10000"/>
                <a:gd name="connsiteX91" fmla="*/ 5363 w 10000"/>
                <a:gd name="connsiteY91" fmla="*/ 4834 h 10000"/>
                <a:gd name="connsiteX92" fmla="*/ 5967 w 10000"/>
                <a:gd name="connsiteY92" fmla="*/ 6633 h 10000"/>
                <a:gd name="connsiteX93" fmla="*/ 6254 w 10000"/>
                <a:gd name="connsiteY93" fmla="*/ 7468 h 10000"/>
                <a:gd name="connsiteX94" fmla="*/ 6407 w 10000"/>
                <a:gd name="connsiteY94" fmla="*/ 7828 h 10000"/>
                <a:gd name="connsiteX95" fmla="*/ 6551 w 10000"/>
                <a:gd name="connsiteY95" fmla="*/ 8201 h 10000"/>
                <a:gd name="connsiteX96" fmla="*/ 6714 w 10000"/>
                <a:gd name="connsiteY96" fmla="*/ 8533 h 10000"/>
                <a:gd name="connsiteX97" fmla="*/ 6868 w 10000"/>
                <a:gd name="connsiteY97" fmla="*/ 8821 h 10000"/>
                <a:gd name="connsiteX98" fmla="*/ 7021 w 10000"/>
                <a:gd name="connsiteY98" fmla="*/ 9093 h 10000"/>
                <a:gd name="connsiteX99" fmla="*/ 7195 w 10000"/>
                <a:gd name="connsiteY99" fmla="*/ 9295 h 10000"/>
                <a:gd name="connsiteX100" fmla="*/ 7288 w 10000"/>
                <a:gd name="connsiteY100" fmla="*/ 9395 h 10000"/>
                <a:gd name="connsiteX101" fmla="*/ 7369 w 10000"/>
                <a:gd name="connsiteY101" fmla="*/ 9497 h 10000"/>
                <a:gd name="connsiteX102" fmla="*/ 7462 w 10000"/>
                <a:gd name="connsiteY102" fmla="*/ 9554 h 10000"/>
                <a:gd name="connsiteX103" fmla="*/ 7554 w 10000"/>
                <a:gd name="connsiteY103" fmla="*/ 9626 h 10000"/>
                <a:gd name="connsiteX104" fmla="*/ 7646 w 10000"/>
                <a:gd name="connsiteY104" fmla="*/ 9669 h 10000"/>
                <a:gd name="connsiteX105" fmla="*/ 7748 w 10000"/>
                <a:gd name="connsiteY105" fmla="*/ 9698 h 10000"/>
                <a:gd name="connsiteX106" fmla="*/ 7851 w 10000"/>
                <a:gd name="connsiteY106" fmla="*/ 9741 h 10000"/>
                <a:gd name="connsiteX107" fmla="*/ 7943 w 10000"/>
                <a:gd name="connsiteY107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2272 w 10000"/>
                <a:gd name="connsiteY72" fmla="*/ 0 h 10000"/>
                <a:gd name="connsiteX73" fmla="*/ 2426 w 10000"/>
                <a:gd name="connsiteY73" fmla="*/ 43 h 10000"/>
                <a:gd name="connsiteX74" fmla="*/ 2569 w 10000"/>
                <a:gd name="connsiteY74" fmla="*/ 115 h 10000"/>
                <a:gd name="connsiteX75" fmla="*/ 2712 w 10000"/>
                <a:gd name="connsiteY75" fmla="*/ 188 h 10000"/>
                <a:gd name="connsiteX76" fmla="*/ 2845 w 10000"/>
                <a:gd name="connsiteY76" fmla="*/ 274 h 10000"/>
                <a:gd name="connsiteX77" fmla="*/ 2989 w 10000"/>
                <a:gd name="connsiteY77" fmla="*/ 375 h 10000"/>
                <a:gd name="connsiteX78" fmla="*/ 3112 w 10000"/>
                <a:gd name="connsiteY78" fmla="*/ 461 h 10000"/>
                <a:gd name="connsiteX79" fmla="*/ 3234 w 10000"/>
                <a:gd name="connsiteY79" fmla="*/ 590 h 10000"/>
                <a:gd name="connsiteX80" fmla="*/ 3367 w 10000"/>
                <a:gd name="connsiteY80" fmla="*/ 720 h 10000"/>
                <a:gd name="connsiteX81" fmla="*/ 3490 w 10000"/>
                <a:gd name="connsiteY81" fmla="*/ 850 h 10000"/>
                <a:gd name="connsiteX82" fmla="*/ 3726 w 10000"/>
                <a:gd name="connsiteY82" fmla="*/ 1137 h 10000"/>
                <a:gd name="connsiteX83" fmla="*/ 3941 w 10000"/>
                <a:gd name="connsiteY83" fmla="*/ 1482 h 10000"/>
                <a:gd name="connsiteX84" fmla="*/ 4145 w 10000"/>
                <a:gd name="connsiteY84" fmla="*/ 1842 h 10000"/>
                <a:gd name="connsiteX85" fmla="*/ 4340 w 10000"/>
                <a:gd name="connsiteY85" fmla="*/ 2231 h 10000"/>
                <a:gd name="connsiteX86" fmla="*/ 4534 w 10000"/>
                <a:gd name="connsiteY86" fmla="*/ 2634 h 10000"/>
                <a:gd name="connsiteX87" fmla="*/ 4708 w 10000"/>
                <a:gd name="connsiteY87" fmla="*/ 3051 h 10000"/>
                <a:gd name="connsiteX88" fmla="*/ 4893 w 10000"/>
                <a:gd name="connsiteY88" fmla="*/ 3483 h 10000"/>
                <a:gd name="connsiteX89" fmla="*/ 5056 w 10000"/>
                <a:gd name="connsiteY89" fmla="*/ 3927 h 10000"/>
                <a:gd name="connsiteX90" fmla="*/ 5363 w 10000"/>
                <a:gd name="connsiteY90" fmla="*/ 4834 h 10000"/>
                <a:gd name="connsiteX91" fmla="*/ 5967 w 10000"/>
                <a:gd name="connsiteY91" fmla="*/ 6633 h 10000"/>
                <a:gd name="connsiteX92" fmla="*/ 6254 w 10000"/>
                <a:gd name="connsiteY92" fmla="*/ 7468 h 10000"/>
                <a:gd name="connsiteX93" fmla="*/ 6407 w 10000"/>
                <a:gd name="connsiteY93" fmla="*/ 7828 h 10000"/>
                <a:gd name="connsiteX94" fmla="*/ 6551 w 10000"/>
                <a:gd name="connsiteY94" fmla="*/ 8201 h 10000"/>
                <a:gd name="connsiteX95" fmla="*/ 6714 w 10000"/>
                <a:gd name="connsiteY95" fmla="*/ 8533 h 10000"/>
                <a:gd name="connsiteX96" fmla="*/ 6868 w 10000"/>
                <a:gd name="connsiteY96" fmla="*/ 8821 h 10000"/>
                <a:gd name="connsiteX97" fmla="*/ 7021 w 10000"/>
                <a:gd name="connsiteY97" fmla="*/ 9093 h 10000"/>
                <a:gd name="connsiteX98" fmla="*/ 7195 w 10000"/>
                <a:gd name="connsiteY98" fmla="*/ 9295 h 10000"/>
                <a:gd name="connsiteX99" fmla="*/ 7288 w 10000"/>
                <a:gd name="connsiteY99" fmla="*/ 9395 h 10000"/>
                <a:gd name="connsiteX100" fmla="*/ 7369 w 10000"/>
                <a:gd name="connsiteY100" fmla="*/ 9497 h 10000"/>
                <a:gd name="connsiteX101" fmla="*/ 7462 w 10000"/>
                <a:gd name="connsiteY101" fmla="*/ 9554 h 10000"/>
                <a:gd name="connsiteX102" fmla="*/ 7554 w 10000"/>
                <a:gd name="connsiteY102" fmla="*/ 9626 h 10000"/>
                <a:gd name="connsiteX103" fmla="*/ 7646 w 10000"/>
                <a:gd name="connsiteY103" fmla="*/ 9669 h 10000"/>
                <a:gd name="connsiteX104" fmla="*/ 7748 w 10000"/>
                <a:gd name="connsiteY104" fmla="*/ 9698 h 10000"/>
                <a:gd name="connsiteX105" fmla="*/ 7851 w 10000"/>
                <a:gd name="connsiteY105" fmla="*/ 9741 h 10000"/>
                <a:gd name="connsiteX106" fmla="*/ 7943 w 10000"/>
                <a:gd name="connsiteY10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2272 w 10000"/>
                <a:gd name="connsiteY71" fmla="*/ 0 h 10000"/>
                <a:gd name="connsiteX72" fmla="*/ 2426 w 10000"/>
                <a:gd name="connsiteY72" fmla="*/ 43 h 10000"/>
                <a:gd name="connsiteX73" fmla="*/ 2569 w 10000"/>
                <a:gd name="connsiteY73" fmla="*/ 115 h 10000"/>
                <a:gd name="connsiteX74" fmla="*/ 2712 w 10000"/>
                <a:gd name="connsiteY74" fmla="*/ 188 h 10000"/>
                <a:gd name="connsiteX75" fmla="*/ 2845 w 10000"/>
                <a:gd name="connsiteY75" fmla="*/ 274 h 10000"/>
                <a:gd name="connsiteX76" fmla="*/ 2989 w 10000"/>
                <a:gd name="connsiteY76" fmla="*/ 375 h 10000"/>
                <a:gd name="connsiteX77" fmla="*/ 3112 w 10000"/>
                <a:gd name="connsiteY77" fmla="*/ 461 h 10000"/>
                <a:gd name="connsiteX78" fmla="*/ 3234 w 10000"/>
                <a:gd name="connsiteY78" fmla="*/ 590 h 10000"/>
                <a:gd name="connsiteX79" fmla="*/ 3367 w 10000"/>
                <a:gd name="connsiteY79" fmla="*/ 720 h 10000"/>
                <a:gd name="connsiteX80" fmla="*/ 3490 w 10000"/>
                <a:gd name="connsiteY80" fmla="*/ 850 h 10000"/>
                <a:gd name="connsiteX81" fmla="*/ 3726 w 10000"/>
                <a:gd name="connsiteY81" fmla="*/ 1137 h 10000"/>
                <a:gd name="connsiteX82" fmla="*/ 3941 w 10000"/>
                <a:gd name="connsiteY82" fmla="*/ 1482 h 10000"/>
                <a:gd name="connsiteX83" fmla="*/ 4145 w 10000"/>
                <a:gd name="connsiteY83" fmla="*/ 1842 h 10000"/>
                <a:gd name="connsiteX84" fmla="*/ 4340 w 10000"/>
                <a:gd name="connsiteY84" fmla="*/ 2231 h 10000"/>
                <a:gd name="connsiteX85" fmla="*/ 4534 w 10000"/>
                <a:gd name="connsiteY85" fmla="*/ 2634 h 10000"/>
                <a:gd name="connsiteX86" fmla="*/ 4708 w 10000"/>
                <a:gd name="connsiteY86" fmla="*/ 3051 h 10000"/>
                <a:gd name="connsiteX87" fmla="*/ 4893 w 10000"/>
                <a:gd name="connsiteY87" fmla="*/ 3483 h 10000"/>
                <a:gd name="connsiteX88" fmla="*/ 5056 w 10000"/>
                <a:gd name="connsiteY88" fmla="*/ 3927 h 10000"/>
                <a:gd name="connsiteX89" fmla="*/ 5363 w 10000"/>
                <a:gd name="connsiteY89" fmla="*/ 4834 h 10000"/>
                <a:gd name="connsiteX90" fmla="*/ 5967 w 10000"/>
                <a:gd name="connsiteY90" fmla="*/ 6633 h 10000"/>
                <a:gd name="connsiteX91" fmla="*/ 6254 w 10000"/>
                <a:gd name="connsiteY91" fmla="*/ 7468 h 10000"/>
                <a:gd name="connsiteX92" fmla="*/ 6407 w 10000"/>
                <a:gd name="connsiteY92" fmla="*/ 7828 h 10000"/>
                <a:gd name="connsiteX93" fmla="*/ 6551 w 10000"/>
                <a:gd name="connsiteY93" fmla="*/ 8201 h 10000"/>
                <a:gd name="connsiteX94" fmla="*/ 6714 w 10000"/>
                <a:gd name="connsiteY94" fmla="*/ 8533 h 10000"/>
                <a:gd name="connsiteX95" fmla="*/ 6868 w 10000"/>
                <a:gd name="connsiteY95" fmla="*/ 8821 h 10000"/>
                <a:gd name="connsiteX96" fmla="*/ 7021 w 10000"/>
                <a:gd name="connsiteY96" fmla="*/ 9093 h 10000"/>
                <a:gd name="connsiteX97" fmla="*/ 7195 w 10000"/>
                <a:gd name="connsiteY97" fmla="*/ 9295 h 10000"/>
                <a:gd name="connsiteX98" fmla="*/ 7288 w 10000"/>
                <a:gd name="connsiteY98" fmla="*/ 9395 h 10000"/>
                <a:gd name="connsiteX99" fmla="*/ 7369 w 10000"/>
                <a:gd name="connsiteY99" fmla="*/ 9497 h 10000"/>
                <a:gd name="connsiteX100" fmla="*/ 7462 w 10000"/>
                <a:gd name="connsiteY100" fmla="*/ 9554 h 10000"/>
                <a:gd name="connsiteX101" fmla="*/ 7554 w 10000"/>
                <a:gd name="connsiteY101" fmla="*/ 9626 h 10000"/>
                <a:gd name="connsiteX102" fmla="*/ 7646 w 10000"/>
                <a:gd name="connsiteY102" fmla="*/ 9669 h 10000"/>
                <a:gd name="connsiteX103" fmla="*/ 7748 w 10000"/>
                <a:gd name="connsiteY103" fmla="*/ 9698 h 10000"/>
                <a:gd name="connsiteX104" fmla="*/ 7851 w 10000"/>
                <a:gd name="connsiteY104" fmla="*/ 9741 h 10000"/>
                <a:gd name="connsiteX105" fmla="*/ 7943 w 10000"/>
                <a:gd name="connsiteY10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399 w 10000"/>
                <a:gd name="connsiteY65" fmla="*/ 1627 h 10000"/>
                <a:gd name="connsiteX66" fmla="*/ 194 w 10000"/>
                <a:gd name="connsiteY66" fmla="*/ 2101 h 10000"/>
                <a:gd name="connsiteX67" fmla="*/ 0 w 10000"/>
                <a:gd name="connsiteY67" fmla="*/ 2591 h 10000"/>
                <a:gd name="connsiteX68" fmla="*/ 10 w 10000"/>
                <a:gd name="connsiteY68" fmla="*/ 907 h 10000"/>
                <a:gd name="connsiteX69" fmla="*/ 205 w 10000"/>
                <a:gd name="connsiteY69" fmla="*/ 691 h 10000"/>
                <a:gd name="connsiteX70" fmla="*/ 2272 w 10000"/>
                <a:gd name="connsiteY70" fmla="*/ 0 h 10000"/>
                <a:gd name="connsiteX71" fmla="*/ 2426 w 10000"/>
                <a:gd name="connsiteY71" fmla="*/ 43 h 10000"/>
                <a:gd name="connsiteX72" fmla="*/ 2569 w 10000"/>
                <a:gd name="connsiteY72" fmla="*/ 115 h 10000"/>
                <a:gd name="connsiteX73" fmla="*/ 2712 w 10000"/>
                <a:gd name="connsiteY73" fmla="*/ 188 h 10000"/>
                <a:gd name="connsiteX74" fmla="*/ 2845 w 10000"/>
                <a:gd name="connsiteY74" fmla="*/ 274 h 10000"/>
                <a:gd name="connsiteX75" fmla="*/ 2989 w 10000"/>
                <a:gd name="connsiteY75" fmla="*/ 375 h 10000"/>
                <a:gd name="connsiteX76" fmla="*/ 3112 w 10000"/>
                <a:gd name="connsiteY76" fmla="*/ 461 h 10000"/>
                <a:gd name="connsiteX77" fmla="*/ 3234 w 10000"/>
                <a:gd name="connsiteY77" fmla="*/ 590 h 10000"/>
                <a:gd name="connsiteX78" fmla="*/ 3367 w 10000"/>
                <a:gd name="connsiteY78" fmla="*/ 720 h 10000"/>
                <a:gd name="connsiteX79" fmla="*/ 3490 w 10000"/>
                <a:gd name="connsiteY79" fmla="*/ 850 h 10000"/>
                <a:gd name="connsiteX80" fmla="*/ 3726 w 10000"/>
                <a:gd name="connsiteY80" fmla="*/ 1137 h 10000"/>
                <a:gd name="connsiteX81" fmla="*/ 3941 w 10000"/>
                <a:gd name="connsiteY81" fmla="*/ 1482 h 10000"/>
                <a:gd name="connsiteX82" fmla="*/ 4145 w 10000"/>
                <a:gd name="connsiteY82" fmla="*/ 1842 h 10000"/>
                <a:gd name="connsiteX83" fmla="*/ 4340 w 10000"/>
                <a:gd name="connsiteY83" fmla="*/ 2231 h 10000"/>
                <a:gd name="connsiteX84" fmla="*/ 4534 w 10000"/>
                <a:gd name="connsiteY84" fmla="*/ 2634 h 10000"/>
                <a:gd name="connsiteX85" fmla="*/ 4708 w 10000"/>
                <a:gd name="connsiteY85" fmla="*/ 3051 h 10000"/>
                <a:gd name="connsiteX86" fmla="*/ 4893 w 10000"/>
                <a:gd name="connsiteY86" fmla="*/ 3483 h 10000"/>
                <a:gd name="connsiteX87" fmla="*/ 5056 w 10000"/>
                <a:gd name="connsiteY87" fmla="*/ 3927 h 10000"/>
                <a:gd name="connsiteX88" fmla="*/ 5363 w 10000"/>
                <a:gd name="connsiteY88" fmla="*/ 4834 h 10000"/>
                <a:gd name="connsiteX89" fmla="*/ 5967 w 10000"/>
                <a:gd name="connsiteY89" fmla="*/ 6633 h 10000"/>
                <a:gd name="connsiteX90" fmla="*/ 6254 w 10000"/>
                <a:gd name="connsiteY90" fmla="*/ 7468 h 10000"/>
                <a:gd name="connsiteX91" fmla="*/ 6407 w 10000"/>
                <a:gd name="connsiteY91" fmla="*/ 7828 h 10000"/>
                <a:gd name="connsiteX92" fmla="*/ 6551 w 10000"/>
                <a:gd name="connsiteY92" fmla="*/ 8201 h 10000"/>
                <a:gd name="connsiteX93" fmla="*/ 6714 w 10000"/>
                <a:gd name="connsiteY93" fmla="*/ 8533 h 10000"/>
                <a:gd name="connsiteX94" fmla="*/ 6868 w 10000"/>
                <a:gd name="connsiteY94" fmla="*/ 8821 h 10000"/>
                <a:gd name="connsiteX95" fmla="*/ 7021 w 10000"/>
                <a:gd name="connsiteY95" fmla="*/ 9093 h 10000"/>
                <a:gd name="connsiteX96" fmla="*/ 7195 w 10000"/>
                <a:gd name="connsiteY96" fmla="*/ 9295 h 10000"/>
                <a:gd name="connsiteX97" fmla="*/ 7288 w 10000"/>
                <a:gd name="connsiteY97" fmla="*/ 9395 h 10000"/>
                <a:gd name="connsiteX98" fmla="*/ 7369 w 10000"/>
                <a:gd name="connsiteY98" fmla="*/ 9497 h 10000"/>
                <a:gd name="connsiteX99" fmla="*/ 7462 w 10000"/>
                <a:gd name="connsiteY99" fmla="*/ 9554 h 10000"/>
                <a:gd name="connsiteX100" fmla="*/ 7554 w 10000"/>
                <a:gd name="connsiteY100" fmla="*/ 9626 h 10000"/>
                <a:gd name="connsiteX101" fmla="*/ 7646 w 10000"/>
                <a:gd name="connsiteY101" fmla="*/ 9669 h 10000"/>
                <a:gd name="connsiteX102" fmla="*/ 7748 w 10000"/>
                <a:gd name="connsiteY102" fmla="*/ 9698 h 10000"/>
                <a:gd name="connsiteX103" fmla="*/ 7851 w 10000"/>
                <a:gd name="connsiteY103" fmla="*/ 9741 h 10000"/>
                <a:gd name="connsiteX104" fmla="*/ 7943 w 10000"/>
                <a:gd name="connsiteY10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194 w 10000"/>
                <a:gd name="connsiteY65" fmla="*/ 2101 h 10000"/>
                <a:gd name="connsiteX66" fmla="*/ 0 w 10000"/>
                <a:gd name="connsiteY66" fmla="*/ 2591 h 10000"/>
                <a:gd name="connsiteX67" fmla="*/ 10 w 10000"/>
                <a:gd name="connsiteY67" fmla="*/ 907 h 10000"/>
                <a:gd name="connsiteX68" fmla="*/ 205 w 10000"/>
                <a:gd name="connsiteY68" fmla="*/ 691 h 10000"/>
                <a:gd name="connsiteX69" fmla="*/ 2272 w 10000"/>
                <a:gd name="connsiteY69" fmla="*/ 0 h 10000"/>
                <a:gd name="connsiteX70" fmla="*/ 2426 w 10000"/>
                <a:gd name="connsiteY70" fmla="*/ 43 h 10000"/>
                <a:gd name="connsiteX71" fmla="*/ 2569 w 10000"/>
                <a:gd name="connsiteY71" fmla="*/ 115 h 10000"/>
                <a:gd name="connsiteX72" fmla="*/ 2712 w 10000"/>
                <a:gd name="connsiteY72" fmla="*/ 188 h 10000"/>
                <a:gd name="connsiteX73" fmla="*/ 2845 w 10000"/>
                <a:gd name="connsiteY73" fmla="*/ 274 h 10000"/>
                <a:gd name="connsiteX74" fmla="*/ 2989 w 10000"/>
                <a:gd name="connsiteY74" fmla="*/ 375 h 10000"/>
                <a:gd name="connsiteX75" fmla="*/ 3112 w 10000"/>
                <a:gd name="connsiteY75" fmla="*/ 461 h 10000"/>
                <a:gd name="connsiteX76" fmla="*/ 3234 w 10000"/>
                <a:gd name="connsiteY76" fmla="*/ 590 h 10000"/>
                <a:gd name="connsiteX77" fmla="*/ 3367 w 10000"/>
                <a:gd name="connsiteY77" fmla="*/ 720 h 10000"/>
                <a:gd name="connsiteX78" fmla="*/ 3490 w 10000"/>
                <a:gd name="connsiteY78" fmla="*/ 850 h 10000"/>
                <a:gd name="connsiteX79" fmla="*/ 3726 w 10000"/>
                <a:gd name="connsiteY79" fmla="*/ 1137 h 10000"/>
                <a:gd name="connsiteX80" fmla="*/ 3941 w 10000"/>
                <a:gd name="connsiteY80" fmla="*/ 1482 h 10000"/>
                <a:gd name="connsiteX81" fmla="*/ 4145 w 10000"/>
                <a:gd name="connsiteY81" fmla="*/ 1842 h 10000"/>
                <a:gd name="connsiteX82" fmla="*/ 4340 w 10000"/>
                <a:gd name="connsiteY82" fmla="*/ 2231 h 10000"/>
                <a:gd name="connsiteX83" fmla="*/ 4534 w 10000"/>
                <a:gd name="connsiteY83" fmla="*/ 2634 h 10000"/>
                <a:gd name="connsiteX84" fmla="*/ 4708 w 10000"/>
                <a:gd name="connsiteY84" fmla="*/ 3051 h 10000"/>
                <a:gd name="connsiteX85" fmla="*/ 4893 w 10000"/>
                <a:gd name="connsiteY85" fmla="*/ 3483 h 10000"/>
                <a:gd name="connsiteX86" fmla="*/ 5056 w 10000"/>
                <a:gd name="connsiteY86" fmla="*/ 3927 h 10000"/>
                <a:gd name="connsiteX87" fmla="*/ 5363 w 10000"/>
                <a:gd name="connsiteY87" fmla="*/ 4834 h 10000"/>
                <a:gd name="connsiteX88" fmla="*/ 5967 w 10000"/>
                <a:gd name="connsiteY88" fmla="*/ 6633 h 10000"/>
                <a:gd name="connsiteX89" fmla="*/ 6254 w 10000"/>
                <a:gd name="connsiteY89" fmla="*/ 7468 h 10000"/>
                <a:gd name="connsiteX90" fmla="*/ 6407 w 10000"/>
                <a:gd name="connsiteY90" fmla="*/ 7828 h 10000"/>
                <a:gd name="connsiteX91" fmla="*/ 6551 w 10000"/>
                <a:gd name="connsiteY91" fmla="*/ 8201 h 10000"/>
                <a:gd name="connsiteX92" fmla="*/ 6714 w 10000"/>
                <a:gd name="connsiteY92" fmla="*/ 8533 h 10000"/>
                <a:gd name="connsiteX93" fmla="*/ 6868 w 10000"/>
                <a:gd name="connsiteY93" fmla="*/ 8821 h 10000"/>
                <a:gd name="connsiteX94" fmla="*/ 7021 w 10000"/>
                <a:gd name="connsiteY94" fmla="*/ 9093 h 10000"/>
                <a:gd name="connsiteX95" fmla="*/ 7195 w 10000"/>
                <a:gd name="connsiteY95" fmla="*/ 9295 h 10000"/>
                <a:gd name="connsiteX96" fmla="*/ 7288 w 10000"/>
                <a:gd name="connsiteY96" fmla="*/ 9395 h 10000"/>
                <a:gd name="connsiteX97" fmla="*/ 7369 w 10000"/>
                <a:gd name="connsiteY97" fmla="*/ 9497 h 10000"/>
                <a:gd name="connsiteX98" fmla="*/ 7462 w 10000"/>
                <a:gd name="connsiteY98" fmla="*/ 9554 h 10000"/>
                <a:gd name="connsiteX99" fmla="*/ 7554 w 10000"/>
                <a:gd name="connsiteY99" fmla="*/ 9626 h 10000"/>
                <a:gd name="connsiteX100" fmla="*/ 7646 w 10000"/>
                <a:gd name="connsiteY100" fmla="*/ 9669 h 10000"/>
                <a:gd name="connsiteX101" fmla="*/ 7748 w 10000"/>
                <a:gd name="connsiteY101" fmla="*/ 9698 h 10000"/>
                <a:gd name="connsiteX102" fmla="*/ 7851 w 10000"/>
                <a:gd name="connsiteY102" fmla="*/ 9741 h 10000"/>
                <a:gd name="connsiteX103" fmla="*/ 7943 w 10000"/>
                <a:gd name="connsiteY10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05 w 10000"/>
                <a:gd name="connsiteY67" fmla="*/ 691 h 10000"/>
                <a:gd name="connsiteX68" fmla="*/ 2272 w 10000"/>
                <a:gd name="connsiteY68" fmla="*/ 0 h 10000"/>
                <a:gd name="connsiteX69" fmla="*/ 2426 w 10000"/>
                <a:gd name="connsiteY69" fmla="*/ 43 h 10000"/>
                <a:gd name="connsiteX70" fmla="*/ 2569 w 10000"/>
                <a:gd name="connsiteY70" fmla="*/ 115 h 10000"/>
                <a:gd name="connsiteX71" fmla="*/ 2712 w 10000"/>
                <a:gd name="connsiteY71" fmla="*/ 188 h 10000"/>
                <a:gd name="connsiteX72" fmla="*/ 2845 w 10000"/>
                <a:gd name="connsiteY72" fmla="*/ 274 h 10000"/>
                <a:gd name="connsiteX73" fmla="*/ 2989 w 10000"/>
                <a:gd name="connsiteY73" fmla="*/ 375 h 10000"/>
                <a:gd name="connsiteX74" fmla="*/ 3112 w 10000"/>
                <a:gd name="connsiteY74" fmla="*/ 461 h 10000"/>
                <a:gd name="connsiteX75" fmla="*/ 3234 w 10000"/>
                <a:gd name="connsiteY75" fmla="*/ 590 h 10000"/>
                <a:gd name="connsiteX76" fmla="*/ 3367 w 10000"/>
                <a:gd name="connsiteY76" fmla="*/ 720 h 10000"/>
                <a:gd name="connsiteX77" fmla="*/ 3490 w 10000"/>
                <a:gd name="connsiteY77" fmla="*/ 850 h 10000"/>
                <a:gd name="connsiteX78" fmla="*/ 3726 w 10000"/>
                <a:gd name="connsiteY78" fmla="*/ 1137 h 10000"/>
                <a:gd name="connsiteX79" fmla="*/ 3941 w 10000"/>
                <a:gd name="connsiteY79" fmla="*/ 1482 h 10000"/>
                <a:gd name="connsiteX80" fmla="*/ 4145 w 10000"/>
                <a:gd name="connsiteY80" fmla="*/ 1842 h 10000"/>
                <a:gd name="connsiteX81" fmla="*/ 4340 w 10000"/>
                <a:gd name="connsiteY81" fmla="*/ 2231 h 10000"/>
                <a:gd name="connsiteX82" fmla="*/ 4534 w 10000"/>
                <a:gd name="connsiteY82" fmla="*/ 2634 h 10000"/>
                <a:gd name="connsiteX83" fmla="*/ 4708 w 10000"/>
                <a:gd name="connsiteY83" fmla="*/ 3051 h 10000"/>
                <a:gd name="connsiteX84" fmla="*/ 4893 w 10000"/>
                <a:gd name="connsiteY84" fmla="*/ 3483 h 10000"/>
                <a:gd name="connsiteX85" fmla="*/ 5056 w 10000"/>
                <a:gd name="connsiteY85" fmla="*/ 3927 h 10000"/>
                <a:gd name="connsiteX86" fmla="*/ 5363 w 10000"/>
                <a:gd name="connsiteY86" fmla="*/ 4834 h 10000"/>
                <a:gd name="connsiteX87" fmla="*/ 5967 w 10000"/>
                <a:gd name="connsiteY87" fmla="*/ 6633 h 10000"/>
                <a:gd name="connsiteX88" fmla="*/ 6254 w 10000"/>
                <a:gd name="connsiteY88" fmla="*/ 7468 h 10000"/>
                <a:gd name="connsiteX89" fmla="*/ 6407 w 10000"/>
                <a:gd name="connsiteY89" fmla="*/ 7828 h 10000"/>
                <a:gd name="connsiteX90" fmla="*/ 6551 w 10000"/>
                <a:gd name="connsiteY90" fmla="*/ 8201 h 10000"/>
                <a:gd name="connsiteX91" fmla="*/ 6714 w 10000"/>
                <a:gd name="connsiteY91" fmla="*/ 8533 h 10000"/>
                <a:gd name="connsiteX92" fmla="*/ 6868 w 10000"/>
                <a:gd name="connsiteY92" fmla="*/ 8821 h 10000"/>
                <a:gd name="connsiteX93" fmla="*/ 7021 w 10000"/>
                <a:gd name="connsiteY93" fmla="*/ 9093 h 10000"/>
                <a:gd name="connsiteX94" fmla="*/ 7195 w 10000"/>
                <a:gd name="connsiteY94" fmla="*/ 9295 h 10000"/>
                <a:gd name="connsiteX95" fmla="*/ 7288 w 10000"/>
                <a:gd name="connsiteY95" fmla="*/ 9395 h 10000"/>
                <a:gd name="connsiteX96" fmla="*/ 7369 w 10000"/>
                <a:gd name="connsiteY96" fmla="*/ 9497 h 10000"/>
                <a:gd name="connsiteX97" fmla="*/ 7462 w 10000"/>
                <a:gd name="connsiteY97" fmla="*/ 9554 h 10000"/>
                <a:gd name="connsiteX98" fmla="*/ 7554 w 10000"/>
                <a:gd name="connsiteY98" fmla="*/ 9626 h 10000"/>
                <a:gd name="connsiteX99" fmla="*/ 7646 w 10000"/>
                <a:gd name="connsiteY99" fmla="*/ 9669 h 10000"/>
                <a:gd name="connsiteX100" fmla="*/ 7748 w 10000"/>
                <a:gd name="connsiteY100" fmla="*/ 9698 h 10000"/>
                <a:gd name="connsiteX101" fmla="*/ 7851 w 10000"/>
                <a:gd name="connsiteY101" fmla="*/ 9741 h 10000"/>
                <a:gd name="connsiteX102" fmla="*/ 7943 w 10000"/>
                <a:gd name="connsiteY10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272 w 10000"/>
                <a:gd name="connsiteY67" fmla="*/ 0 h 10000"/>
                <a:gd name="connsiteX68" fmla="*/ 2426 w 10000"/>
                <a:gd name="connsiteY68" fmla="*/ 43 h 10000"/>
                <a:gd name="connsiteX69" fmla="*/ 2569 w 10000"/>
                <a:gd name="connsiteY69" fmla="*/ 115 h 10000"/>
                <a:gd name="connsiteX70" fmla="*/ 2712 w 10000"/>
                <a:gd name="connsiteY70" fmla="*/ 188 h 10000"/>
                <a:gd name="connsiteX71" fmla="*/ 2845 w 10000"/>
                <a:gd name="connsiteY71" fmla="*/ 274 h 10000"/>
                <a:gd name="connsiteX72" fmla="*/ 2989 w 10000"/>
                <a:gd name="connsiteY72" fmla="*/ 375 h 10000"/>
                <a:gd name="connsiteX73" fmla="*/ 3112 w 10000"/>
                <a:gd name="connsiteY73" fmla="*/ 461 h 10000"/>
                <a:gd name="connsiteX74" fmla="*/ 3234 w 10000"/>
                <a:gd name="connsiteY74" fmla="*/ 590 h 10000"/>
                <a:gd name="connsiteX75" fmla="*/ 3367 w 10000"/>
                <a:gd name="connsiteY75" fmla="*/ 720 h 10000"/>
                <a:gd name="connsiteX76" fmla="*/ 3490 w 10000"/>
                <a:gd name="connsiteY76" fmla="*/ 850 h 10000"/>
                <a:gd name="connsiteX77" fmla="*/ 3726 w 10000"/>
                <a:gd name="connsiteY77" fmla="*/ 1137 h 10000"/>
                <a:gd name="connsiteX78" fmla="*/ 3941 w 10000"/>
                <a:gd name="connsiteY78" fmla="*/ 1482 h 10000"/>
                <a:gd name="connsiteX79" fmla="*/ 4145 w 10000"/>
                <a:gd name="connsiteY79" fmla="*/ 1842 h 10000"/>
                <a:gd name="connsiteX80" fmla="*/ 4340 w 10000"/>
                <a:gd name="connsiteY80" fmla="*/ 2231 h 10000"/>
                <a:gd name="connsiteX81" fmla="*/ 4534 w 10000"/>
                <a:gd name="connsiteY81" fmla="*/ 2634 h 10000"/>
                <a:gd name="connsiteX82" fmla="*/ 4708 w 10000"/>
                <a:gd name="connsiteY82" fmla="*/ 3051 h 10000"/>
                <a:gd name="connsiteX83" fmla="*/ 4893 w 10000"/>
                <a:gd name="connsiteY83" fmla="*/ 3483 h 10000"/>
                <a:gd name="connsiteX84" fmla="*/ 5056 w 10000"/>
                <a:gd name="connsiteY84" fmla="*/ 3927 h 10000"/>
                <a:gd name="connsiteX85" fmla="*/ 5363 w 10000"/>
                <a:gd name="connsiteY85" fmla="*/ 4834 h 10000"/>
                <a:gd name="connsiteX86" fmla="*/ 5967 w 10000"/>
                <a:gd name="connsiteY86" fmla="*/ 6633 h 10000"/>
                <a:gd name="connsiteX87" fmla="*/ 6254 w 10000"/>
                <a:gd name="connsiteY87" fmla="*/ 7468 h 10000"/>
                <a:gd name="connsiteX88" fmla="*/ 6407 w 10000"/>
                <a:gd name="connsiteY88" fmla="*/ 7828 h 10000"/>
                <a:gd name="connsiteX89" fmla="*/ 6551 w 10000"/>
                <a:gd name="connsiteY89" fmla="*/ 8201 h 10000"/>
                <a:gd name="connsiteX90" fmla="*/ 6714 w 10000"/>
                <a:gd name="connsiteY90" fmla="*/ 8533 h 10000"/>
                <a:gd name="connsiteX91" fmla="*/ 6868 w 10000"/>
                <a:gd name="connsiteY91" fmla="*/ 8821 h 10000"/>
                <a:gd name="connsiteX92" fmla="*/ 7021 w 10000"/>
                <a:gd name="connsiteY92" fmla="*/ 9093 h 10000"/>
                <a:gd name="connsiteX93" fmla="*/ 7195 w 10000"/>
                <a:gd name="connsiteY93" fmla="*/ 9295 h 10000"/>
                <a:gd name="connsiteX94" fmla="*/ 7288 w 10000"/>
                <a:gd name="connsiteY94" fmla="*/ 9395 h 10000"/>
                <a:gd name="connsiteX95" fmla="*/ 7369 w 10000"/>
                <a:gd name="connsiteY95" fmla="*/ 9497 h 10000"/>
                <a:gd name="connsiteX96" fmla="*/ 7462 w 10000"/>
                <a:gd name="connsiteY96" fmla="*/ 9554 h 10000"/>
                <a:gd name="connsiteX97" fmla="*/ 7554 w 10000"/>
                <a:gd name="connsiteY97" fmla="*/ 9626 h 10000"/>
                <a:gd name="connsiteX98" fmla="*/ 7646 w 10000"/>
                <a:gd name="connsiteY98" fmla="*/ 9669 h 10000"/>
                <a:gd name="connsiteX99" fmla="*/ 7748 w 10000"/>
                <a:gd name="connsiteY99" fmla="*/ 9698 h 10000"/>
                <a:gd name="connsiteX100" fmla="*/ 7851 w 10000"/>
                <a:gd name="connsiteY100" fmla="*/ 9741 h 10000"/>
                <a:gd name="connsiteX101" fmla="*/ 7943 w 10000"/>
                <a:gd name="connsiteY10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0 w 10000"/>
                <a:gd name="connsiteY64" fmla="*/ 2591 h 10000"/>
                <a:gd name="connsiteX65" fmla="*/ 10 w 10000"/>
                <a:gd name="connsiteY65" fmla="*/ 907 h 10000"/>
                <a:gd name="connsiteX66" fmla="*/ 2272 w 10000"/>
                <a:gd name="connsiteY66" fmla="*/ 0 h 10000"/>
                <a:gd name="connsiteX67" fmla="*/ 2426 w 10000"/>
                <a:gd name="connsiteY67" fmla="*/ 43 h 10000"/>
                <a:gd name="connsiteX68" fmla="*/ 2569 w 10000"/>
                <a:gd name="connsiteY68" fmla="*/ 115 h 10000"/>
                <a:gd name="connsiteX69" fmla="*/ 2712 w 10000"/>
                <a:gd name="connsiteY69" fmla="*/ 188 h 10000"/>
                <a:gd name="connsiteX70" fmla="*/ 2845 w 10000"/>
                <a:gd name="connsiteY70" fmla="*/ 274 h 10000"/>
                <a:gd name="connsiteX71" fmla="*/ 2989 w 10000"/>
                <a:gd name="connsiteY71" fmla="*/ 375 h 10000"/>
                <a:gd name="connsiteX72" fmla="*/ 3112 w 10000"/>
                <a:gd name="connsiteY72" fmla="*/ 461 h 10000"/>
                <a:gd name="connsiteX73" fmla="*/ 3234 w 10000"/>
                <a:gd name="connsiteY73" fmla="*/ 590 h 10000"/>
                <a:gd name="connsiteX74" fmla="*/ 3367 w 10000"/>
                <a:gd name="connsiteY74" fmla="*/ 720 h 10000"/>
                <a:gd name="connsiteX75" fmla="*/ 3490 w 10000"/>
                <a:gd name="connsiteY75" fmla="*/ 850 h 10000"/>
                <a:gd name="connsiteX76" fmla="*/ 3726 w 10000"/>
                <a:gd name="connsiteY76" fmla="*/ 1137 h 10000"/>
                <a:gd name="connsiteX77" fmla="*/ 3941 w 10000"/>
                <a:gd name="connsiteY77" fmla="*/ 1482 h 10000"/>
                <a:gd name="connsiteX78" fmla="*/ 4145 w 10000"/>
                <a:gd name="connsiteY78" fmla="*/ 1842 h 10000"/>
                <a:gd name="connsiteX79" fmla="*/ 4340 w 10000"/>
                <a:gd name="connsiteY79" fmla="*/ 2231 h 10000"/>
                <a:gd name="connsiteX80" fmla="*/ 4534 w 10000"/>
                <a:gd name="connsiteY80" fmla="*/ 2634 h 10000"/>
                <a:gd name="connsiteX81" fmla="*/ 4708 w 10000"/>
                <a:gd name="connsiteY81" fmla="*/ 3051 h 10000"/>
                <a:gd name="connsiteX82" fmla="*/ 4893 w 10000"/>
                <a:gd name="connsiteY82" fmla="*/ 3483 h 10000"/>
                <a:gd name="connsiteX83" fmla="*/ 5056 w 10000"/>
                <a:gd name="connsiteY83" fmla="*/ 3927 h 10000"/>
                <a:gd name="connsiteX84" fmla="*/ 5363 w 10000"/>
                <a:gd name="connsiteY84" fmla="*/ 4834 h 10000"/>
                <a:gd name="connsiteX85" fmla="*/ 5967 w 10000"/>
                <a:gd name="connsiteY85" fmla="*/ 6633 h 10000"/>
                <a:gd name="connsiteX86" fmla="*/ 6254 w 10000"/>
                <a:gd name="connsiteY86" fmla="*/ 7468 h 10000"/>
                <a:gd name="connsiteX87" fmla="*/ 6407 w 10000"/>
                <a:gd name="connsiteY87" fmla="*/ 7828 h 10000"/>
                <a:gd name="connsiteX88" fmla="*/ 6551 w 10000"/>
                <a:gd name="connsiteY88" fmla="*/ 8201 h 10000"/>
                <a:gd name="connsiteX89" fmla="*/ 6714 w 10000"/>
                <a:gd name="connsiteY89" fmla="*/ 8533 h 10000"/>
                <a:gd name="connsiteX90" fmla="*/ 6868 w 10000"/>
                <a:gd name="connsiteY90" fmla="*/ 8821 h 10000"/>
                <a:gd name="connsiteX91" fmla="*/ 7021 w 10000"/>
                <a:gd name="connsiteY91" fmla="*/ 9093 h 10000"/>
                <a:gd name="connsiteX92" fmla="*/ 7195 w 10000"/>
                <a:gd name="connsiteY92" fmla="*/ 9295 h 10000"/>
                <a:gd name="connsiteX93" fmla="*/ 7288 w 10000"/>
                <a:gd name="connsiteY93" fmla="*/ 9395 h 10000"/>
                <a:gd name="connsiteX94" fmla="*/ 7369 w 10000"/>
                <a:gd name="connsiteY94" fmla="*/ 9497 h 10000"/>
                <a:gd name="connsiteX95" fmla="*/ 7462 w 10000"/>
                <a:gd name="connsiteY95" fmla="*/ 9554 h 10000"/>
                <a:gd name="connsiteX96" fmla="*/ 7554 w 10000"/>
                <a:gd name="connsiteY96" fmla="*/ 9626 h 10000"/>
                <a:gd name="connsiteX97" fmla="*/ 7646 w 10000"/>
                <a:gd name="connsiteY97" fmla="*/ 9669 h 10000"/>
                <a:gd name="connsiteX98" fmla="*/ 7748 w 10000"/>
                <a:gd name="connsiteY98" fmla="*/ 9698 h 10000"/>
                <a:gd name="connsiteX99" fmla="*/ 7851 w 10000"/>
                <a:gd name="connsiteY99" fmla="*/ 9741 h 10000"/>
                <a:gd name="connsiteX100" fmla="*/ 7943 w 10000"/>
                <a:gd name="connsiteY100" fmla="*/ 9741 h 10000"/>
                <a:gd name="connsiteX0" fmla="*/ 7933 w 9990"/>
                <a:gd name="connsiteY0" fmla="*/ 9741 h 10000"/>
                <a:gd name="connsiteX1" fmla="*/ 7933 w 9990"/>
                <a:gd name="connsiteY1" fmla="*/ 9741 h 10000"/>
                <a:gd name="connsiteX2" fmla="*/ 8066 w 9990"/>
                <a:gd name="connsiteY2" fmla="*/ 9741 h 10000"/>
                <a:gd name="connsiteX3" fmla="*/ 8168 w 9990"/>
                <a:gd name="connsiteY3" fmla="*/ 9698 h 10000"/>
                <a:gd name="connsiteX4" fmla="*/ 8281 w 9990"/>
                <a:gd name="connsiteY4" fmla="*/ 9655 h 10000"/>
                <a:gd name="connsiteX5" fmla="*/ 8393 w 9990"/>
                <a:gd name="connsiteY5" fmla="*/ 9611 h 10000"/>
                <a:gd name="connsiteX6" fmla="*/ 8496 w 9990"/>
                <a:gd name="connsiteY6" fmla="*/ 9526 h 10000"/>
                <a:gd name="connsiteX7" fmla="*/ 8598 w 9990"/>
                <a:gd name="connsiteY7" fmla="*/ 9425 h 10000"/>
                <a:gd name="connsiteX8" fmla="*/ 8690 w 9990"/>
                <a:gd name="connsiteY8" fmla="*/ 9338 h 10000"/>
                <a:gd name="connsiteX9" fmla="*/ 8792 w 9990"/>
                <a:gd name="connsiteY9" fmla="*/ 9209 h 10000"/>
                <a:gd name="connsiteX10" fmla="*/ 8905 w 9990"/>
                <a:gd name="connsiteY10" fmla="*/ 9079 h 10000"/>
                <a:gd name="connsiteX11" fmla="*/ 8997 w 9990"/>
                <a:gd name="connsiteY11" fmla="*/ 8936 h 10000"/>
                <a:gd name="connsiteX12" fmla="*/ 9181 w 9990"/>
                <a:gd name="connsiteY12" fmla="*/ 8604 h 10000"/>
                <a:gd name="connsiteX13" fmla="*/ 9366 w 9990"/>
                <a:gd name="connsiteY13" fmla="*/ 8231 h 10000"/>
                <a:gd name="connsiteX14" fmla="*/ 9529 w 9990"/>
                <a:gd name="connsiteY14" fmla="*/ 7828 h 10000"/>
                <a:gd name="connsiteX15" fmla="*/ 9765 w 9990"/>
                <a:gd name="connsiteY15" fmla="*/ 8274 h 10000"/>
                <a:gd name="connsiteX16" fmla="*/ 9990 w 9990"/>
                <a:gd name="connsiteY16" fmla="*/ 8691 h 10000"/>
                <a:gd name="connsiteX17" fmla="*/ 9775 w 9990"/>
                <a:gd name="connsiteY17" fmla="*/ 8979 h 10000"/>
                <a:gd name="connsiteX18" fmla="*/ 9560 w 9990"/>
                <a:gd name="connsiteY18" fmla="*/ 9238 h 10000"/>
                <a:gd name="connsiteX19" fmla="*/ 9314 w 9990"/>
                <a:gd name="connsiteY19" fmla="*/ 9467 h 10000"/>
                <a:gd name="connsiteX20" fmla="*/ 9202 w 9990"/>
                <a:gd name="connsiteY20" fmla="*/ 9554 h 10000"/>
                <a:gd name="connsiteX21" fmla="*/ 9069 w 9990"/>
                <a:gd name="connsiteY21" fmla="*/ 9655 h 10000"/>
                <a:gd name="connsiteX22" fmla="*/ 8936 w 9990"/>
                <a:gd name="connsiteY22" fmla="*/ 9741 h 10000"/>
                <a:gd name="connsiteX23" fmla="*/ 8813 w 9990"/>
                <a:gd name="connsiteY23" fmla="*/ 9798 h 10000"/>
                <a:gd name="connsiteX24" fmla="*/ 8670 w 9990"/>
                <a:gd name="connsiteY24" fmla="*/ 9870 h 10000"/>
                <a:gd name="connsiteX25" fmla="*/ 8537 w 9990"/>
                <a:gd name="connsiteY25" fmla="*/ 9914 h 10000"/>
                <a:gd name="connsiteX26" fmla="*/ 8393 w 9990"/>
                <a:gd name="connsiteY26" fmla="*/ 9943 h 10000"/>
                <a:gd name="connsiteX27" fmla="*/ 8250 w 9990"/>
                <a:gd name="connsiteY27" fmla="*/ 9971 h 10000"/>
                <a:gd name="connsiteX28" fmla="*/ 8096 w 9990"/>
                <a:gd name="connsiteY28" fmla="*/ 10000 h 10000"/>
                <a:gd name="connsiteX29" fmla="*/ 7933 w 9990"/>
                <a:gd name="connsiteY29" fmla="*/ 10000 h 10000"/>
                <a:gd name="connsiteX30" fmla="*/ 7769 w 9990"/>
                <a:gd name="connsiteY30" fmla="*/ 10000 h 10000"/>
                <a:gd name="connsiteX31" fmla="*/ 7615 w 9990"/>
                <a:gd name="connsiteY31" fmla="*/ 9957 h 10000"/>
                <a:gd name="connsiteX32" fmla="*/ 7452 w 9990"/>
                <a:gd name="connsiteY32" fmla="*/ 9929 h 10000"/>
                <a:gd name="connsiteX33" fmla="*/ 7298 w 9990"/>
                <a:gd name="connsiteY33" fmla="*/ 9886 h 10000"/>
                <a:gd name="connsiteX34" fmla="*/ 7155 w 9990"/>
                <a:gd name="connsiteY34" fmla="*/ 9812 h 10000"/>
                <a:gd name="connsiteX35" fmla="*/ 7011 w 9990"/>
                <a:gd name="connsiteY35" fmla="*/ 9755 h 10000"/>
                <a:gd name="connsiteX36" fmla="*/ 6878 w 9990"/>
                <a:gd name="connsiteY36" fmla="*/ 9655 h 10000"/>
                <a:gd name="connsiteX37" fmla="*/ 6735 w 9990"/>
                <a:gd name="connsiteY37" fmla="*/ 9554 h 10000"/>
                <a:gd name="connsiteX38" fmla="*/ 6612 w 9990"/>
                <a:gd name="connsiteY38" fmla="*/ 9467 h 10000"/>
                <a:gd name="connsiteX39" fmla="*/ 6469 w 9990"/>
                <a:gd name="connsiteY39" fmla="*/ 9338 h 10000"/>
                <a:gd name="connsiteX40" fmla="*/ 6356 w 9990"/>
                <a:gd name="connsiteY40" fmla="*/ 9224 h 10000"/>
                <a:gd name="connsiteX41" fmla="*/ 6234 w 9990"/>
                <a:gd name="connsiteY41" fmla="*/ 9079 h 10000"/>
                <a:gd name="connsiteX42" fmla="*/ 5998 w 9990"/>
                <a:gd name="connsiteY42" fmla="*/ 8777 h 10000"/>
                <a:gd name="connsiteX43" fmla="*/ 5783 w 9990"/>
                <a:gd name="connsiteY43" fmla="*/ 8446 h 10000"/>
                <a:gd name="connsiteX44" fmla="*/ 5579 w 9990"/>
                <a:gd name="connsiteY44" fmla="*/ 8086 h 10000"/>
                <a:gd name="connsiteX45" fmla="*/ 5384 w 9990"/>
                <a:gd name="connsiteY45" fmla="*/ 7697 h 10000"/>
                <a:gd name="connsiteX46" fmla="*/ 5190 w 9990"/>
                <a:gd name="connsiteY46" fmla="*/ 7295 h 10000"/>
                <a:gd name="connsiteX47" fmla="*/ 5016 w 9990"/>
                <a:gd name="connsiteY47" fmla="*/ 6878 h 10000"/>
                <a:gd name="connsiteX48" fmla="*/ 4842 w 9990"/>
                <a:gd name="connsiteY48" fmla="*/ 6446 h 10000"/>
                <a:gd name="connsiteX49" fmla="*/ 4678 w 9990"/>
                <a:gd name="connsiteY49" fmla="*/ 6000 h 10000"/>
                <a:gd name="connsiteX50" fmla="*/ 4361 w 9990"/>
                <a:gd name="connsiteY50" fmla="*/ 5094 h 10000"/>
                <a:gd name="connsiteX51" fmla="*/ 3767 w 9990"/>
                <a:gd name="connsiteY51" fmla="*/ 3310 h 10000"/>
                <a:gd name="connsiteX52" fmla="*/ 3634 w 9990"/>
                <a:gd name="connsiteY52" fmla="*/ 2863 h 10000"/>
                <a:gd name="connsiteX53" fmla="*/ 3480 w 9990"/>
                <a:gd name="connsiteY53" fmla="*/ 2460 h 10000"/>
                <a:gd name="connsiteX54" fmla="*/ 3337 w 9990"/>
                <a:gd name="connsiteY54" fmla="*/ 2101 h 10000"/>
                <a:gd name="connsiteX55" fmla="*/ 3183 w 9990"/>
                <a:gd name="connsiteY55" fmla="*/ 1727 h 10000"/>
                <a:gd name="connsiteX56" fmla="*/ 3030 w 9990"/>
                <a:gd name="connsiteY56" fmla="*/ 1396 h 10000"/>
                <a:gd name="connsiteX57" fmla="*/ 2876 w 9990"/>
                <a:gd name="connsiteY57" fmla="*/ 1108 h 10000"/>
                <a:gd name="connsiteX58" fmla="*/ 2713 w 9990"/>
                <a:gd name="connsiteY58" fmla="*/ 836 h 10000"/>
                <a:gd name="connsiteX59" fmla="*/ 2549 w 9990"/>
                <a:gd name="connsiteY59" fmla="*/ 634 h 10000"/>
                <a:gd name="connsiteX60" fmla="*/ 2457 w 9990"/>
                <a:gd name="connsiteY60" fmla="*/ 533 h 10000"/>
                <a:gd name="connsiteX61" fmla="*/ 2365 w 9990"/>
                <a:gd name="connsiteY61" fmla="*/ 432 h 10000"/>
                <a:gd name="connsiteX62" fmla="*/ 2272 w 9990"/>
                <a:gd name="connsiteY62" fmla="*/ 375 h 10000"/>
                <a:gd name="connsiteX63" fmla="*/ 2180 w 9990"/>
                <a:gd name="connsiteY63" fmla="*/ 302 h 10000"/>
                <a:gd name="connsiteX64" fmla="*/ 0 w 9990"/>
                <a:gd name="connsiteY64" fmla="*/ 907 h 10000"/>
                <a:gd name="connsiteX65" fmla="*/ 2262 w 9990"/>
                <a:gd name="connsiteY65" fmla="*/ 0 h 10000"/>
                <a:gd name="connsiteX66" fmla="*/ 2416 w 9990"/>
                <a:gd name="connsiteY66" fmla="*/ 43 h 10000"/>
                <a:gd name="connsiteX67" fmla="*/ 2559 w 9990"/>
                <a:gd name="connsiteY67" fmla="*/ 115 h 10000"/>
                <a:gd name="connsiteX68" fmla="*/ 2702 w 9990"/>
                <a:gd name="connsiteY68" fmla="*/ 188 h 10000"/>
                <a:gd name="connsiteX69" fmla="*/ 2835 w 9990"/>
                <a:gd name="connsiteY69" fmla="*/ 274 h 10000"/>
                <a:gd name="connsiteX70" fmla="*/ 2979 w 9990"/>
                <a:gd name="connsiteY70" fmla="*/ 375 h 10000"/>
                <a:gd name="connsiteX71" fmla="*/ 3102 w 9990"/>
                <a:gd name="connsiteY71" fmla="*/ 461 h 10000"/>
                <a:gd name="connsiteX72" fmla="*/ 3224 w 9990"/>
                <a:gd name="connsiteY72" fmla="*/ 590 h 10000"/>
                <a:gd name="connsiteX73" fmla="*/ 3357 w 9990"/>
                <a:gd name="connsiteY73" fmla="*/ 720 h 10000"/>
                <a:gd name="connsiteX74" fmla="*/ 3480 w 9990"/>
                <a:gd name="connsiteY74" fmla="*/ 850 h 10000"/>
                <a:gd name="connsiteX75" fmla="*/ 3716 w 9990"/>
                <a:gd name="connsiteY75" fmla="*/ 1137 h 10000"/>
                <a:gd name="connsiteX76" fmla="*/ 3931 w 9990"/>
                <a:gd name="connsiteY76" fmla="*/ 1482 h 10000"/>
                <a:gd name="connsiteX77" fmla="*/ 4135 w 9990"/>
                <a:gd name="connsiteY77" fmla="*/ 1842 h 10000"/>
                <a:gd name="connsiteX78" fmla="*/ 4330 w 9990"/>
                <a:gd name="connsiteY78" fmla="*/ 2231 h 10000"/>
                <a:gd name="connsiteX79" fmla="*/ 4524 w 9990"/>
                <a:gd name="connsiteY79" fmla="*/ 2634 h 10000"/>
                <a:gd name="connsiteX80" fmla="*/ 4698 w 9990"/>
                <a:gd name="connsiteY80" fmla="*/ 3051 h 10000"/>
                <a:gd name="connsiteX81" fmla="*/ 4883 w 9990"/>
                <a:gd name="connsiteY81" fmla="*/ 3483 h 10000"/>
                <a:gd name="connsiteX82" fmla="*/ 5046 w 9990"/>
                <a:gd name="connsiteY82" fmla="*/ 3927 h 10000"/>
                <a:gd name="connsiteX83" fmla="*/ 5353 w 9990"/>
                <a:gd name="connsiteY83" fmla="*/ 4834 h 10000"/>
                <a:gd name="connsiteX84" fmla="*/ 5957 w 9990"/>
                <a:gd name="connsiteY84" fmla="*/ 6633 h 10000"/>
                <a:gd name="connsiteX85" fmla="*/ 6244 w 9990"/>
                <a:gd name="connsiteY85" fmla="*/ 7468 h 10000"/>
                <a:gd name="connsiteX86" fmla="*/ 6397 w 9990"/>
                <a:gd name="connsiteY86" fmla="*/ 7828 h 10000"/>
                <a:gd name="connsiteX87" fmla="*/ 6541 w 9990"/>
                <a:gd name="connsiteY87" fmla="*/ 8201 h 10000"/>
                <a:gd name="connsiteX88" fmla="*/ 6704 w 9990"/>
                <a:gd name="connsiteY88" fmla="*/ 8533 h 10000"/>
                <a:gd name="connsiteX89" fmla="*/ 6858 w 9990"/>
                <a:gd name="connsiteY89" fmla="*/ 8821 h 10000"/>
                <a:gd name="connsiteX90" fmla="*/ 7011 w 9990"/>
                <a:gd name="connsiteY90" fmla="*/ 9093 h 10000"/>
                <a:gd name="connsiteX91" fmla="*/ 7185 w 9990"/>
                <a:gd name="connsiteY91" fmla="*/ 9295 h 10000"/>
                <a:gd name="connsiteX92" fmla="*/ 7278 w 9990"/>
                <a:gd name="connsiteY92" fmla="*/ 9395 h 10000"/>
                <a:gd name="connsiteX93" fmla="*/ 7359 w 9990"/>
                <a:gd name="connsiteY93" fmla="*/ 9497 h 10000"/>
                <a:gd name="connsiteX94" fmla="*/ 7452 w 9990"/>
                <a:gd name="connsiteY94" fmla="*/ 9554 h 10000"/>
                <a:gd name="connsiteX95" fmla="*/ 7544 w 9990"/>
                <a:gd name="connsiteY95" fmla="*/ 9626 h 10000"/>
                <a:gd name="connsiteX96" fmla="*/ 7636 w 9990"/>
                <a:gd name="connsiteY96" fmla="*/ 9669 h 10000"/>
                <a:gd name="connsiteX97" fmla="*/ 7738 w 9990"/>
                <a:gd name="connsiteY97" fmla="*/ 9698 h 10000"/>
                <a:gd name="connsiteX98" fmla="*/ 7841 w 9990"/>
                <a:gd name="connsiteY98" fmla="*/ 9741 h 10000"/>
                <a:gd name="connsiteX99" fmla="*/ 7933 w 9990"/>
                <a:gd name="connsiteY99" fmla="*/ 9741 h 10000"/>
                <a:gd name="connsiteX0" fmla="*/ 5759 w 7818"/>
                <a:gd name="connsiteY0" fmla="*/ 9741 h 10000"/>
                <a:gd name="connsiteX1" fmla="*/ 5759 w 7818"/>
                <a:gd name="connsiteY1" fmla="*/ 9741 h 10000"/>
                <a:gd name="connsiteX2" fmla="*/ 5892 w 7818"/>
                <a:gd name="connsiteY2" fmla="*/ 9741 h 10000"/>
                <a:gd name="connsiteX3" fmla="*/ 5994 w 7818"/>
                <a:gd name="connsiteY3" fmla="*/ 9698 h 10000"/>
                <a:gd name="connsiteX4" fmla="*/ 6107 w 7818"/>
                <a:gd name="connsiteY4" fmla="*/ 9655 h 10000"/>
                <a:gd name="connsiteX5" fmla="*/ 6219 w 7818"/>
                <a:gd name="connsiteY5" fmla="*/ 9611 h 10000"/>
                <a:gd name="connsiteX6" fmla="*/ 6323 w 7818"/>
                <a:gd name="connsiteY6" fmla="*/ 9526 h 10000"/>
                <a:gd name="connsiteX7" fmla="*/ 6425 w 7818"/>
                <a:gd name="connsiteY7" fmla="*/ 9425 h 10000"/>
                <a:gd name="connsiteX8" fmla="*/ 6517 w 7818"/>
                <a:gd name="connsiteY8" fmla="*/ 9338 h 10000"/>
                <a:gd name="connsiteX9" fmla="*/ 6619 w 7818"/>
                <a:gd name="connsiteY9" fmla="*/ 9209 h 10000"/>
                <a:gd name="connsiteX10" fmla="*/ 6732 w 7818"/>
                <a:gd name="connsiteY10" fmla="*/ 9079 h 10000"/>
                <a:gd name="connsiteX11" fmla="*/ 6824 w 7818"/>
                <a:gd name="connsiteY11" fmla="*/ 8936 h 10000"/>
                <a:gd name="connsiteX12" fmla="*/ 7008 w 7818"/>
                <a:gd name="connsiteY12" fmla="*/ 8604 h 10000"/>
                <a:gd name="connsiteX13" fmla="*/ 7193 w 7818"/>
                <a:gd name="connsiteY13" fmla="*/ 8231 h 10000"/>
                <a:gd name="connsiteX14" fmla="*/ 7357 w 7818"/>
                <a:gd name="connsiteY14" fmla="*/ 7828 h 10000"/>
                <a:gd name="connsiteX15" fmla="*/ 7593 w 7818"/>
                <a:gd name="connsiteY15" fmla="*/ 8274 h 10000"/>
                <a:gd name="connsiteX16" fmla="*/ 7818 w 7818"/>
                <a:gd name="connsiteY16" fmla="*/ 8691 h 10000"/>
                <a:gd name="connsiteX17" fmla="*/ 7603 w 7818"/>
                <a:gd name="connsiteY17" fmla="*/ 8979 h 10000"/>
                <a:gd name="connsiteX18" fmla="*/ 7388 w 7818"/>
                <a:gd name="connsiteY18" fmla="*/ 9238 h 10000"/>
                <a:gd name="connsiteX19" fmla="*/ 7141 w 7818"/>
                <a:gd name="connsiteY19" fmla="*/ 9467 h 10000"/>
                <a:gd name="connsiteX20" fmla="*/ 7029 w 7818"/>
                <a:gd name="connsiteY20" fmla="*/ 9554 h 10000"/>
                <a:gd name="connsiteX21" fmla="*/ 6896 w 7818"/>
                <a:gd name="connsiteY21" fmla="*/ 9655 h 10000"/>
                <a:gd name="connsiteX22" fmla="*/ 6763 w 7818"/>
                <a:gd name="connsiteY22" fmla="*/ 9741 h 10000"/>
                <a:gd name="connsiteX23" fmla="*/ 6640 w 7818"/>
                <a:gd name="connsiteY23" fmla="*/ 9798 h 10000"/>
                <a:gd name="connsiteX24" fmla="*/ 6497 w 7818"/>
                <a:gd name="connsiteY24" fmla="*/ 9870 h 10000"/>
                <a:gd name="connsiteX25" fmla="*/ 6364 w 7818"/>
                <a:gd name="connsiteY25" fmla="*/ 9914 h 10000"/>
                <a:gd name="connsiteX26" fmla="*/ 6219 w 7818"/>
                <a:gd name="connsiteY26" fmla="*/ 9943 h 10000"/>
                <a:gd name="connsiteX27" fmla="*/ 6076 w 7818"/>
                <a:gd name="connsiteY27" fmla="*/ 9971 h 10000"/>
                <a:gd name="connsiteX28" fmla="*/ 5922 w 7818"/>
                <a:gd name="connsiteY28" fmla="*/ 10000 h 10000"/>
                <a:gd name="connsiteX29" fmla="*/ 5759 w 7818"/>
                <a:gd name="connsiteY29" fmla="*/ 10000 h 10000"/>
                <a:gd name="connsiteX30" fmla="*/ 5595 w 7818"/>
                <a:gd name="connsiteY30" fmla="*/ 10000 h 10000"/>
                <a:gd name="connsiteX31" fmla="*/ 5441 w 7818"/>
                <a:gd name="connsiteY31" fmla="*/ 9957 h 10000"/>
                <a:gd name="connsiteX32" fmla="*/ 5277 w 7818"/>
                <a:gd name="connsiteY32" fmla="*/ 9929 h 10000"/>
                <a:gd name="connsiteX33" fmla="*/ 5123 w 7818"/>
                <a:gd name="connsiteY33" fmla="*/ 9886 h 10000"/>
                <a:gd name="connsiteX34" fmla="*/ 4980 w 7818"/>
                <a:gd name="connsiteY34" fmla="*/ 9812 h 10000"/>
                <a:gd name="connsiteX35" fmla="*/ 4836 w 7818"/>
                <a:gd name="connsiteY35" fmla="*/ 9755 h 10000"/>
                <a:gd name="connsiteX36" fmla="*/ 4703 w 7818"/>
                <a:gd name="connsiteY36" fmla="*/ 9655 h 10000"/>
                <a:gd name="connsiteX37" fmla="*/ 4560 w 7818"/>
                <a:gd name="connsiteY37" fmla="*/ 9554 h 10000"/>
                <a:gd name="connsiteX38" fmla="*/ 4437 w 7818"/>
                <a:gd name="connsiteY38" fmla="*/ 9467 h 10000"/>
                <a:gd name="connsiteX39" fmla="*/ 4293 w 7818"/>
                <a:gd name="connsiteY39" fmla="*/ 9338 h 10000"/>
                <a:gd name="connsiteX40" fmla="*/ 4180 w 7818"/>
                <a:gd name="connsiteY40" fmla="*/ 9224 h 10000"/>
                <a:gd name="connsiteX41" fmla="*/ 4058 w 7818"/>
                <a:gd name="connsiteY41" fmla="*/ 9079 h 10000"/>
                <a:gd name="connsiteX42" fmla="*/ 3822 w 7818"/>
                <a:gd name="connsiteY42" fmla="*/ 8777 h 10000"/>
                <a:gd name="connsiteX43" fmla="*/ 3607 w 7818"/>
                <a:gd name="connsiteY43" fmla="*/ 8446 h 10000"/>
                <a:gd name="connsiteX44" fmla="*/ 3403 w 7818"/>
                <a:gd name="connsiteY44" fmla="*/ 8086 h 10000"/>
                <a:gd name="connsiteX45" fmla="*/ 3207 w 7818"/>
                <a:gd name="connsiteY45" fmla="*/ 7697 h 10000"/>
                <a:gd name="connsiteX46" fmla="*/ 3013 w 7818"/>
                <a:gd name="connsiteY46" fmla="*/ 7295 h 10000"/>
                <a:gd name="connsiteX47" fmla="*/ 2839 w 7818"/>
                <a:gd name="connsiteY47" fmla="*/ 6878 h 10000"/>
                <a:gd name="connsiteX48" fmla="*/ 2665 w 7818"/>
                <a:gd name="connsiteY48" fmla="*/ 6446 h 10000"/>
                <a:gd name="connsiteX49" fmla="*/ 2501 w 7818"/>
                <a:gd name="connsiteY49" fmla="*/ 6000 h 10000"/>
                <a:gd name="connsiteX50" fmla="*/ 2183 w 7818"/>
                <a:gd name="connsiteY50" fmla="*/ 5094 h 10000"/>
                <a:gd name="connsiteX51" fmla="*/ 1589 w 7818"/>
                <a:gd name="connsiteY51" fmla="*/ 3310 h 10000"/>
                <a:gd name="connsiteX52" fmla="*/ 1456 w 7818"/>
                <a:gd name="connsiteY52" fmla="*/ 2863 h 10000"/>
                <a:gd name="connsiteX53" fmla="*/ 1301 w 7818"/>
                <a:gd name="connsiteY53" fmla="*/ 2460 h 10000"/>
                <a:gd name="connsiteX54" fmla="*/ 1158 w 7818"/>
                <a:gd name="connsiteY54" fmla="*/ 2101 h 10000"/>
                <a:gd name="connsiteX55" fmla="*/ 1004 w 7818"/>
                <a:gd name="connsiteY55" fmla="*/ 1727 h 10000"/>
                <a:gd name="connsiteX56" fmla="*/ 851 w 7818"/>
                <a:gd name="connsiteY56" fmla="*/ 1396 h 10000"/>
                <a:gd name="connsiteX57" fmla="*/ 697 w 7818"/>
                <a:gd name="connsiteY57" fmla="*/ 1108 h 10000"/>
                <a:gd name="connsiteX58" fmla="*/ 534 w 7818"/>
                <a:gd name="connsiteY58" fmla="*/ 836 h 10000"/>
                <a:gd name="connsiteX59" fmla="*/ 370 w 7818"/>
                <a:gd name="connsiteY59" fmla="*/ 634 h 10000"/>
                <a:gd name="connsiteX60" fmla="*/ 277 w 7818"/>
                <a:gd name="connsiteY60" fmla="*/ 533 h 10000"/>
                <a:gd name="connsiteX61" fmla="*/ 185 w 7818"/>
                <a:gd name="connsiteY61" fmla="*/ 432 h 10000"/>
                <a:gd name="connsiteX62" fmla="*/ 92 w 7818"/>
                <a:gd name="connsiteY62" fmla="*/ 375 h 10000"/>
                <a:gd name="connsiteX63" fmla="*/ 0 w 7818"/>
                <a:gd name="connsiteY63" fmla="*/ 302 h 10000"/>
                <a:gd name="connsiteX64" fmla="*/ 82 w 7818"/>
                <a:gd name="connsiteY64" fmla="*/ 0 h 10000"/>
                <a:gd name="connsiteX65" fmla="*/ 236 w 7818"/>
                <a:gd name="connsiteY65" fmla="*/ 43 h 10000"/>
                <a:gd name="connsiteX66" fmla="*/ 380 w 7818"/>
                <a:gd name="connsiteY66" fmla="*/ 115 h 10000"/>
                <a:gd name="connsiteX67" fmla="*/ 523 w 7818"/>
                <a:gd name="connsiteY67" fmla="*/ 188 h 10000"/>
                <a:gd name="connsiteX68" fmla="*/ 656 w 7818"/>
                <a:gd name="connsiteY68" fmla="*/ 274 h 10000"/>
                <a:gd name="connsiteX69" fmla="*/ 800 w 7818"/>
                <a:gd name="connsiteY69" fmla="*/ 375 h 10000"/>
                <a:gd name="connsiteX70" fmla="*/ 923 w 7818"/>
                <a:gd name="connsiteY70" fmla="*/ 461 h 10000"/>
                <a:gd name="connsiteX71" fmla="*/ 1045 w 7818"/>
                <a:gd name="connsiteY71" fmla="*/ 590 h 10000"/>
                <a:gd name="connsiteX72" fmla="*/ 1178 w 7818"/>
                <a:gd name="connsiteY72" fmla="*/ 720 h 10000"/>
                <a:gd name="connsiteX73" fmla="*/ 1301 w 7818"/>
                <a:gd name="connsiteY73" fmla="*/ 850 h 10000"/>
                <a:gd name="connsiteX74" fmla="*/ 1538 w 7818"/>
                <a:gd name="connsiteY74" fmla="*/ 1137 h 10000"/>
                <a:gd name="connsiteX75" fmla="*/ 1753 w 7818"/>
                <a:gd name="connsiteY75" fmla="*/ 1482 h 10000"/>
                <a:gd name="connsiteX76" fmla="*/ 1957 w 7818"/>
                <a:gd name="connsiteY76" fmla="*/ 1842 h 10000"/>
                <a:gd name="connsiteX77" fmla="*/ 2152 w 7818"/>
                <a:gd name="connsiteY77" fmla="*/ 2231 h 10000"/>
                <a:gd name="connsiteX78" fmla="*/ 2347 w 7818"/>
                <a:gd name="connsiteY78" fmla="*/ 2634 h 10000"/>
                <a:gd name="connsiteX79" fmla="*/ 2521 w 7818"/>
                <a:gd name="connsiteY79" fmla="*/ 3051 h 10000"/>
                <a:gd name="connsiteX80" fmla="*/ 2706 w 7818"/>
                <a:gd name="connsiteY80" fmla="*/ 3483 h 10000"/>
                <a:gd name="connsiteX81" fmla="*/ 2869 w 7818"/>
                <a:gd name="connsiteY81" fmla="*/ 3927 h 10000"/>
                <a:gd name="connsiteX82" fmla="*/ 3176 w 7818"/>
                <a:gd name="connsiteY82" fmla="*/ 4834 h 10000"/>
                <a:gd name="connsiteX83" fmla="*/ 3781 w 7818"/>
                <a:gd name="connsiteY83" fmla="*/ 6633 h 10000"/>
                <a:gd name="connsiteX84" fmla="*/ 4068 w 7818"/>
                <a:gd name="connsiteY84" fmla="*/ 7468 h 10000"/>
                <a:gd name="connsiteX85" fmla="*/ 4221 w 7818"/>
                <a:gd name="connsiteY85" fmla="*/ 7828 h 10000"/>
                <a:gd name="connsiteX86" fmla="*/ 4366 w 7818"/>
                <a:gd name="connsiteY86" fmla="*/ 8201 h 10000"/>
                <a:gd name="connsiteX87" fmla="*/ 4529 w 7818"/>
                <a:gd name="connsiteY87" fmla="*/ 8533 h 10000"/>
                <a:gd name="connsiteX88" fmla="*/ 4683 w 7818"/>
                <a:gd name="connsiteY88" fmla="*/ 8821 h 10000"/>
                <a:gd name="connsiteX89" fmla="*/ 4836 w 7818"/>
                <a:gd name="connsiteY89" fmla="*/ 9093 h 10000"/>
                <a:gd name="connsiteX90" fmla="*/ 5010 w 7818"/>
                <a:gd name="connsiteY90" fmla="*/ 9295 h 10000"/>
                <a:gd name="connsiteX91" fmla="*/ 5103 w 7818"/>
                <a:gd name="connsiteY91" fmla="*/ 9395 h 10000"/>
                <a:gd name="connsiteX92" fmla="*/ 5184 w 7818"/>
                <a:gd name="connsiteY92" fmla="*/ 9497 h 10000"/>
                <a:gd name="connsiteX93" fmla="*/ 5277 w 7818"/>
                <a:gd name="connsiteY93" fmla="*/ 9554 h 10000"/>
                <a:gd name="connsiteX94" fmla="*/ 5370 w 7818"/>
                <a:gd name="connsiteY94" fmla="*/ 9626 h 10000"/>
                <a:gd name="connsiteX95" fmla="*/ 5462 w 7818"/>
                <a:gd name="connsiteY95" fmla="*/ 9669 h 10000"/>
                <a:gd name="connsiteX96" fmla="*/ 5564 w 7818"/>
                <a:gd name="connsiteY96" fmla="*/ 9698 h 10000"/>
                <a:gd name="connsiteX97" fmla="*/ 5667 w 7818"/>
                <a:gd name="connsiteY97" fmla="*/ 9741 h 10000"/>
                <a:gd name="connsiteX98" fmla="*/ 5759 w 7818"/>
                <a:gd name="connsiteY98" fmla="*/ 9741 h 10000"/>
                <a:gd name="connsiteX0" fmla="*/ 7919 w 10553"/>
                <a:gd name="connsiteY0" fmla="*/ 9741 h 10000"/>
                <a:gd name="connsiteX1" fmla="*/ 7919 w 10553"/>
                <a:gd name="connsiteY1" fmla="*/ 9741 h 10000"/>
                <a:gd name="connsiteX2" fmla="*/ 8089 w 10553"/>
                <a:gd name="connsiteY2" fmla="*/ 9741 h 10000"/>
                <a:gd name="connsiteX3" fmla="*/ 8220 w 10553"/>
                <a:gd name="connsiteY3" fmla="*/ 9698 h 10000"/>
                <a:gd name="connsiteX4" fmla="*/ 8364 w 10553"/>
                <a:gd name="connsiteY4" fmla="*/ 9655 h 10000"/>
                <a:gd name="connsiteX5" fmla="*/ 8508 w 10553"/>
                <a:gd name="connsiteY5" fmla="*/ 9611 h 10000"/>
                <a:gd name="connsiteX6" fmla="*/ 8641 w 10553"/>
                <a:gd name="connsiteY6" fmla="*/ 9526 h 10000"/>
                <a:gd name="connsiteX7" fmla="*/ 8771 w 10553"/>
                <a:gd name="connsiteY7" fmla="*/ 9425 h 10000"/>
                <a:gd name="connsiteX8" fmla="*/ 8889 w 10553"/>
                <a:gd name="connsiteY8" fmla="*/ 9338 h 10000"/>
                <a:gd name="connsiteX9" fmla="*/ 9019 w 10553"/>
                <a:gd name="connsiteY9" fmla="*/ 9209 h 10000"/>
                <a:gd name="connsiteX10" fmla="*/ 9164 w 10553"/>
                <a:gd name="connsiteY10" fmla="*/ 9079 h 10000"/>
                <a:gd name="connsiteX11" fmla="*/ 9282 w 10553"/>
                <a:gd name="connsiteY11" fmla="*/ 8936 h 10000"/>
                <a:gd name="connsiteX12" fmla="*/ 9517 w 10553"/>
                <a:gd name="connsiteY12" fmla="*/ 8604 h 10000"/>
                <a:gd name="connsiteX13" fmla="*/ 9754 w 10553"/>
                <a:gd name="connsiteY13" fmla="*/ 8231 h 10000"/>
                <a:gd name="connsiteX14" fmla="*/ 9963 w 10553"/>
                <a:gd name="connsiteY14" fmla="*/ 7828 h 10000"/>
                <a:gd name="connsiteX15" fmla="*/ 10265 w 10553"/>
                <a:gd name="connsiteY15" fmla="*/ 8274 h 10000"/>
                <a:gd name="connsiteX16" fmla="*/ 10553 w 10553"/>
                <a:gd name="connsiteY16" fmla="*/ 8691 h 10000"/>
                <a:gd name="connsiteX17" fmla="*/ 10278 w 10553"/>
                <a:gd name="connsiteY17" fmla="*/ 8979 h 10000"/>
                <a:gd name="connsiteX18" fmla="*/ 10003 w 10553"/>
                <a:gd name="connsiteY18" fmla="*/ 9238 h 10000"/>
                <a:gd name="connsiteX19" fmla="*/ 9687 w 10553"/>
                <a:gd name="connsiteY19" fmla="*/ 9467 h 10000"/>
                <a:gd name="connsiteX20" fmla="*/ 9544 w 10553"/>
                <a:gd name="connsiteY20" fmla="*/ 9554 h 10000"/>
                <a:gd name="connsiteX21" fmla="*/ 9374 w 10553"/>
                <a:gd name="connsiteY21" fmla="*/ 9655 h 10000"/>
                <a:gd name="connsiteX22" fmla="*/ 9204 w 10553"/>
                <a:gd name="connsiteY22" fmla="*/ 9741 h 10000"/>
                <a:gd name="connsiteX23" fmla="*/ 9046 w 10553"/>
                <a:gd name="connsiteY23" fmla="*/ 9798 h 10000"/>
                <a:gd name="connsiteX24" fmla="*/ 8863 w 10553"/>
                <a:gd name="connsiteY24" fmla="*/ 9870 h 10000"/>
                <a:gd name="connsiteX25" fmla="*/ 8693 w 10553"/>
                <a:gd name="connsiteY25" fmla="*/ 9914 h 10000"/>
                <a:gd name="connsiteX26" fmla="*/ 8508 w 10553"/>
                <a:gd name="connsiteY26" fmla="*/ 9943 h 10000"/>
                <a:gd name="connsiteX27" fmla="*/ 8325 w 10553"/>
                <a:gd name="connsiteY27" fmla="*/ 9971 h 10000"/>
                <a:gd name="connsiteX28" fmla="*/ 8128 w 10553"/>
                <a:gd name="connsiteY28" fmla="*/ 10000 h 10000"/>
                <a:gd name="connsiteX29" fmla="*/ 7919 w 10553"/>
                <a:gd name="connsiteY29" fmla="*/ 10000 h 10000"/>
                <a:gd name="connsiteX30" fmla="*/ 7710 w 10553"/>
                <a:gd name="connsiteY30" fmla="*/ 10000 h 10000"/>
                <a:gd name="connsiteX31" fmla="*/ 7513 w 10553"/>
                <a:gd name="connsiteY31" fmla="*/ 9957 h 10000"/>
                <a:gd name="connsiteX32" fmla="*/ 7303 w 10553"/>
                <a:gd name="connsiteY32" fmla="*/ 9929 h 10000"/>
                <a:gd name="connsiteX33" fmla="*/ 7106 w 10553"/>
                <a:gd name="connsiteY33" fmla="*/ 9886 h 10000"/>
                <a:gd name="connsiteX34" fmla="*/ 6923 w 10553"/>
                <a:gd name="connsiteY34" fmla="*/ 9812 h 10000"/>
                <a:gd name="connsiteX35" fmla="*/ 6739 w 10553"/>
                <a:gd name="connsiteY35" fmla="*/ 9755 h 10000"/>
                <a:gd name="connsiteX36" fmla="*/ 6569 w 10553"/>
                <a:gd name="connsiteY36" fmla="*/ 9655 h 10000"/>
                <a:gd name="connsiteX37" fmla="*/ 6386 w 10553"/>
                <a:gd name="connsiteY37" fmla="*/ 9554 h 10000"/>
                <a:gd name="connsiteX38" fmla="*/ 6228 w 10553"/>
                <a:gd name="connsiteY38" fmla="*/ 9467 h 10000"/>
                <a:gd name="connsiteX39" fmla="*/ 6044 w 10553"/>
                <a:gd name="connsiteY39" fmla="*/ 9338 h 10000"/>
                <a:gd name="connsiteX40" fmla="*/ 5900 w 10553"/>
                <a:gd name="connsiteY40" fmla="*/ 9224 h 10000"/>
                <a:gd name="connsiteX41" fmla="*/ 5744 w 10553"/>
                <a:gd name="connsiteY41" fmla="*/ 9079 h 10000"/>
                <a:gd name="connsiteX42" fmla="*/ 5442 w 10553"/>
                <a:gd name="connsiteY42" fmla="*/ 8777 h 10000"/>
                <a:gd name="connsiteX43" fmla="*/ 5167 w 10553"/>
                <a:gd name="connsiteY43" fmla="*/ 8446 h 10000"/>
                <a:gd name="connsiteX44" fmla="*/ 4906 w 10553"/>
                <a:gd name="connsiteY44" fmla="*/ 8086 h 10000"/>
                <a:gd name="connsiteX45" fmla="*/ 4655 w 10553"/>
                <a:gd name="connsiteY45" fmla="*/ 7697 h 10000"/>
                <a:gd name="connsiteX46" fmla="*/ 4407 w 10553"/>
                <a:gd name="connsiteY46" fmla="*/ 7295 h 10000"/>
                <a:gd name="connsiteX47" fmla="*/ 4184 w 10553"/>
                <a:gd name="connsiteY47" fmla="*/ 6878 h 10000"/>
                <a:gd name="connsiteX48" fmla="*/ 3962 w 10553"/>
                <a:gd name="connsiteY48" fmla="*/ 6446 h 10000"/>
                <a:gd name="connsiteX49" fmla="*/ 3752 w 10553"/>
                <a:gd name="connsiteY49" fmla="*/ 6000 h 10000"/>
                <a:gd name="connsiteX50" fmla="*/ 3345 w 10553"/>
                <a:gd name="connsiteY50" fmla="*/ 5094 h 10000"/>
                <a:gd name="connsiteX51" fmla="*/ 2585 w 10553"/>
                <a:gd name="connsiteY51" fmla="*/ 3310 h 10000"/>
                <a:gd name="connsiteX52" fmla="*/ 2415 w 10553"/>
                <a:gd name="connsiteY52" fmla="*/ 2863 h 10000"/>
                <a:gd name="connsiteX53" fmla="*/ 2217 w 10553"/>
                <a:gd name="connsiteY53" fmla="*/ 2460 h 10000"/>
                <a:gd name="connsiteX54" fmla="*/ 2034 w 10553"/>
                <a:gd name="connsiteY54" fmla="*/ 2101 h 10000"/>
                <a:gd name="connsiteX55" fmla="*/ 1837 w 10553"/>
                <a:gd name="connsiteY55" fmla="*/ 1727 h 10000"/>
                <a:gd name="connsiteX56" fmla="*/ 1642 w 10553"/>
                <a:gd name="connsiteY56" fmla="*/ 1396 h 10000"/>
                <a:gd name="connsiteX57" fmla="*/ 1445 w 10553"/>
                <a:gd name="connsiteY57" fmla="*/ 1108 h 10000"/>
                <a:gd name="connsiteX58" fmla="*/ 1236 w 10553"/>
                <a:gd name="connsiteY58" fmla="*/ 836 h 10000"/>
                <a:gd name="connsiteX59" fmla="*/ 1026 w 10553"/>
                <a:gd name="connsiteY59" fmla="*/ 634 h 10000"/>
                <a:gd name="connsiteX60" fmla="*/ 907 w 10553"/>
                <a:gd name="connsiteY60" fmla="*/ 533 h 10000"/>
                <a:gd name="connsiteX61" fmla="*/ 790 w 10553"/>
                <a:gd name="connsiteY61" fmla="*/ 432 h 10000"/>
                <a:gd name="connsiteX62" fmla="*/ 671 w 10553"/>
                <a:gd name="connsiteY62" fmla="*/ 375 h 10000"/>
                <a:gd name="connsiteX63" fmla="*/ 0 w 10553"/>
                <a:gd name="connsiteY63" fmla="*/ 841 h 10000"/>
                <a:gd name="connsiteX64" fmla="*/ 658 w 10553"/>
                <a:gd name="connsiteY64" fmla="*/ 0 h 10000"/>
                <a:gd name="connsiteX65" fmla="*/ 855 w 10553"/>
                <a:gd name="connsiteY65" fmla="*/ 43 h 10000"/>
                <a:gd name="connsiteX66" fmla="*/ 1039 w 10553"/>
                <a:gd name="connsiteY66" fmla="*/ 115 h 10000"/>
                <a:gd name="connsiteX67" fmla="*/ 1222 w 10553"/>
                <a:gd name="connsiteY67" fmla="*/ 188 h 10000"/>
                <a:gd name="connsiteX68" fmla="*/ 1392 w 10553"/>
                <a:gd name="connsiteY68" fmla="*/ 274 h 10000"/>
                <a:gd name="connsiteX69" fmla="*/ 1576 w 10553"/>
                <a:gd name="connsiteY69" fmla="*/ 375 h 10000"/>
                <a:gd name="connsiteX70" fmla="*/ 1734 w 10553"/>
                <a:gd name="connsiteY70" fmla="*/ 461 h 10000"/>
                <a:gd name="connsiteX71" fmla="*/ 1890 w 10553"/>
                <a:gd name="connsiteY71" fmla="*/ 590 h 10000"/>
                <a:gd name="connsiteX72" fmla="*/ 2060 w 10553"/>
                <a:gd name="connsiteY72" fmla="*/ 720 h 10000"/>
                <a:gd name="connsiteX73" fmla="*/ 2217 w 10553"/>
                <a:gd name="connsiteY73" fmla="*/ 850 h 10000"/>
                <a:gd name="connsiteX74" fmla="*/ 2520 w 10553"/>
                <a:gd name="connsiteY74" fmla="*/ 1137 h 10000"/>
                <a:gd name="connsiteX75" fmla="*/ 2795 w 10553"/>
                <a:gd name="connsiteY75" fmla="*/ 1482 h 10000"/>
                <a:gd name="connsiteX76" fmla="*/ 3056 w 10553"/>
                <a:gd name="connsiteY76" fmla="*/ 1842 h 10000"/>
                <a:gd name="connsiteX77" fmla="*/ 3306 w 10553"/>
                <a:gd name="connsiteY77" fmla="*/ 2231 h 10000"/>
                <a:gd name="connsiteX78" fmla="*/ 3555 w 10553"/>
                <a:gd name="connsiteY78" fmla="*/ 2634 h 10000"/>
                <a:gd name="connsiteX79" fmla="*/ 3778 w 10553"/>
                <a:gd name="connsiteY79" fmla="*/ 3051 h 10000"/>
                <a:gd name="connsiteX80" fmla="*/ 4014 w 10553"/>
                <a:gd name="connsiteY80" fmla="*/ 3483 h 10000"/>
                <a:gd name="connsiteX81" fmla="*/ 4223 w 10553"/>
                <a:gd name="connsiteY81" fmla="*/ 3927 h 10000"/>
                <a:gd name="connsiteX82" fmla="*/ 4615 w 10553"/>
                <a:gd name="connsiteY82" fmla="*/ 4834 h 10000"/>
                <a:gd name="connsiteX83" fmla="*/ 5389 w 10553"/>
                <a:gd name="connsiteY83" fmla="*/ 6633 h 10000"/>
                <a:gd name="connsiteX84" fmla="*/ 5756 w 10553"/>
                <a:gd name="connsiteY84" fmla="*/ 7468 h 10000"/>
                <a:gd name="connsiteX85" fmla="*/ 5952 w 10553"/>
                <a:gd name="connsiteY85" fmla="*/ 7828 h 10000"/>
                <a:gd name="connsiteX86" fmla="*/ 6138 w 10553"/>
                <a:gd name="connsiteY86" fmla="*/ 8201 h 10000"/>
                <a:gd name="connsiteX87" fmla="*/ 6346 w 10553"/>
                <a:gd name="connsiteY87" fmla="*/ 8533 h 10000"/>
                <a:gd name="connsiteX88" fmla="*/ 6543 w 10553"/>
                <a:gd name="connsiteY88" fmla="*/ 8821 h 10000"/>
                <a:gd name="connsiteX89" fmla="*/ 6739 w 10553"/>
                <a:gd name="connsiteY89" fmla="*/ 9093 h 10000"/>
                <a:gd name="connsiteX90" fmla="*/ 6961 w 10553"/>
                <a:gd name="connsiteY90" fmla="*/ 9295 h 10000"/>
                <a:gd name="connsiteX91" fmla="*/ 7080 w 10553"/>
                <a:gd name="connsiteY91" fmla="*/ 9395 h 10000"/>
                <a:gd name="connsiteX92" fmla="*/ 7184 w 10553"/>
                <a:gd name="connsiteY92" fmla="*/ 9497 h 10000"/>
                <a:gd name="connsiteX93" fmla="*/ 7303 w 10553"/>
                <a:gd name="connsiteY93" fmla="*/ 9554 h 10000"/>
                <a:gd name="connsiteX94" fmla="*/ 7422 w 10553"/>
                <a:gd name="connsiteY94" fmla="*/ 9626 h 10000"/>
                <a:gd name="connsiteX95" fmla="*/ 7539 w 10553"/>
                <a:gd name="connsiteY95" fmla="*/ 9669 h 10000"/>
                <a:gd name="connsiteX96" fmla="*/ 7670 w 10553"/>
                <a:gd name="connsiteY96" fmla="*/ 9698 h 10000"/>
                <a:gd name="connsiteX97" fmla="*/ 7802 w 10553"/>
                <a:gd name="connsiteY97" fmla="*/ 9741 h 10000"/>
                <a:gd name="connsiteX98" fmla="*/ 7919 w 10553"/>
                <a:gd name="connsiteY98" fmla="*/ 9741 h 10000"/>
                <a:gd name="connsiteX0" fmla="*/ 7960 w 10594"/>
                <a:gd name="connsiteY0" fmla="*/ 9813 h 10072"/>
                <a:gd name="connsiteX1" fmla="*/ 7960 w 10594"/>
                <a:gd name="connsiteY1" fmla="*/ 9813 h 10072"/>
                <a:gd name="connsiteX2" fmla="*/ 8130 w 10594"/>
                <a:gd name="connsiteY2" fmla="*/ 9813 h 10072"/>
                <a:gd name="connsiteX3" fmla="*/ 8261 w 10594"/>
                <a:gd name="connsiteY3" fmla="*/ 9770 h 10072"/>
                <a:gd name="connsiteX4" fmla="*/ 8405 w 10594"/>
                <a:gd name="connsiteY4" fmla="*/ 9727 h 10072"/>
                <a:gd name="connsiteX5" fmla="*/ 8549 w 10594"/>
                <a:gd name="connsiteY5" fmla="*/ 9683 h 10072"/>
                <a:gd name="connsiteX6" fmla="*/ 8682 w 10594"/>
                <a:gd name="connsiteY6" fmla="*/ 9598 h 10072"/>
                <a:gd name="connsiteX7" fmla="*/ 8812 w 10594"/>
                <a:gd name="connsiteY7" fmla="*/ 9497 h 10072"/>
                <a:gd name="connsiteX8" fmla="*/ 8930 w 10594"/>
                <a:gd name="connsiteY8" fmla="*/ 9410 h 10072"/>
                <a:gd name="connsiteX9" fmla="*/ 9060 w 10594"/>
                <a:gd name="connsiteY9" fmla="*/ 9281 h 10072"/>
                <a:gd name="connsiteX10" fmla="*/ 9205 w 10594"/>
                <a:gd name="connsiteY10" fmla="*/ 9151 h 10072"/>
                <a:gd name="connsiteX11" fmla="*/ 9323 w 10594"/>
                <a:gd name="connsiteY11" fmla="*/ 9008 h 10072"/>
                <a:gd name="connsiteX12" fmla="*/ 9558 w 10594"/>
                <a:gd name="connsiteY12" fmla="*/ 8676 h 10072"/>
                <a:gd name="connsiteX13" fmla="*/ 9795 w 10594"/>
                <a:gd name="connsiteY13" fmla="*/ 8303 h 10072"/>
                <a:gd name="connsiteX14" fmla="*/ 10004 w 10594"/>
                <a:gd name="connsiteY14" fmla="*/ 7900 h 10072"/>
                <a:gd name="connsiteX15" fmla="*/ 10306 w 10594"/>
                <a:gd name="connsiteY15" fmla="*/ 8346 h 10072"/>
                <a:gd name="connsiteX16" fmla="*/ 10594 w 10594"/>
                <a:gd name="connsiteY16" fmla="*/ 8763 h 10072"/>
                <a:gd name="connsiteX17" fmla="*/ 10319 w 10594"/>
                <a:gd name="connsiteY17" fmla="*/ 9051 h 10072"/>
                <a:gd name="connsiteX18" fmla="*/ 10044 w 10594"/>
                <a:gd name="connsiteY18" fmla="*/ 9310 h 10072"/>
                <a:gd name="connsiteX19" fmla="*/ 9728 w 10594"/>
                <a:gd name="connsiteY19" fmla="*/ 9539 h 10072"/>
                <a:gd name="connsiteX20" fmla="*/ 9585 w 10594"/>
                <a:gd name="connsiteY20" fmla="*/ 9626 h 10072"/>
                <a:gd name="connsiteX21" fmla="*/ 9415 w 10594"/>
                <a:gd name="connsiteY21" fmla="*/ 9727 h 10072"/>
                <a:gd name="connsiteX22" fmla="*/ 9245 w 10594"/>
                <a:gd name="connsiteY22" fmla="*/ 9813 h 10072"/>
                <a:gd name="connsiteX23" fmla="*/ 9087 w 10594"/>
                <a:gd name="connsiteY23" fmla="*/ 9870 h 10072"/>
                <a:gd name="connsiteX24" fmla="*/ 8904 w 10594"/>
                <a:gd name="connsiteY24" fmla="*/ 9942 h 10072"/>
                <a:gd name="connsiteX25" fmla="*/ 8734 w 10594"/>
                <a:gd name="connsiteY25" fmla="*/ 9986 h 10072"/>
                <a:gd name="connsiteX26" fmla="*/ 8549 w 10594"/>
                <a:gd name="connsiteY26" fmla="*/ 10015 h 10072"/>
                <a:gd name="connsiteX27" fmla="*/ 8366 w 10594"/>
                <a:gd name="connsiteY27" fmla="*/ 10043 h 10072"/>
                <a:gd name="connsiteX28" fmla="*/ 8169 w 10594"/>
                <a:gd name="connsiteY28" fmla="*/ 10072 h 10072"/>
                <a:gd name="connsiteX29" fmla="*/ 7960 w 10594"/>
                <a:gd name="connsiteY29" fmla="*/ 10072 h 10072"/>
                <a:gd name="connsiteX30" fmla="*/ 7751 w 10594"/>
                <a:gd name="connsiteY30" fmla="*/ 10072 h 10072"/>
                <a:gd name="connsiteX31" fmla="*/ 7554 w 10594"/>
                <a:gd name="connsiteY31" fmla="*/ 10029 h 10072"/>
                <a:gd name="connsiteX32" fmla="*/ 7344 w 10594"/>
                <a:gd name="connsiteY32" fmla="*/ 10001 h 10072"/>
                <a:gd name="connsiteX33" fmla="*/ 7147 w 10594"/>
                <a:gd name="connsiteY33" fmla="*/ 9958 h 10072"/>
                <a:gd name="connsiteX34" fmla="*/ 6964 w 10594"/>
                <a:gd name="connsiteY34" fmla="*/ 9884 h 10072"/>
                <a:gd name="connsiteX35" fmla="*/ 6780 w 10594"/>
                <a:gd name="connsiteY35" fmla="*/ 9827 h 10072"/>
                <a:gd name="connsiteX36" fmla="*/ 6610 w 10594"/>
                <a:gd name="connsiteY36" fmla="*/ 9727 h 10072"/>
                <a:gd name="connsiteX37" fmla="*/ 6427 w 10594"/>
                <a:gd name="connsiteY37" fmla="*/ 9626 h 10072"/>
                <a:gd name="connsiteX38" fmla="*/ 6269 w 10594"/>
                <a:gd name="connsiteY38" fmla="*/ 9539 h 10072"/>
                <a:gd name="connsiteX39" fmla="*/ 6085 w 10594"/>
                <a:gd name="connsiteY39" fmla="*/ 9410 h 10072"/>
                <a:gd name="connsiteX40" fmla="*/ 5941 w 10594"/>
                <a:gd name="connsiteY40" fmla="*/ 9296 h 10072"/>
                <a:gd name="connsiteX41" fmla="*/ 5785 w 10594"/>
                <a:gd name="connsiteY41" fmla="*/ 9151 h 10072"/>
                <a:gd name="connsiteX42" fmla="*/ 5483 w 10594"/>
                <a:gd name="connsiteY42" fmla="*/ 8849 h 10072"/>
                <a:gd name="connsiteX43" fmla="*/ 5208 w 10594"/>
                <a:gd name="connsiteY43" fmla="*/ 8518 h 10072"/>
                <a:gd name="connsiteX44" fmla="*/ 4947 w 10594"/>
                <a:gd name="connsiteY44" fmla="*/ 8158 h 10072"/>
                <a:gd name="connsiteX45" fmla="*/ 4696 w 10594"/>
                <a:gd name="connsiteY45" fmla="*/ 7769 h 10072"/>
                <a:gd name="connsiteX46" fmla="*/ 4448 w 10594"/>
                <a:gd name="connsiteY46" fmla="*/ 7367 h 10072"/>
                <a:gd name="connsiteX47" fmla="*/ 4225 w 10594"/>
                <a:gd name="connsiteY47" fmla="*/ 6950 h 10072"/>
                <a:gd name="connsiteX48" fmla="*/ 4003 w 10594"/>
                <a:gd name="connsiteY48" fmla="*/ 6518 h 10072"/>
                <a:gd name="connsiteX49" fmla="*/ 3793 w 10594"/>
                <a:gd name="connsiteY49" fmla="*/ 6072 h 10072"/>
                <a:gd name="connsiteX50" fmla="*/ 3386 w 10594"/>
                <a:gd name="connsiteY50" fmla="*/ 5166 h 10072"/>
                <a:gd name="connsiteX51" fmla="*/ 2626 w 10594"/>
                <a:gd name="connsiteY51" fmla="*/ 3382 h 10072"/>
                <a:gd name="connsiteX52" fmla="*/ 2456 w 10594"/>
                <a:gd name="connsiteY52" fmla="*/ 2935 h 10072"/>
                <a:gd name="connsiteX53" fmla="*/ 2258 w 10594"/>
                <a:gd name="connsiteY53" fmla="*/ 2532 h 10072"/>
                <a:gd name="connsiteX54" fmla="*/ 2075 w 10594"/>
                <a:gd name="connsiteY54" fmla="*/ 2173 h 10072"/>
                <a:gd name="connsiteX55" fmla="*/ 1878 w 10594"/>
                <a:gd name="connsiteY55" fmla="*/ 1799 h 10072"/>
                <a:gd name="connsiteX56" fmla="*/ 1683 w 10594"/>
                <a:gd name="connsiteY56" fmla="*/ 1468 h 10072"/>
                <a:gd name="connsiteX57" fmla="*/ 1486 w 10594"/>
                <a:gd name="connsiteY57" fmla="*/ 1180 h 10072"/>
                <a:gd name="connsiteX58" fmla="*/ 1277 w 10594"/>
                <a:gd name="connsiteY58" fmla="*/ 908 h 10072"/>
                <a:gd name="connsiteX59" fmla="*/ 1067 w 10594"/>
                <a:gd name="connsiteY59" fmla="*/ 706 h 10072"/>
                <a:gd name="connsiteX60" fmla="*/ 948 w 10594"/>
                <a:gd name="connsiteY60" fmla="*/ 605 h 10072"/>
                <a:gd name="connsiteX61" fmla="*/ 831 w 10594"/>
                <a:gd name="connsiteY61" fmla="*/ 504 h 10072"/>
                <a:gd name="connsiteX62" fmla="*/ 712 w 10594"/>
                <a:gd name="connsiteY62" fmla="*/ 447 h 10072"/>
                <a:gd name="connsiteX63" fmla="*/ 41 w 10594"/>
                <a:gd name="connsiteY63" fmla="*/ 913 h 10072"/>
                <a:gd name="connsiteX64" fmla="*/ 7 w 10594"/>
                <a:gd name="connsiteY64" fmla="*/ 0 h 10072"/>
                <a:gd name="connsiteX65" fmla="*/ 896 w 10594"/>
                <a:gd name="connsiteY65" fmla="*/ 115 h 10072"/>
                <a:gd name="connsiteX66" fmla="*/ 1080 w 10594"/>
                <a:gd name="connsiteY66" fmla="*/ 187 h 10072"/>
                <a:gd name="connsiteX67" fmla="*/ 1263 w 10594"/>
                <a:gd name="connsiteY67" fmla="*/ 260 h 10072"/>
                <a:gd name="connsiteX68" fmla="*/ 1433 w 10594"/>
                <a:gd name="connsiteY68" fmla="*/ 346 h 10072"/>
                <a:gd name="connsiteX69" fmla="*/ 1617 w 10594"/>
                <a:gd name="connsiteY69" fmla="*/ 447 h 10072"/>
                <a:gd name="connsiteX70" fmla="*/ 1775 w 10594"/>
                <a:gd name="connsiteY70" fmla="*/ 533 h 10072"/>
                <a:gd name="connsiteX71" fmla="*/ 1931 w 10594"/>
                <a:gd name="connsiteY71" fmla="*/ 662 h 10072"/>
                <a:gd name="connsiteX72" fmla="*/ 2101 w 10594"/>
                <a:gd name="connsiteY72" fmla="*/ 792 h 10072"/>
                <a:gd name="connsiteX73" fmla="*/ 2258 w 10594"/>
                <a:gd name="connsiteY73" fmla="*/ 922 h 10072"/>
                <a:gd name="connsiteX74" fmla="*/ 2561 w 10594"/>
                <a:gd name="connsiteY74" fmla="*/ 1209 h 10072"/>
                <a:gd name="connsiteX75" fmla="*/ 2836 w 10594"/>
                <a:gd name="connsiteY75" fmla="*/ 1554 h 10072"/>
                <a:gd name="connsiteX76" fmla="*/ 3097 w 10594"/>
                <a:gd name="connsiteY76" fmla="*/ 1914 h 10072"/>
                <a:gd name="connsiteX77" fmla="*/ 3347 w 10594"/>
                <a:gd name="connsiteY77" fmla="*/ 2303 h 10072"/>
                <a:gd name="connsiteX78" fmla="*/ 3596 w 10594"/>
                <a:gd name="connsiteY78" fmla="*/ 2706 h 10072"/>
                <a:gd name="connsiteX79" fmla="*/ 3819 w 10594"/>
                <a:gd name="connsiteY79" fmla="*/ 3123 h 10072"/>
                <a:gd name="connsiteX80" fmla="*/ 4055 w 10594"/>
                <a:gd name="connsiteY80" fmla="*/ 3555 h 10072"/>
                <a:gd name="connsiteX81" fmla="*/ 4264 w 10594"/>
                <a:gd name="connsiteY81" fmla="*/ 3999 h 10072"/>
                <a:gd name="connsiteX82" fmla="*/ 4656 w 10594"/>
                <a:gd name="connsiteY82" fmla="*/ 4906 h 10072"/>
                <a:gd name="connsiteX83" fmla="*/ 5430 w 10594"/>
                <a:gd name="connsiteY83" fmla="*/ 6705 h 10072"/>
                <a:gd name="connsiteX84" fmla="*/ 5797 w 10594"/>
                <a:gd name="connsiteY84" fmla="*/ 7540 h 10072"/>
                <a:gd name="connsiteX85" fmla="*/ 5993 w 10594"/>
                <a:gd name="connsiteY85" fmla="*/ 7900 h 10072"/>
                <a:gd name="connsiteX86" fmla="*/ 6179 w 10594"/>
                <a:gd name="connsiteY86" fmla="*/ 8273 h 10072"/>
                <a:gd name="connsiteX87" fmla="*/ 6387 w 10594"/>
                <a:gd name="connsiteY87" fmla="*/ 8605 h 10072"/>
                <a:gd name="connsiteX88" fmla="*/ 6584 w 10594"/>
                <a:gd name="connsiteY88" fmla="*/ 8893 h 10072"/>
                <a:gd name="connsiteX89" fmla="*/ 6780 w 10594"/>
                <a:gd name="connsiteY89" fmla="*/ 9165 h 10072"/>
                <a:gd name="connsiteX90" fmla="*/ 7002 w 10594"/>
                <a:gd name="connsiteY90" fmla="*/ 9367 h 10072"/>
                <a:gd name="connsiteX91" fmla="*/ 7121 w 10594"/>
                <a:gd name="connsiteY91" fmla="*/ 9467 h 10072"/>
                <a:gd name="connsiteX92" fmla="*/ 7225 w 10594"/>
                <a:gd name="connsiteY92" fmla="*/ 9569 h 10072"/>
                <a:gd name="connsiteX93" fmla="*/ 7344 w 10594"/>
                <a:gd name="connsiteY93" fmla="*/ 9626 h 10072"/>
                <a:gd name="connsiteX94" fmla="*/ 7463 w 10594"/>
                <a:gd name="connsiteY94" fmla="*/ 9698 h 10072"/>
                <a:gd name="connsiteX95" fmla="*/ 7580 w 10594"/>
                <a:gd name="connsiteY95" fmla="*/ 9741 h 10072"/>
                <a:gd name="connsiteX96" fmla="*/ 7711 w 10594"/>
                <a:gd name="connsiteY96" fmla="*/ 9770 h 10072"/>
                <a:gd name="connsiteX97" fmla="*/ 7843 w 10594"/>
                <a:gd name="connsiteY97" fmla="*/ 9813 h 10072"/>
                <a:gd name="connsiteX98" fmla="*/ 7960 w 10594"/>
                <a:gd name="connsiteY98" fmla="*/ 9813 h 10072"/>
                <a:gd name="connsiteX0" fmla="*/ 8265 w 10899"/>
                <a:gd name="connsiteY0" fmla="*/ 9813 h 10072"/>
                <a:gd name="connsiteX1" fmla="*/ 8265 w 10899"/>
                <a:gd name="connsiteY1" fmla="*/ 9813 h 10072"/>
                <a:gd name="connsiteX2" fmla="*/ 8435 w 10899"/>
                <a:gd name="connsiteY2" fmla="*/ 9813 h 10072"/>
                <a:gd name="connsiteX3" fmla="*/ 8566 w 10899"/>
                <a:gd name="connsiteY3" fmla="*/ 9770 h 10072"/>
                <a:gd name="connsiteX4" fmla="*/ 8710 w 10899"/>
                <a:gd name="connsiteY4" fmla="*/ 9727 h 10072"/>
                <a:gd name="connsiteX5" fmla="*/ 8854 w 10899"/>
                <a:gd name="connsiteY5" fmla="*/ 9683 h 10072"/>
                <a:gd name="connsiteX6" fmla="*/ 8987 w 10899"/>
                <a:gd name="connsiteY6" fmla="*/ 9598 h 10072"/>
                <a:gd name="connsiteX7" fmla="*/ 9117 w 10899"/>
                <a:gd name="connsiteY7" fmla="*/ 9497 h 10072"/>
                <a:gd name="connsiteX8" fmla="*/ 9235 w 10899"/>
                <a:gd name="connsiteY8" fmla="*/ 9410 h 10072"/>
                <a:gd name="connsiteX9" fmla="*/ 9365 w 10899"/>
                <a:gd name="connsiteY9" fmla="*/ 9281 h 10072"/>
                <a:gd name="connsiteX10" fmla="*/ 9510 w 10899"/>
                <a:gd name="connsiteY10" fmla="*/ 9151 h 10072"/>
                <a:gd name="connsiteX11" fmla="*/ 9628 w 10899"/>
                <a:gd name="connsiteY11" fmla="*/ 9008 h 10072"/>
                <a:gd name="connsiteX12" fmla="*/ 9863 w 10899"/>
                <a:gd name="connsiteY12" fmla="*/ 8676 h 10072"/>
                <a:gd name="connsiteX13" fmla="*/ 10100 w 10899"/>
                <a:gd name="connsiteY13" fmla="*/ 8303 h 10072"/>
                <a:gd name="connsiteX14" fmla="*/ 10309 w 10899"/>
                <a:gd name="connsiteY14" fmla="*/ 7900 h 10072"/>
                <a:gd name="connsiteX15" fmla="*/ 10611 w 10899"/>
                <a:gd name="connsiteY15" fmla="*/ 8346 h 10072"/>
                <a:gd name="connsiteX16" fmla="*/ 10899 w 10899"/>
                <a:gd name="connsiteY16" fmla="*/ 8763 h 10072"/>
                <a:gd name="connsiteX17" fmla="*/ 10624 w 10899"/>
                <a:gd name="connsiteY17" fmla="*/ 9051 h 10072"/>
                <a:gd name="connsiteX18" fmla="*/ 10349 w 10899"/>
                <a:gd name="connsiteY18" fmla="*/ 9310 h 10072"/>
                <a:gd name="connsiteX19" fmla="*/ 10033 w 10899"/>
                <a:gd name="connsiteY19" fmla="*/ 9539 h 10072"/>
                <a:gd name="connsiteX20" fmla="*/ 9890 w 10899"/>
                <a:gd name="connsiteY20" fmla="*/ 9626 h 10072"/>
                <a:gd name="connsiteX21" fmla="*/ 9720 w 10899"/>
                <a:gd name="connsiteY21" fmla="*/ 9727 h 10072"/>
                <a:gd name="connsiteX22" fmla="*/ 9550 w 10899"/>
                <a:gd name="connsiteY22" fmla="*/ 9813 h 10072"/>
                <a:gd name="connsiteX23" fmla="*/ 9392 w 10899"/>
                <a:gd name="connsiteY23" fmla="*/ 9870 h 10072"/>
                <a:gd name="connsiteX24" fmla="*/ 9209 w 10899"/>
                <a:gd name="connsiteY24" fmla="*/ 9942 h 10072"/>
                <a:gd name="connsiteX25" fmla="*/ 9039 w 10899"/>
                <a:gd name="connsiteY25" fmla="*/ 9986 h 10072"/>
                <a:gd name="connsiteX26" fmla="*/ 8854 w 10899"/>
                <a:gd name="connsiteY26" fmla="*/ 10015 h 10072"/>
                <a:gd name="connsiteX27" fmla="*/ 8671 w 10899"/>
                <a:gd name="connsiteY27" fmla="*/ 10043 h 10072"/>
                <a:gd name="connsiteX28" fmla="*/ 8474 w 10899"/>
                <a:gd name="connsiteY28" fmla="*/ 10072 h 10072"/>
                <a:gd name="connsiteX29" fmla="*/ 8265 w 10899"/>
                <a:gd name="connsiteY29" fmla="*/ 10072 h 10072"/>
                <a:gd name="connsiteX30" fmla="*/ 8056 w 10899"/>
                <a:gd name="connsiteY30" fmla="*/ 10072 h 10072"/>
                <a:gd name="connsiteX31" fmla="*/ 7859 w 10899"/>
                <a:gd name="connsiteY31" fmla="*/ 10029 h 10072"/>
                <a:gd name="connsiteX32" fmla="*/ 7649 w 10899"/>
                <a:gd name="connsiteY32" fmla="*/ 10001 h 10072"/>
                <a:gd name="connsiteX33" fmla="*/ 7452 w 10899"/>
                <a:gd name="connsiteY33" fmla="*/ 9958 h 10072"/>
                <a:gd name="connsiteX34" fmla="*/ 7269 w 10899"/>
                <a:gd name="connsiteY34" fmla="*/ 9884 h 10072"/>
                <a:gd name="connsiteX35" fmla="*/ 7085 w 10899"/>
                <a:gd name="connsiteY35" fmla="*/ 9827 h 10072"/>
                <a:gd name="connsiteX36" fmla="*/ 6915 w 10899"/>
                <a:gd name="connsiteY36" fmla="*/ 9727 h 10072"/>
                <a:gd name="connsiteX37" fmla="*/ 6732 w 10899"/>
                <a:gd name="connsiteY37" fmla="*/ 9626 h 10072"/>
                <a:gd name="connsiteX38" fmla="*/ 6574 w 10899"/>
                <a:gd name="connsiteY38" fmla="*/ 9539 h 10072"/>
                <a:gd name="connsiteX39" fmla="*/ 6390 w 10899"/>
                <a:gd name="connsiteY39" fmla="*/ 9410 h 10072"/>
                <a:gd name="connsiteX40" fmla="*/ 6246 w 10899"/>
                <a:gd name="connsiteY40" fmla="*/ 9296 h 10072"/>
                <a:gd name="connsiteX41" fmla="*/ 6090 w 10899"/>
                <a:gd name="connsiteY41" fmla="*/ 9151 h 10072"/>
                <a:gd name="connsiteX42" fmla="*/ 5788 w 10899"/>
                <a:gd name="connsiteY42" fmla="*/ 8849 h 10072"/>
                <a:gd name="connsiteX43" fmla="*/ 5513 w 10899"/>
                <a:gd name="connsiteY43" fmla="*/ 8518 h 10072"/>
                <a:gd name="connsiteX44" fmla="*/ 5252 w 10899"/>
                <a:gd name="connsiteY44" fmla="*/ 8158 h 10072"/>
                <a:gd name="connsiteX45" fmla="*/ 5001 w 10899"/>
                <a:gd name="connsiteY45" fmla="*/ 7769 h 10072"/>
                <a:gd name="connsiteX46" fmla="*/ 4753 w 10899"/>
                <a:gd name="connsiteY46" fmla="*/ 7367 h 10072"/>
                <a:gd name="connsiteX47" fmla="*/ 4530 w 10899"/>
                <a:gd name="connsiteY47" fmla="*/ 6950 h 10072"/>
                <a:gd name="connsiteX48" fmla="*/ 4308 w 10899"/>
                <a:gd name="connsiteY48" fmla="*/ 6518 h 10072"/>
                <a:gd name="connsiteX49" fmla="*/ 4098 w 10899"/>
                <a:gd name="connsiteY49" fmla="*/ 6072 h 10072"/>
                <a:gd name="connsiteX50" fmla="*/ 3691 w 10899"/>
                <a:gd name="connsiteY50" fmla="*/ 5166 h 10072"/>
                <a:gd name="connsiteX51" fmla="*/ 2931 w 10899"/>
                <a:gd name="connsiteY51" fmla="*/ 3382 h 10072"/>
                <a:gd name="connsiteX52" fmla="*/ 2761 w 10899"/>
                <a:gd name="connsiteY52" fmla="*/ 2935 h 10072"/>
                <a:gd name="connsiteX53" fmla="*/ 2563 w 10899"/>
                <a:gd name="connsiteY53" fmla="*/ 2532 h 10072"/>
                <a:gd name="connsiteX54" fmla="*/ 2380 w 10899"/>
                <a:gd name="connsiteY54" fmla="*/ 2173 h 10072"/>
                <a:gd name="connsiteX55" fmla="*/ 2183 w 10899"/>
                <a:gd name="connsiteY55" fmla="*/ 1799 h 10072"/>
                <a:gd name="connsiteX56" fmla="*/ 1988 w 10899"/>
                <a:gd name="connsiteY56" fmla="*/ 1468 h 10072"/>
                <a:gd name="connsiteX57" fmla="*/ 1791 w 10899"/>
                <a:gd name="connsiteY57" fmla="*/ 1180 h 10072"/>
                <a:gd name="connsiteX58" fmla="*/ 1582 w 10899"/>
                <a:gd name="connsiteY58" fmla="*/ 908 h 10072"/>
                <a:gd name="connsiteX59" fmla="*/ 1372 w 10899"/>
                <a:gd name="connsiteY59" fmla="*/ 706 h 10072"/>
                <a:gd name="connsiteX60" fmla="*/ 1253 w 10899"/>
                <a:gd name="connsiteY60" fmla="*/ 605 h 10072"/>
                <a:gd name="connsiteX61" fmla="*/ 1136 w 10899"/>
                <a:gd name="connsiteY61" fmla="*/ 504 h 10072"/>
                <a:gd name="connsiteX62" fmla="*/ 1017 w 10899"/>
                <a:gd name="connsiteY62" fmla="*/ 447 h 10072"/>
                <a:gd name="connsiteX63" fmla="*/ 0 w 10899"/>
                <a:gd name="connsiteY63" fmla="*/ 626 h 10072"/>
                <a:gd name="connsiteX64" fmla="*/ 312 w 10899"/>
                <a:gd name="connsiteY64" fmla="*/ 0 h 10072"/>
                <a:gd name="connsiteX65" fmla="*/ 1201 w 10899"/>
                <a:gd name="connsiteY65" fmla="*/ 115 h 10072"/>
                <a:gd name="connsiteX66" fmla="*/ 1385 w 10899"/>
                <a:gd name="connsiteY66" fmla="*/ 187 h 10072"/>
                <a:gd name="connsiteX67" fmla="*/ 1568 w 10899"/>
                <a:gd name="connsiteY67" fmla="*/ 260 h 10072"/>
                <a:gd name="connsiteX68" fmla="*/ 1738 w 10899"/>
                <a:gd name="connsiteY68" fmla="*/ 346 h 10072"/>
                <a:gd name="connsiteX69" fmla="*/ 1922 w 10899"/>
                <a:gd name="connsiteY69" fmla="*/ 447 h 10072"/>
                <a:gd name="connsiteX70" fmla="*/ 2080 w 10899"/>
                <a:gd name="connsiteY70" fmla="*/ 533 h 10072"/>
                <a:gd name="connsiteX71" fmla="*/ 2236 w 10899"/>
                <a:gd name="connsiteY71" fmla="*/ 662 h 10072"/>
                <a:gd name="connsiteX72" fmla="*/ 2406 w 10899"/>
                <a:gd name="connsiteY72" fmla="*/ 792 h 10072"/>
                <a:gd name="connsiteX73" fmla="*/ 2563 w 10899"/>
                <a:gd name="connsiteY73" fmla="*/ 922 h 10072"/>
                <a:gd name="connsiteX74" fmla="*/ 2866 w 10899"/>
                <a:gd name="connsiteY74" fmla="*/ 1209 h 10072"/>
                <a:gd name="connsiteX75" fmla="*/ 3141 w 10899"/>
                <a:gd name="connsiteY75" fmla="*/ 1554 h 10072"/>
                <a:gd name="connsiteX76" fmla="*/ 3402 w 10899"/>
                <a:gd name="connsiteY76" fmla="*/ 1914 h 10072"/>
                <a:gd name="connsiteX77" fmla="*/ 3652 w 10899"/>
                <a:gd name="connsiteY77" fmla="*/ 2303 h 10072"/>
                <a:gd name="connsiteX78" fmla="*/ 3901 w 10899"/>
                <a:gd name="connsiteY78" fmla="*/ 2706 h 10072"/>
                <a:gd name="connsiteX79" fmla="*/ 4124 w 10899"/>
                <a:gd name="connsiteY79" fmla="*/ 3123 h 10072"/>
                <a:gd name="connsiteX80" fmla="*/ 4360 w 10899"/>
                <a:gd name="connsiteY80" fmla="*/ 3555 h 10072"/>
                <a:gd name="connsiteX81" fmla="*/ 4569 w 10899"/>
                <a:gd name="connsiteY81" fmla="*/ 3999 h 10072"/>
                <a:gd name="connsiteX82" fmla="*/ 4961 w 10899"/>
                <a:gd name="connsiteY82" fmla="*/ 4906 h 10072"/>
                <a:gd name="connsiteX83" fmla="*/ 5735 w 10899"/>
                <a:gd name="connsiteY83" fmla="*/ 6705 h 10072"/>
                <a:gd name="connsiteX84" fmla="*/ 6102 w 10899"/>
                <a:gd name="connsiteY84" fmla="*/ 7540 h 10072"/>
                <a:gd name="connsiteX85" fmla="*/ 6298 w 10899"/>
                <a:gd name="connsiteY85" fmla="*/ 7900 h 10072"/>
                <a:gd name="connsiteX86" fmla="*/ 6484 w 10899"/>
                <a:gd name="connsiteY86" fmla="*/ 8273 h 10072"/>
                <a:gd name="connsiteX87" fmla="*/ 6692 w 10899"/>
                <a:gd name="connsiteY87" fmla="*/ 8605 h 10072"/>
                <a:gd name="connsiteX88" fmla="*/ 6889 w 10899"/>
                <a:gd name="connsiteY88" fmla="*/ 8893 h 10072"/>
                <a:gd name="connsiteX89" fmla="*/ 7085 w 10899"/>
                <a:gd name="connsiteY89" fmla="*/ 9165 h 10072"/>
                <a:gd name="connsiteX90" fmla="*/ 7307 w 10899"/>
                <a:gd name="connsiteY90" fmla="*/ 9367 h 10072"/>
                <a:gd name="connsiteX91" fmla="*/ 7426 w 10899"/>
                <a:gd name="connsiteY91" fmla="*/ 9467 h 10072"/>
                <a:gd name="connsiteX92" fmla="*/ 7530 w 10899"/>
                <a:gd name="connsiteY92" fmla="*/ 9569 h 10072"/>
                <a:gd name="connsiteX93" fmla="*/ 7649 w 10899"/>
                <a:gd name="connsiteY93" fmla="*/ 9626 h 10072"/>
                <a:gd name="connsiteX94" fmla="*/ 7768 w 10899"/>
                <a:gd name="connsiteY94" fmla="*/ 9698 h 10072"/>
                <a:gd name="connsiteX95" fmla="*/ 7885 w 10899"/>
                <a:gd name="connsiteY95" fmla="*/ 9741 h 10072"/>
                <a:gd name="connsiteX96" fmla="*/ 8016 w 10899"/>
                <a:gd name="connsiteY96" fmla="*/ 9770 h 10072"/>
                <a:gd name="connsiteX97" fmla="*/ 8148 w 10899"/>
                <a:gd name="connsiteY97" fmla="*/ 9813 h 10072"/>
                <a:gd name="connsiteX98" fmla="*/ 8265 w 10899"/>
                <a:gd name="connsiteY98" fmla="*/ 9813 h 10072"/>
                <a:gd name="connsiteX0" fmla="*/ 7956 w 10590"/>
                <a:gd name="connsiteY0" fmla="*/ 9813 h 10072"/>
                <a:gd name="connsiteX1" fmla="*/ 7956 w 10590"/>
                <a:gd name="connsiteY1" fmla="*/ 9813 h 10072"/>
                <a:gd name="connsiteX2" fmla="*/ 8126 w 10590"/>
                <a:gd name="connsiteY2" fmla="*/ 9813 h 10072"/>
                <a:gd name="connsiteX3" fmla="*/ 8257 w 10590"/>
                <a:gd name="connsiteY3" fmla="*/ 9770 h 10072"/>
                <a:gd name="connsiteX4" fmla="*/ 8401 w 10590"/>
                <a:gd name="connsiteY4" fmla="*/ 9727 h 10072"/>
                <a:gd name="connsiteX5" fmla="*/ 8545 w 10590"/>
                <a:gd name="connsiteY5" fmla="*/ 9683 h 10072"/>
                <a:gd name="connsiteX6" fmla="*/ 8678 w 10590"/>
                <a:gd name="connsiteY6" fmla="*/ 9598 h 10072"/>
                <a:gd name="connsiteX7" fmla="*/ 8808 w 10590"/>
                <a:gd name="connsiteY7" fmla="*/ 9497 h 10072"/>
                <a:gd name="connsiteX8" fmla="*/ 8926 w 10590"/>
                <a:gd name="connsiteY8" fmla="*/ 9410 h 10072"/>
                <a:gd name="connsiteX9" fmla="*/ 9056 w 10590"/>
                <a:gd name="connsiteY9" fmla="*/ 9281 h 10072"/>
                <a:gd name="connsiteX10" fmla="*/ 9201 w 10590"/>
                <a:gd name="connsiteY10" fmla="*/ 9151 h 10072"/>
                <a:gd name="connsiteX11" fmla="*/ 9319 w 10590"/>
                <a:gd name="connsiteY11" fmla="*/ 9008 h 10072"/>
                <a:gd name="connsiteX12" fmla="*/ 9554 w 10590"/>
                <a:gd name="connsiteY12" fmla="*/ 8676 h 10072"/>
                <a:gd name="connsiteX13" fmla="*/ 9791 w 10590"/>
                <a:gd name="connsiteY13" fmla="*/ 8303 h 10072"/>
                <a:gd name="connsiteX14" fmla="*/ 10000 w 10590"/>
                <a:gd name="connsiteY14" fmla="*/ 7900 h 10072"/>
                <a:gd name="connsiteX15" fmla="*/ 10302 w 10590"/>
                <a:gd name="connsiteY15" fmla="*/ 8346 h 10072"/>
                <a:gd name="connsiteX16" fmla="*/ 10590 w 10590"/>
                <a:gd name="connsiteY16" fmla="*/ 8763 h 10072"/>
                <a:gd name="connsiteX17" fmla="*/ 10315 w 10590"/>
                <a:gd name="connsiteY17" fmla="*/ 9051 h 10072"/>
                <a:gd name="connsiteX18" fmla="*/ 10040 w 10590"/>
                <a:gd name="connsiteY18" fmla="*/ 9310 h 10072"/>
                <a:gd name="connsiteX19" fmla="*/ 9724 w 10590"/>
                <a:gd name="connsiteY19" fmla="*/ 9539 h 10072"/>
                <a:gd name="connsiteX20" fmla="*/ 9581 w 10590"/>
                <a:gd name="connsiteY20" fmla="*/ 9626 h 10072"/>
                <a:gd name="connsiteX21" fmla="*/ 9411 w 10590"/>
                <a:gd name="connsiteY21" fmla="*/ 9727 h 10072"/>
                <a:gd name="connsiteX22" fmla="*/ 9241 w 10590"/>
                <a:gd name="connsiteY22" fmla="*/ 9813 h 10072"/>
                <a:gd name="connsiteX23" fmla="*/ 9083 w 10590"/>
                <a:gd name="connsiteY23" fmla="*/ 9870 h 10072"/>
                <a:gd name="connsiteX24" fmla="*/ 8900 w 10590"/>
                <a:gd name="connsiteY24" fmla="*/ 9942 h 10072"/>
                <a:gd name="connsiteX25" fmla="*/ 8730 w 10590"/>
                <a:gd name="connsiteY25" fmla="*/ 9986 h 10072"/>
                <a:gd name="connsiteX26" fmla="*/ 8545 w 10590"/>
                <a:gd name="connsiteY26" fmla="*/ 10015 h 10072"/>
                <a:gd name="connsiteX27" fmla="*/ 8362 w 10590"/>
                <a:gd name="connsiteY27" fmla="*/ 10043 h 10072"/>
                <a:gd name="connsiteX28" fmla="*/ 8165 w 10590"/>
                <a:gd name="connsiteY28" fmla="*/ 10072 h 10072"/>
                <a:gd name="connsiteX29" fmla="*/ 7956 w 10590"/>
                <a:gd name="connsiteY29" fmla="*/ 10072 h 10072"/>
                <a:gd name="connsiteX30" fmla="*/ 7747 w 10590"/>
                <a:gd name="connsiteY30" fmla="*/ 10072 h 10072"/>
                <a:gd name="connsiteX31" fmla="*/ 7550 w 10590"/>
                <a:gd name="connsiteY31" fmla="*/ 10029 h 10072"/>
                <a:gd name="connsiteX32" fmla="*/ 7340 w 10590"/>
                <a:gd name="connsiteY32" fmla="*/ 10001 h 10072"/>
                <a:gd name="connsiteX33" fmla="*/ 7143 w 10590"/>
                <a:gd name="connsiteY33" fmla="*/ 9958 h 10072"/>
                <a:gd name="connsiteX34" fmla="*/ 6960 w 10590"/>
                <a:gd name="connsiteY34" fmla="*/ 9884 h 10072"/>
                <a:gd name="connsiteX35" fmla="*/ 6776 w 10590"/>
                <a:gd name="connsiteY35" fmla="*/ 9827 h 10072"/>
                <a:gd name="connsiteX36" fmla="*/ 6606 w 10590"/>
                <a:gd name="connsiteY36" fmla="*/ 9727 h 10072"/>
                <a:gd name="connsiteX37" fmla="*/ 6423 w 10590"/>
                <a:gd name="connsiteY37" fmla="*/ 9626 h 10072"/>
                <a:gd name="connsiteX38" fmla="*/ 6265 w 10590"/>
                <a:gd name="connsiteY38" fmla="*/ 9539 h 10072"/>
                <a:gd name="connsiteX39" fmla="*/ 6081 w 10590"/>
                <a:gd name="connsiteY39" fmla="*/ 9410 h 10072"/>
                <a:gd name="connsiteX40" fmla="*/ 5937 w 10590"/>
                <a:gd name="connsiteY40" fmla="*/ 9296 h 10072"/>
                <a:gd name="connsiteX41" fmla="*/ 5781 w 10590"/>
                <a:gd name="connsiteY41" fmla="*/ 9151 h 10072"/>
                <a:gd name="connsiteX42" fmla="*/ 5479 w 10590"/>
                <a:gd name="connsiteY42" fmla="*/ 8849 h 10072"/>
                <a:gd name="connsiteX43" fmla="*/ 5204 w 10590"/>
                <a:gd name="connsiteY43" fmla="*/ 8518 h 10072"/>
                <a:gd name="connsiteX44" fmla="*/ 4943 w 10590"/>
                <a:gd name="connsiteY44" fmla="*/ 8158 h 10072"/>
                <a:gd name="connsiteX45" fmla="*/ 4692 w 10590"/>
                <a:gd name="connsiteY45" fmla="*/ 7769 h 10072"/>
                <a:gd name="connsiteX46" fmla="*/ 4444 w 10590"/>
                <a:gd name="connsiteY46" fmla="*/ 7367 h 10072"/>
                <a:gd name="connsiteX47" fmla="*/ 4221 w 10590"/>
                <a:gd name="connsiteY47" fmla="*/ 6950 h 10072"/>
                <a:gd name="connsiteX48" fmla="*/ 3999 w 10590"/>
                <a:gd name="connsiteY48" fmla="*/ 6518 h 10072"/>
                <a:gd name="connsiteX49" fmla="*/ 3789 w 10590"/>
                <a:gd name="connsiteY49" fmla="*/ 6072 h 10072"/>
                <a:gd name="connsiteX50" fmla="*/ 3382 w 10590"/>
                <a:gd name="connsiteY50" fmla="*/ 5166 h 10072"/>
                <a:gd name="connsiteX51" fmla="*/ 2622 w 10590"/>
                <a:gd name="connsiteY51" fmla="*/ 3382 h 10072"/>
                <a:gd name="connsiteX52" fmla="*/ 2452 w 10590"/>
                <a:gd name="connsiteY52" fmla="*/ 2935 h 10072"/>
                <a:gd name="connsiteX53" fmla="*/ 2254 w 10590"/>
                <a:gd name="connsiteY53" fmla="*/ 2532 h 10072"/>
                <a:gd name="connsiteX54" fmla="*/ 2071 w 10590"/>
                <a:gd name="connsiteY54" fmla="*/ 2173 h 10072"/>
                <a:gd name="connsiteX55" fmla="*/ 1874 w 10590"/>
                <a:gd name="connsiteY55" fmla="*/ 1799 h 10072"/>
                <a:gd name="connsiteX56" fmla="*/ 1679 w 10590"/>
                <a:gd name="connsiteY56" fmla="*/ 1468 h 10072"/>
                <a:gd name="connsiteX57" fmla="*/ 1482 w 10590"/>
                <a:gd name="connsiteY57" fmla="*/ 1180 h 10072"/>
                <a:gd name="connsiteX58" fmla="*/ 1273 w 10590"/>
                <a:gd name="connsiteY58" fmla="*/ 908 h 10072"/>
                <a:gd name="connsiteX59" fmla="*/ 1063 w 10590"/>
                <a:gd name="connsiteY59" fmla="*/ 706 h 10072"/>
                <a:gd name="connsiteX60" fmla="*/ 944 w 10590"/>
                <a:gd name="connsiteY60" fmla="*/ 605 h 10072"/>
                <a:gd name="connsiteX61" fmla="*/ 827 w 10590"/>
                <a:gd name="connsiteY61" fmla="*/ 504 h 10072"/>
                <a:gd name="connsiteX62" fmla="*/ 708 w 10590"/>
                <a:gd name="connsiteY62" fmla="*/ 447 h 10072"/>
                <a:gd name="connsiteX63" fmla="*/ 337 w 10590"/>
                <a:gd name="connsiteY63" fmla="*/ 411 h 10072"/>
                <a:gd name="connsiteX64" fmla="*/ 3 w 10590"/>
                <a:gd name="connsiteY64" fmla="*/ 0 h 10072"/>
                <a:gd name="connsiteX65" fmla="*/ 892 w 10590"/>
                <a:gd name="connsiteY65" fmla="*/ 115 h 10072"/>
                <a:gd name="connsiteX66" fmla="*/ 1076 w 10590"/>
                <a:gd name="connsiteY66" fmla="*/ 187 h 10072"/>
                <a:gd name="connsiteX67" fmla="*/ 1259 w 10590"/>
                <a:gd name="connsiteY67" fmla="*/ 260 h 10072"/>
                <a:gd name="connsiteX68" fmla="*/ 1429 w 10590"/>
                <a:gd name="connsiteY68" fmla="*/ 346 h 10072"/>
                <a:gd name="connsiteX69" fmla="*/ 1613 w 10590"/>
                <a:gd name="connsiteY69" fmla="*/ 447 h 10072"/>
                <a:gd name="connsiteX70" fmla="*/ 1771 w 10590"/>
                <a:gd name="connsiteY70" fmla="*/ 533 h 10072"/>
                <a:gd name="connsiteX71" fmla="*/ 1927 w 10590"/>
                <a:gd name="connsiteY71" fmla="*/ 662 h 10072"/>
                <a:gd name="connsiteX72" fmla="*/ 2097 w 10590"/>
                <a:gd name="connsiteY72" fmla="*/ 792 h 10072"/>
                <a:gd name="connsiteX73" fmla="*/ 2254 w 10590"/>
                <a:gd name="connsiteY73" fmla="*/ 922 h 10072"/>
                <a:gd name="connsiteX74" fmla="*/ 2557 w 10590"/>
                <a:gd name="connsiteY74" fmla="*/ 1209 h 10072"/>
                <a:gd name="connsiteX75" fmla="*/ 2832 w 10590"/>
                <a:gd name="connsiteY75" fmla="*/ 1554 h 10072"/>
                <a:gd name="connsiteX76" fmla="*/ 3093 w 10590"/>
                <a:gd name="connsiteY76" fmla="*/ 1914 h 10072"/>
                <a:gd name="connsiteX77" fmla="*/ 3343 w 10590"/>
                <a:gd name="connsiteY77" fmla="*/ 2303 h 10072"/>
                <a:gd name="connsiteX78" fmla="*/ 3592 w 10590"/>
                <a:gd name="connsiteY78" fmla="*/ 2706 h 10072"/>
                <a:gd name="connsiteX79" fmla="*/ 3815 w 10590"/>
                <a:gd name="connsiteY79" fmla="*/ 3123 h 10072"/>
                <a:gd name="connsiteX80" fmla="*/ 4051 w 10590"/>
                <a:gd name="connsiteY80" fmla="*/ 3555 h 10072"/>
                <a:gd name="connsiteX81" fmla="*/ 4260 w 10590"/>
                <a:gd name="connsiteY81" fmla="*/ 3999 h 10072"/>
                <a:gd name="connsiteX82" fmla="*/ 4652 w 10590"/>
                <a:gd name="connsiteY82" fmla="*/ 4906 h 10072"/>
                <a:gd name="connsiteX83" fmla="*/ 5426 w 10590"/>
                <a:gd name="connsiteY83" fmla="*/ 6705 h 10072"/>
                <a:gd name="connsiteX84" fmla="*/ 5793 w 10590"/>
                <a:gd name="connsiteY84" fmla="*/ 7540 h 10072"/>
                <a:gd name="connsiteX85" fmla="*/ 5989 w 10590"/>
                <a:gd name="connsiteY85" fmla="*/ 7900 h 10072"/>
                <a:gd name="connsiteX86" fmla="*/ 6175 w 10590"/>
                <a:gd name="connsiteY86" fmla="*/ 8273 h 10072"/>
                <a:gd name="connsiteX87" fmla="*/ 6383 w 10590"/>
                <a:gd name="connsiteY87" fmla="*/ 8605 h 10072"/>
                <a:gd name="connsiteX88" fmla="*/ 6580 w 10590"/>
                <a:gd name="connsiteY88" fmla="*/ 8893 h 10072"/>
                <a:gd name="connsiteX89" fmla="*/ 6776 w 10590"/>
                <a:gd name="connsiteY89" fmla="*/ 9165 h 10072"/>
                <a:gd name="connsiteX90" fmla="*/ 6998 w 10590"/>
                <a:gd name="connsiteY90" fmla="*/ 9367 h 10072"/>
                <a:gd name="connsiteX91" fmla="*/ 7117 w 10590"/>
                <a:gd name="connsiteY91" fmla="*/ 9467 h 10072"/>
                <a:gd name="connsiteX92" fmla="*/ 7221 w 10590"/>
                <a:gd name="connsiteY92" fmla="*/ 9569 h 10072"/>
                <a:gd name="connsiteX93" fmla="*/ 7340 w 10590"/>
                <a:gd name="connsiteY93" fmla="*/ 9626 h 10072"/>
                <a:gd name="connsiteX94" fmla="*/ 7459 w 10590"/>
                <a:gd name="connsiteY94" fmla="*/ 9698 h 10072"/>
                <a:gd name="connsiteX95" fmla="*/ 7576 w 10590"/>
                <a:gd name="connsiteY95" fmla="*/ 9741 h 10072"/>
                <a:gd name="connsiteX96" fmla="*/ 7707 w 10590"/>
                <a:gd name="connsiteY96" fmla="*/ 9770 h 10072"/>
                <a:gd name="connsiteX97" fmla="*/ 7839 w 10590"/>
                <a:gd name="connsiteY97" fmla="*/ 9813 h 10072"/>
                <a:gd name="connsiteX98" fmla="*/ 7956 w 10590"/>
                <a:gd name="connsiteY98" fmla="*/ 9813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0590" h="10072">
                  <a:moveTo>
                    <a:pt x="7956" y="9813"/>
                  </a:moveTo>
                  <a:lnTo>
                    <a:pt x="7956" y="9813"/>
                  </a:lnTo>
                  <a:lnTo>
                    <a:pt x="8126" y="9813"/>
                  </a:lnTo>
                  <a:cubicBezTo>
                    <a:pt x="8170" y="9799"/>
                    <a:pt x="8213" y="9784"/>
                    <a:pt x="8257" y="9770"/>
                  </a:cubicBezTo>
                  <a:cubicBezTo>
                    <a:pt x="8306" y="9756"/>
                    <a:pt x="8353" y="9741"/>
                    <a:pt x="8401" y="9727"/>
                  </a:cubicBezTo>
                  <a:lnTo>
                    <a:pt x="8545" y="9683"/>
                  </a:lnTo>
                  <a:lnTo>
                    <a:pt x="8678" y="9598"/>
                  </a:lnTo>
                  <a:cubicBezTo>
                    <a:pt x="8721" y="9564"/>
                    <a:pt x="8765" y="9531"/>
                    <a:pt x="8808" y="9497"/>
                  </a:cubicBezTo>
                  <a:cubicBezTo>
                    <a:pt x="8848" y="9468"/>
                    <a:pt x="8886" y="9439"/>
                    <a:pt x="8926" y="9410"/>
                  </a:cubicBezTo>
                  <a:lnTo>
                    <a:pt x="9056" y="9281"/>
                  </a:lnTo>
                  <a:cubicBezTo>
                    <a:pt x="9105" y="9238"/>
                    <a:pt x="9152" y="9194"/>
                    <a:pt x="9201" y="9151"/>
                  </a:cubicBezTo>
                  <a:cubicBezTo>
                    <a:pt x="9240" y="9103"/>
                    <a:pt x="9280" y="9056"/>
                    <a:pt x="9319" y="9008"/>
                  </a:cubicBezTo>
                  <a:cubicBezTo>
                    <a:pt x="9397" y="8897"/>
                    <a:pt x="9476" y="8787"/>
                    <a:pt x="9554" y="8676"/>
                  </a:cubicBezTo>
                  <a:cubicBezTo>
                    <a:pt x="9633" y="8552"/>
                    <a:pt x="9711" y="8427"/>
                    <a:pt x="9791" y="8303"/>
                  </a:cubicBezTo>
                  <a:cubicBezTo>
                    <a:pt x="9860" y="8168"/>
                    <a:pt x="9930" y="8034"/>
                    <a:pt x="10000" y="7900"/>
                  </a:cubicBezTo>
                  <a:lnTo>
                    <a:pt x="10302" y="8346"/>
                  </a:lnTo>
                  <a:lnTo>
                    <a:pt x="10590" y="8763"/>
                  </a:lnTo>
                  <a:cubicBezTo>
                    <a:pt x="10498" y="8858"/>
                    <a:pt x="10407" y="8955"/>
                    <a:pt x="10315" y="9051"/>
                  </a:cubicBezTo>
                  <a:lnTo>
                    <a:pt x="10040" y="9310"/>
                  </a:lnTo>
                  <a:lnTo>
                    <a:pt x="9724" y="9539"/>
                  </a:lnTo>
                  <a:cubicBezTo>
                    <a:pt x="9677" y="9569"/>
                    <a:pt x="9628" y="9597"/>
                    <a:pt x="9581" y="9626"/>
                  </a:cubicBezTo>
                  <a:cubicBezTo>
                    <a:pt x="9525" y="9660"/>
                    <a:pt x="9467" y="9693"/>
                    <a:pt x="9411" y="9727"/>
                  </a:cubicBezTo>
                  <a:lnTo>
                    <a:pt x="9241" y="9813"/>
                  </a:lnTo>
                  <a:lnTo>
                    <a:pt x="9083" y="9870"/>
                  </a:lnTo>
                  <a:lnTo>
                    <a:pt x="8900" y="9942"/>
                  </a:lnTo>
                  <a:lnTo>
                    <a:pt x="8730" y="9986"/>
                  </a:lnTo>
                  <a:lnTo>
                    <a:pt x="8545" y="10015"/>
                  </a:lnTo>
                  <a:lnTo>
                    <a:pt x="8362" y="10043"/>
                  </a:lnTo>
                  <a:lnTo>
                    <a:pt x="8165" y="10072"/>
                  </a:lnTo>
                  <a:lnTo>
                    <a:pt x="7956" y="10072"/>
                  </a:lnTo>
                  <a:lnTo>
                    <a:pt x="7747" y="10072"/>
                  </a:lnTo>
                  <a:lnTo>
                    <a:pt x="7550" y="10029"/>
                  </a:lnTo>
                  <a:lnTo>
                    <a:pt x="7340" y="10001"/>
                  </a:lnTo>
                  <a:lnTo>
                    <a:pt x="7143" y="9958"/>
                  </a:lnTo>
                  <a:lnTo>
                    <a:pt x="6960" y="9884"/>
                  </a:lnTo>
                  <a:lnTo>
                    <a:pt x="6776" y="9827"/>
                  </a:lnTo>
                  <a:lnTo>
                    <a:pt x="6606" y="9727"/>
                  </a:lnTo>
                  <a:lnTo>
                    <a:pt x="6423" y="9626"/>
                  </a:lnTo>
                  <a:lnTo>
                    <a:pt x="6265" y="9539"/>
                  </a:lnTo>
                  <a:lnTo>
                    <a:pt x="6081" y="9410"/>
                  </a:lnTo>
                  <a:lnTo>
                    <a:pt x="5937" y="9296"/>
                  </a:lnTo>
                  <a:cubicBezTo>
                    <a:pt x="5884" y="9248"/>
                    <a:pt x="5833" y="9199"/>
                    <a:pt x="5781" y="9151"/>
                  </a:cubicBezTo>
                  <a:lnTo>
                    <a:pt x="5479" y="8849"/>
                  </a:lnTo>
                  <a:lnTo>
                    <a:pt x="5204" y="8518"/>
                  </a:lnTo>
                  <a:lnTo>
                    <a:pt x="4943" y="8158"/>
                  </a:lnTo>
                  <a:cubicBezTo>
                    <a:pt x="4860" y="8028"/>
                    <a:pt x="4775" y="7899"/>
                    <a:pt x="4692" y="7769"/>
                  </a:cubicBezTo>
                  <a:cubicBezTo>
                    <a:pt x="4609" y="7636"/>
                    <a:pt x="4527" y="7501"/>
                    <a:pt x="4444" y="7367"/>
                  </a:cubicBezTo>
                  <a:lnTo>
                    <a:pt x="4221" y="6950"/>
                  </a:lnTo>
                  <a:lnTo>
                    <a:pt x="3999" y="6518"/>
                  </a:lnTo>
                  <a:cubicBezTo>
                    <a:pt x="3928" y="6369"/>
                    <a:pt x="3859" y="6221"/>
                    <a:pt x="3789" y="6072"/>
                  </a:cubicBezTo>
                  <a:lnTo>
                    <a:pt x="3382" y="5166"/>
                  </a:lnTo>
                  <a:lnTo>
                    <a:pt x="2622" y="3382"/>
                  </a:lnTo>
                  <a:cubicBezTo>
                    <a:pt x="2566" y="3232"/>
                    <a:pt x="2509" y="3085"/>
                    <a:pt x="2452" y="2935"/>
                  </a:cubicBezTo>
                  <a:cubicBezTo>
                    <a:pt x="2387" y="2801"/>
                    <a:pt x="2321" y="2667"/>
                    <a:pt x="2254" y="2532"/>
                  </a:cubicBezTo>
                  <a:cubicBezTo>
                    <a:pt x="2193" y="2413"/>
                    <a:pt x="2133" y="2293"/>
                    <a:pt x="2071" y="2173"/>
                  </a:cubicBezTo>
                  <a:cubicBezTo>
                    <a:pt x="2006" y="2048"/>
                    <a:pt x="1939" y="1924"/>
                    <a:pt x="1874" y="1799"/>
                  </a:cubicBezTo>
                  <a:lnTo>
                    <a:pt x="1679" y="1468"/>
                  </a:lnTo>
                  <a:lnTo>
                    <a:pt x="1482" y="1180"/>
                  </a:lnTo>
                  <a:lnTo>
                    <a:pt x="1273" y="908"/>
                  </a:lnTo>
                  <a:lnTo>
                    <a:pt x="1063" y="706"/>
                  </a:lnTo>
                  <a:cubicBezTo>
                    <a:pt x="1024" y="673"/>
                    <a:pt x="984" y="638"/>
                    <a:pt x="944" y="605"/>
                  </a:cubicBezTo>
                  <a:cubicBezTo>
                    <a:pt x="905" y="572"/>
                    <a:pt x="866" y="537"/>
                    <a:pt x="827" y="504"/>
                  </a:cubicBezTo>
                  <a:lnTo>
                    <a:pt x="708" y="447"/>
                  </a:lnTo>
                  <a:cubicBezTo>
                    <a:pt x="668" y="423"/>
                    <a:pt x="377" y="435"/>
                    <a:pt x="337" y="411"/>
                  </a:cubicBezTo>
                  <a:cubicBezTo>
                    <a:pt x="372" y="310"/>
                    <a:pt x="-32" y="101"/>
                    <a:pt x="3" y="0"/>
                  </a:cubicBezTo>
                  <a:lnTo>
                    <a:pt x="892" y="115"/>
                  </a:lnTo>
                  <a:lnTo>
                    <a:pt x="1076" y="187"/>
                  </a:lnTo>
                  <a:lnTo>
                    <a:pt x="1259" y="260"/>
                  </a:lnTo>
                  <a:cubicBezTo>
                    <a:pt x="1315" y="289"/>
                    <a:pt x="1373" y="317"/>
                    <a:pt x="1429" y="346"/>
                  </a:cubicBezTo>
                  <a:lnTo>
                    <a:pt x="1613" y="447"/>
                  </a:lnTo>
                  <a:lnTo>
                    <a:pt x="1771" y="533"/>
                  </a:lnTo>
                  <a:lnTo>
                    <a:pt x="1927" y="662"/>
                  </a:lnTo>
                  <a:cubicBezTo>
                    <a:pt x="1984" y="705"/>
                    <a:pt x="2040" y="749"/>
                    <a:pt x="2097" y="792"/>
                  </a:cubicBezTo>
                  <a:lnTo>
                    <a:pt x="2254" y="922"/>
                  </a:lnTo>
                  <a:lnTo>
                    <a:pt x="2557" y="1209"/>
                  </a:lnTo>
                  <a:lnTo>
                    <a:pt x="2832" y="1554"/>
                  </a:lnTo>
                  <a:lnTo>
                    <a:pt x="3093" y="1914"/>
                  </a:lnTo>
                  <a:cubicBezTo>
                    <a:pt x="3176" y="2044"/>
                    <a:pt x="3260" y="2173"/>
                    <a:pt x="3343" y="2303"/>
                  </a:cubicBezTo>
                  <a:lnTo>
                    <a:pt x="3592" y="2706"/>
                  </a:lnTo>
                  <a:lnTo>
                    <a:pt x="3815" y="3123"/>
                  </a:lnTo>
                  <a:cubicBezTo>
                    <a:pt x="3894" y="3266"/>
                    <a:pt x="3972" y="3411"/>
                    <a:pt x="4051" y="3555"/>
                  </a:cubicBezTo>
                  <a:cubicBezTo>
                    <a:pt x="4120" y="3703"/>
                    <a:pt x="4191" y="3852"/>
                    <a:pt x="4260" y="3999"/>
                  </a:cubicBezTo>
                  <a:lnTo>
                    <a:pt x="4652" y="4906"/>
                  </a:lnTo>
                  <a:lnTo>
                    <a:pt x="5426" y="6705"/>
                  </a:lnTo>
                  <a:cubicBezTo>
                    <a:pt x="5549" y="6983"/>
                    <a:pt x="5671" y="7262"/>
                    <a:pt x="5793" y="7540"/>
                  </a:cubicBezTo>
                  <a:lnTo>
                    <a:pt x="5989" y="7900"/>
                  </a:lnTo>
                  <a:cubicBezTo>
                    <a:pt x="6050" y="8024"/>
                    <a:pt x="6113" y="8149"/>
                    <a:pt x="6175" y="8273"/>
                  </a:cubicBezTo>
                  <a:cubicBezTo>
                    <a:pt x="6244" y="8384"/>
                    <a:pt x="6314" y="8493"/>
                    <a:pt x="6383" y="8605"/>
                  </a:cubicBezTo>
                  <a:cubicBezTo>
                    <a:pt x="6448" y="8701"/>
                    <a:pt x="6515" y="8797"/>
                    <a:pt x="6580" y="8893"/>
                  </a:cubicBezTo>
                  <a:cubicBezTo>
                    <a:pt x="6645" y="8984"/>
                    <a:pt x="6711" y="9074"/>
                    <a:pt x="6776" y="9165"/>
                  </a:cubicBezTo>
                  <a:lnTo>
                    <a:pt x="6998" y="9367"/>
                  </a:lnTo>
                  <a:cubicBezTo>
                    <a:pt x="7038" y="9400"/>
                    <a:pt x="7078" y="9434"/>
                    <a:pt x="7117" y="9467"/>
                  </a:cubicBezTo>
                  <a:lnTo>
                    <a:pt x="7221" y="9569"/>
                  </a:lnTo>
                  <a:lnTo>
                    <a:pt x="7340" y="9626"/>
                  </a:lnTo>
                  <a:lnTo>
                    <a:pt x="7459" y="9698"/>
                  </a:lnTo>
                  <a:lnTo>
                    <a:pt x="7576" y="9741"/>
                  </a:lnTo>
                  <a:lnTo>
                    <a:pt x="7707" y="9770"/>
                  </a:lnTo>
                  <a:lnTo>
                    <a:pt x="7839" y="9813"/>
                  </a:lnTo>
                  <a:lnTo>
                    <a:pt x="7956" y="981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69541A9-2ED2-433C-A783-C29B762BD59F}"/>
                </a:ext>
              </a:extLst>
            </p:cNvPr>
            <p:cNvGrpSpPr/>
            <p:nvPr/>
          </p:nvGrpSpPr>
          <p:grpSpPr>
            <a:xfrm>
              <a:off x="2124850" y="2406525"/>
              <a:ext cx="406852" cy="503415"/>
              <a:chOff x="-1864887" y="743223"/>
              <a:chExt cx="274422" cy="481656"/>
            </a:xfrm>
            <a:solidFill>
              <a:schemeClr val="bg2"/>
            </a:solidFill>
          </p:grpSpPr>
          <p:sp>
            <p:nvSpPr>
              <p:cNvPr id="38" name="Rectangle 4098">
                <a:extLst>
                  <a:ext uri="{FF2B5EF4-FFF2-40B4-BE49-F238E27FC236}">
                    <a16:creationId xmlns:a16="http://schemas.microsoft.com/office/drawing/2014/main" id="{1F070B51-82D2-48F6-9C26-982EA259EF45}"/>
                  </a:ext>
                </a:extLst>
              </p:cNvPr>
              <p:cNvSpPr/>
              <p:nvPr/>
            </p:nvSpPr>
            <p:spPr bwMode="auto">
              <a:xfrm rot="21439255">
                <a:off x="-1793585" y="965639"/>
                <a:ext cx="49068" cy="25610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47960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47960 h 433592"/>
                  <a:gd name="connsiteX0" fmla="*/ 0 w 55252"/>
                  <a:gd name="connsiteY0" fmla="*/ 150179 h 433592"/>
                  <a:gd name="connsiteX1" fmla="*/ 55252 w 55252"/>
                  <a:gd name="connsiteY1" fmla="*/ 0 h 433592"/>
                  <a:gd name="connsiteX2" fmla="*/ 55252 w 55252"/>
                  <a:gd name="connsiteY2" fmla="*/ 431211 h 433592"/>
                  <a:gd name="connsiteX3" fmla="*/ 14296 w 55252"/>
                  <a:gd name="connsiteY3" fmla="*/ 433592 h 433592"/>
                  <a:gd name="connsiteX4" fmla="*/ 0 w 55252"/>
                  <a:gd name="connsiteY4" fmla="*/ 150179 h 433592"/>
                  <a:gd name="connsiteX0" fmla="*/ 0 w 55252"/>
                  <a:gd name="connsiteY0" fmla="*/ 12497 h 295910"/>
                  <a:gd name="connsiteX1" fmla="*/ 36670 w 55252"/>
                  <a:gd name="connsiteY1" fmla="*/ 0 h 295910"/>
                  <a:gd name="connsiteX2" fmla="*/ 55252 w 55252"/>
                  <a:gd name="connsiteY2" fmla="*/ 293529 h 295910"/>
                  <a:gd name="connsiteX3" fmla="*/ 14296 w 55252"/>
                  <a:gd name="connsiteY3" fmla="*/ 295910 h 295910"/>
                  <a:gd name="connsiteX4" fmla="*/ 0 w 55252"/>
                  <a:gd name="connsiteY4" fmla="*/ 12497 h 295910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52" h="296691">
                    <a:moveTo>
                      <a:pt x="0" y="12497"/>
                    </a:moveTo>
                    <a:lnTo>
                      <a:pt x="36670" y="0"/>
                    </a:lnTo>
                    <a:lnTo>
                      <a:pt x="55252" y="293529"/>
                    </a:lnTo>
                    <a:lnTo>
                      <a:pt x="25719" y="296691"/>
                    </a:lnTo>
                    <a:cubicBezTo>
                      <a:pt x="15690" y="170826"/>
                      <a:pt x="23106" y="176845"/>
                      <a:pt x="0" y="124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Rectangle 68">
                <a:extLst>
                  <a:ext uri="{FF2B5EF4-FFF2-40B4-BE49-F238E27FC236}">
                    <a16:creationId xmlns:a16="http://schemas.microsoft.com/office/drawing/2014/main" id="{89C8D715-7C46-475B-8376-2DBF04ABC05E}"/>
                  </a:ext>
                </a:extLst>
              </p:cNvPr>
              <p:cNvSpPr/>
              <p:nvPr/>
            </p:nvSpPr>
            <p:spPr bwMode="auto">
              <a:xfrm rot="255432">
                <a:off x="-1703766" y="893354"/>
                <a:ext cx="37845" cy="278697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77214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77214 h 431211"/>
                  <a:gd name="connsiteX0" fmla="*/ 0 w 44132"/>
                  <a:gd name="connsiteY0" fmla="*/ 24384 h 378381"/>
                  <a:gd name="connsiteX1" fmla="*/ 44132 w 44132"/>
                  <a:gd name="connsiteY1" fmla="*/ 0 h 378381"/>
                  <a:gd name="connsiteX2" fmla="*/ 38575 w 44132"/>
                  <a:gd name="connsiteY2" fmla="*/ 349806 h 378381"/>
                  <a:gd name="connsiteX3" fmla="*/ 0 w 44132"/>
                  <a:gd name="connsiteY3" fmla="*/ 378381 h 378381"/>
                  <a:gd name="connsiteX4" fmla="*/ 0 w 44132"/>
                  <a:gd name="connsiteY4" fmla="*/ 24384 h 378381"/>
                  <a:gd name="connsiteX0" fmla="*/ 0 w 50479"/>
                  <a:gd name="connsiteY0" fmla="*/ 0 h 353997"/>
                  <a:gd name="connsiteX1" fmla="*/ 50479 w 50479"/>
                  <a:gd name="connsiteY1" fmla="*/ 48766 h 353997"/>
                  <a:gd name="connsiteX2" fmla="*/ 38575 w 50479"/>
                  <a:gd name="connsiteY2" fmla="*/ 325422 h 353997"/>
                  <a:gd name="connsiteX3" fmla="*/ 0 w 50479"/>
                  <a:gd name="connsiteY3" fmla="*/ 353997 h 353997"/>
                  <a:gd name="connsiteX4" fmla="*/ 0 w 50479"/>
                  <a:gd name="connsiteY4" fmla="*/ 0 h 353997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44922 w 50479"/>
                  <a:gd name="connsiteY2" fmla="*/ 280720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0 w 47305"/>
                  <a:gd name="connsiteY0" fmla="*/ 28448 h 314486"/>
                  <a:gd name="connsiteX1" fmla="*/ 47305 w 47305"/>
                  <a:gd name="connsiteY1" fmla="*/ 0 h 314486"/>
                  <a:gd name="connsiteX2" fmla="*/ 41748 w 47305"/>
                  <a:gd name="connsiteY2" fmla="*/ 290880 h 314486"/>
                  <a:gd name="connsiteX3" fmla="*/ 6321 w 47305"/>
                  <a:gd name="connsiteY3" fmla="*/ 314486 h 314486"/>
                  <a:gd name="connsiteX4" fmla="*/ 0 w 47305"/>
                  <a:gd name="connsiteY4" fmla="*/ 28448 h 314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305" h="314486">
                    <a:moveTo>
                      <a:pt x="0" y="28448"/>
                    </a:moveTo>
                    <a:lnTo>
                      <a:pt x="47305" y="0"/>
                    </a:lnTo>
                    <a:cubicBezTo>
                      <a:pt x="40693" y="167400"/>
                      <a:pt x="43600" y="174278"/>
                      <a:pt x="41748" y="290880"/>
                    </a:cubicBezTo>
                    <a:lnTo>
                      <a:pt x="6321" y="314486"/>
                    </a:lnTo>
                    <a:lnTo>
                      <a:pt x="0" y="284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Rectangle 4098">
                <a:extLst>
                  <a:ext uri="{FF2B5EF4-FFF2-40B4-BE49-F238E27FC236}">
                    <a16:creationId xmlns:a16="http://schemas.microsoft.com/office/drawing/2014/main" id="{FFA2A4E8-B575-4F2C-A21D-6A52C5AE6BC5}"/>
                  </a:ext>
                </a:extLst>
              </p:cNvPr>
              <p:cNvSpPr/>
              <p:nvPr/>
            </p:nvSpPr>
            <p:spPr bwMode="auto">
              <a:xfrm>
                <a:off x="-1864887" y="899800"/>
                <a:ext cx="31498" cy="325079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37636 h 452178"/>
                  <a:gd name="connsiteX1" fmla="*/ 32610 w 41186"/>
                  <a:gd name="connsiteY1" fmla="*/ 0 h 452178"/>
                  <a:gd name="connsiteX2" fmla="*/ 41186 w 41186"/>
                  <a:gd name="connsiteY2" fmla="*/ 452178 h 452178"/>
                  <a:gd name="connsiteX3" fmla="*/ 230 w 41186"/>
                  <a:gd name="connsiteY3" fmla="*/ 429191 h 452178"/>
                  <a:gd name="connsiteX4" fmla="*/ 229 w 41186"/>
                  <a:gd name="connsiteY4" fmla="*/ 37636 h 452178"/>
                  <a:gd name="connsiteX0" fmla="*/ 229 w 32610"/>
                  <a:gd name="connsiteY0" fmla="*/ 37636 h 478388"/>
                  <a:gd name="connsiteX1" fmla="*/ 32610 w 32610"/>
                  <a:gd name="connsiteY1" fmla="*/ 0 h 478388"/>
                  <a:gd name="connsiteX2" fmla="*/ 18315 w 32610"/>
                  <a:gd name="connsiteY2" fmla="*/ 478388 h 478388"/>
                  <a:gd name="connsiteX3" fmla="*/ 230 w 32610"/>
                  <a:gd name="connsiteY3" fmla="*/ 429191 h 478388"/>
                  <a:gd name="connsiteX4" fmla="*/ 229 w 32610"/>
                  <a:gd name="connsiteY4" fmla="*/ 37636 h 478388"/>
                  <a:gd name="connsiteX0" fmla="*/ 229 w 35468"/>
                  <a:gd name="connsiteY0" fmla="*/ 37636 h 473147"/>
                  <a:gd name="connsiteX1" fmla="*/ 32610 w 35468"/>
                  <a:gd name="connsiteY1" fmla="*/ 0 h 473147"/>
                  <a:gd name="connsiteX2" fmla="*/ 35468 w 35468"/>
                  <a:gd name="connsiteY2" fmla="*/ 473147 h 473147"/>
                  <a:gd name="connsiteX3" fmla="*/ 230 w 35468"/>
                  <a:gd name="connsiteY3" fmla="*/ 429191 h 473147"/>
                  <a:gd name="connsiteX4" fmla="*/ 229 w 35468"/>
                  <a:gd name="connsiteY4" fmla="*/ 37636 h 473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68" h="473147">
                    <a:moveTo>
                      <a:pt x="229" y="37636"/>
                    </a:moveTo>
                    <a:lnTo>
                      <a:pt x="32610" y="0"/>
                    </a:lnTo>
                    <a:cubicBezTo>
                      <a:pt x="33563" y="157716"/>
                      <a:pt x="34515" y="315431"/>
                      <a:pt x="35468" y="473147"/>
                    </a:cubicBezTo>
                    <a:lnTo>
                      <a:pt x="230" y="429191"/>
                    </a:lnTo>
                    <a:cubicBezTo>
                      <a:pt x="-564" y="283073"/>
                      <a:pt x="1023" y="183754"/>
                      <a:pt x="229" y="376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Rectangle 4098">
                <a:extLst>
                  <a:ext uri="{FF2B5EF4-FFF2-40B4-BE49-F238E27FC236}">
                    <a16:creationId xmlns:a16="http://schemas.microsoft.com/office/drawing/2014/main" id="{EA162416-D0CE-40A7-BDF9-5E0594790902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705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5D0B1E1-FD1B-4B0B-88DE-E4AF24A83858}"/>
                </a:ext>
              </a:extLst>
            </p:cNvPr>
            <p:cNvGrpSpPr/>
            <p:nvPr/>
          </p:nvGrpSpPr>
          <p:grpSpPr>
            <a:xfrm>
              <a:off x="3426805" y="2414692"/>
              <a:ext cx="406852" cy="494509"/>
              <a:chOff x="-1864887" y="741508"/>
              <a:chExt cx="274422" cy="473135"/>
            </a:xfrm>
            <a:solidFill>
              <a:schemeClr val="bg2"/>
            </a:solidFill>
          </p:grpSpPr>
          <p:sp>
            <p:nvSpPr>
              <p:cNvPr id="34" name="Rectangle 4098">
                <a:extLst>
                  <a:ext uri="{FF2B5EF4-FFF2-40B4-BE49-F238E27FC236}">
                    <a16:creationId xmlns:a16="http://schemas.microsoft.com/office/drawing/2014/main" id="{4C2AEB2C-021F-4A33-BF9B-00E7000940C4}"/>
                  </a:ext>
                </a:extLst>
              </p:cNvPr>
              <p:cNvSpPr/>
              <p:nvPr/>
            </p:nvSpPr>
            <p:spPr bwMode="auto">
              <a:xfrm>
                <a:off x="-1785605" y="781051"/>
                <a:ext cx="36576" cy="43359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3592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33592"/>
                    </a:lnTo>
                    <a:cubicBezTo>
                      <a:pt x="-564" y="287474"/>
                      <a:pt x="1023" y="162787"/>
                      <a:pt x="229" y="166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Rectangle 68">
                <a:extLst>
                  <a:ext uri="{FF2B5EF4-FFF2-40B4-BE49-F238E27FC236}">
                    <a16:creationId xmlns:a16="http://schemas.microsoft.com/office/drawing/2014/main" id="{7B75EB2D-1D3C-4580-9594-0EDC47B8E5A5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Rectangle 4098">
                <a:extLst>
                  <a:ext uri="{FF2B5EF4-FFF2-40B4-BE49-F238E27FC236}">
                    <a16:creationId xmlns:a16="http://schemas.microsoft.com/office/drawing/2014/main" id="{A1596E85-18B1-402A-8B7F-42082B8D8428}"/>
                  </a:ext>
                </a:extLst>
              </p:cNvPr>
              <p:cNvSpPr/>
              <p:nvPr/>
            </p:nvSpPr>
            <p:spPr bwMode="auto">
              <a:xfrm>
                <a:off x="-1864887" y="886653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Rectangle 4098">
                <a:extLst>
                  <a:ext uri="{FF2B5EF4-FFF2-40B4-BE49-F238E27FC236}">
                    <a16:creationId xmlns:a16="http://schemas.microsoft.com/office/drawing/2014/main" id="{C2912CB7-AF90-4C00-BDB7-145B1D2EDDD7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482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5017"/>
                  <a:gd name="connsiteX1" fmla="*/ 41186 w 41186"/>
                  <a:gd name="connsiteY1" fmla="*/ 31682 h 465017"/>
                  <a:gd name="connsiteX2" fmla="*/ 41186 w 41186"/>
                  <a:gd name="connsiteY2" fmla="*/ 462893 h 465017"/>
                  <a:gd name="connsiteX3" fmla="*/ 230 w 41186"/>
                  <a:gd name="connsiteY3" fmla="*/ 465017 h 465017"/>
                  <a:gd name="connsiteX4" fmla="*/ 229 w 41186"/>
                  <a:gd name="connsiteY4" fmla="*/ 0 h 46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5017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65017"/>
                    </a:lnTo>
                    <a:cubicBezTo>
                      <a:pt x="-564" y="318899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CB37D7F-C407-4B7E-BFAE-2EAFC32F4A9E}"/>
                </a:ext>
              </a:extLst>
            </p:cNvPr>
            <p:cNvGrpSpPr/>
            <p:nvPr/>
          </p:nvGrpSpPr>
          <p:grpSpPr>
            <a:xfrm>
              <a:off x="1466896" y="2389245"/>
              <a:ext cx="393493" cy="511129"/>
              <a:chOff x="-2308678" y="726690"/>
              <a:chExt cx="265411" cy="489037"/>
            </a:xfrm>
            <a:solidFill>
              <a:schemeClr val="bg2"/>
            </a:solidFill>
          </p:grpSpPr>
          <p:sp>
            <p:nvSpPr>
              <p:cNvPr id="30" name="Rectangle 4098">
                <a:extLst>
                  <a:ext uri="{FF2B5EF4-FFF2-40B4-BE49-F238E27FC236}">
                    <a16:creationId xmlns:a16="http://schemas.microsoft.com/office/drawing/2014/main" id="{5C9BC1D6-C63F-4C2F-A27A-BCDF3A37ACE3}"/>
                  </a:ext>
                </a:extLst>
              </p:cNvPr>
              <p:cNvSpPr/>
              <p:nvPr/>
            </p:nvSpPr>
            <p:spPr bwMode="auto">
              <a:xfrm>
                <a:off x="-2233454" y="726690"/>
                <a:ext cx="36460" cy="45169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51698"/>
                  <a:gd name="connsiteX1" fmla="*/ 41055 w 41055"/>
                  <a:gd name="connsiteY1" fmla="*/ 9525 h 451698"/>
                  <a:gd name="connsiteX2" fmla="*/ 37999 w 41055"/>
                  <a:gd name="connsiteY2" fmla="*/ 451698 h 451698"/>
                  <a:gd name="connsiteX3" fmla="*/ 99 w 41055"/>
                  <a:gd name="connsiteY3" fmla="*/ 424067 h 451698"/>
                  <a:gd name="connsiteX4" fmla="*/ 2779 w 41055"/>
                  <a:gd name="connsiteY4" fmla="*/ 0 h 45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51698">
                    <a:moveTo>
                      <a:pt x="2779" y="0"/>
                    </a:moveTo>
                    <a:lnTo>
                      <a:pt x="41055" y="9525"/>
                    </a:lnTo>
                    <a:cubicBezTo>
                      <a:pt x="40036" y="156916"/>
                      <a:pt x="39018" y="304307"/>
                      <a:pt x="37999" y="451698"/>
                    </a:cubicBez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Rectangle 68">
                <a:extLst>
                  <a:ext uri="{FF2B5EF4-FFF2-40B4-BE49-F238E27FC236}">
                    <a16:creationId xmlns:a16="http://schemas.microsoft.com/office/drawing/2014/main" id="{B0CE666A-B5FD-4AE7-8743-9DCCE2F2CA98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084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17747">
                    <a:moveTo>
                      <a:pt x="4206" y="0"/>
                    </a:moveTo>
                    <a:lnTo>
                      <a:pt x="35203" y="10794"/>
                    </a:lnTo>
                    <a:lnTo>
                      <a:pt x="34369" y="417747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Rectangle 4098">
                <a:extLst>
                  <a:ext uri="{FF2B5EF4-FFF2-40B4-BE49-F238E27FC236}">
                    <a16:creationId xmlns:a16="http://schemas.microsoft.com/office/drawing/2014/main" id="{B3B6776F-5A11-442A-B6EF-CBFE1E1A3C95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Rectangle 4098">
                <a:extLst>
                  <a:ext uri="{FF2B5EF4-FFF2-40B4-BE49-F238E27FC236}">
                    <a16:creationId xmlns:a16="http://schemas.microsoft.com/office/drawing/2014/main" id="{A66C3777-71AE-4CDB-9EED-8F95571A1DF9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7FFF521-C9A2-4EF8-82D6-6CDC55FE2C59}"/>
                </a:ext>
              </a:extLst>
            </p:cNvPr>
            <p:cNvGrpSpPr/>
            <p:nvPr/>
          </p:nvGrpSpPr>
          <p:grpSpPr>
            <a:xfrm>
              <a:off x="2773176" y="2393713"/>
              <a:ext cx="393493" cy="519331"/>
              <a:chOff x="-2308678" y="726689"/>
              <a:chExt cx="265411" cy="496885"/>
            </a:xfrm>
            <a:solidFill>
              <a:schemeClr val="bg2"/>
            </a:solidFill>
          </p:grpSpPr>
          <p:sp>
            <p:nvSpPr>
              <p:cNvPr id="26" name="Rectangle 4098">
                <a:extLst>
                  <a:ext uri="{FF2B5EF4-FFF2-40B4-BE49-F238E27FC236}">
                    <a16:creationId xmlns:a16="http://schemas.microsoft.com/office/drawing/2014/main" id="{DFAE4430-116B-48BB-BB38-410445455A40}"/>
                  </a:ext>
                </a:extLst>
              </p:cNvPr>
              <p:cNvSpPr/>
              <p:nvPr/>
            </p:nvSpPr>
            <p:spPr bwMode="auto">
              <a:xfrm>
                <a:off x="-2233453" y="726689"/>
                <a:ext cx="36461" cy="47883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78836">
                    <a:moveTo>
                      <a:pt x="2779" y="0"/>
                    </a:moveTo>
                    <a:lnTo>
                      <a:pt x="41055" y="9525"/>
                    </a:lnTo>
                    <a:lnTo>
                      <a:pt x="41055" y="478836"/>
                    </a:ln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Rectangle 68">
                <a:extLst>
                  <a:ext uri="{FF2B5EF4-FFF2-40B4-BE49-F238E27FC236}">
                    <a16:creationId xmlns:a16="http://schemas.microsoft.com/office/drawing/2014/main" id="{E2E7F2C5-3D53-41A9-A427-F71651E1964B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975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  <a:gd name="connsiteX0" fmla="*/ 4206 w 35203"/>
                  <a:gd name="connsiteY0" fmla="*/ 0 h 425819"/>
                  <a:gd name="connsiteX1" fmla="*/ 35203 w 35203"/>
                  <a:gd name="connsiteY1" fmla="*/ 10794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  <a:gd name="connsiteX0" fmla="*/ 4206 w 35203"/>
                  <a:gd name="connsiteY0" fmla="*/ 0 h 425819"/>
                  <a:gd name="connsiteX1" fmla="*/ 35203 w 35203"/>
                  <a:gd name="connsiteY1" fmla="*/ 20211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25819">
                    <a:moveTo>
                      <a:pt x="4206" y="0"/>
                    </a:moveTo>
                    <a:lnTo>
                      <a:pt x="35203" y="20211"/>
                    </a:lnTo>
                    <a:lnTo>
                      <a:pt x="33058" y="425819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Rectangle 4098">
                <a:extLst>
                  <a:ext uri="{FF2B5EF4-FFF2-40B4-BE49-F238E27FC236}">
                    <a16:creationId xmlns:a16="http://schemas.microsoft.com/office/drawing/2014/main" id="{1668800A-23CA-439A-9EC8-5E1DFD3FAEE9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Rectangle 4098">
                <a:extLst>
                  <a:ext uri="{FF2B5EF4-FFF2-40B4-BE49-F238E27FC236}">
                    <a16:creationId xmlns:a16="http://schemas.microsoft.com/office/drawing/2014/main" id="{224E4875-9D75-47DC-ACA7-D3B2521B1A7C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2" name="Rectangle 4098">
              <a:extLst>
                <a:ext uri="{FF2B5EF4-FFF2-40B4-BE49-F238E27FC236}">
                  <a16:creationId xmlns:a16="http://schemas.microsoft.com/office/drawing/2014/main" id="{B4B0EEBC-6080-47D4-97B6-48C9DA7CBA38}"/>
                </a:ext>
              </a:extLst>
            </p:cNvPr>
            <p:cNvSpPr/>
            <p:nvPr/>
          </p:nvSpPr>
          <p:spPr bwMode="auto">
            <a:xfrm>
              <a:off x="4064933" y="2420330"/>
              <a:ext cx="54227" cy="338448"/>
            </a:xfrm>
            <a:custGeom>
              <a:avLst/>
              <a:gdLst>
                <a:gd name="connsiteX0" fmla="*/ 0 w 45719"/>
                <a:gd name="connsiteY0" fmla="*/ 0 h 431211"/>
                <a:gd name="connsiteX1" fmla="*/ 45719 w 45719"/>
                <a:gd name="connsiteY1" fmla="*/ 0 h 431211"/>
                <a:gd name="connsiteX2" fmla="*/ 45719 w 45719"/>
                <a:gd name="connsiteY2" fmla="*/ 431211 h 431211"/>
                <a:gd name="connsiteX3" fmla="*/ 0 w 45719"/>
                <a:gd name="connsiteY3" fmla="*/ 431211 h 431211"/>
                <a:gd name="connsiteX4" fmla="*/ 0 w 45719"/>
                <a:gd name="connsiteY4" fmla="*/ 0 h 431211"/>
                <a:gd name="connsiteX0" fmla="*/ 0 w 45719"/>
                <a:gd name="connsiteY0" fmla="*/ 0 h 438354"/>
                <a:gd name="connsiteX1" fmla="*/ 45719 w 45719"/>
                <a:gd name="connsiteY1" fmla="*/ 0 h 438354"/>
                <a:gd name="connsiteX2" fmla="*/ 45719 w 45719"/>
                <a:gd name="connsiteY2" fmla="*/ 431211 h 438354"/>
                <a:gd name="connsiteX3" fmla="*/ 2381 w 45719"/>
                <a:gd name="connsiteY3" fmla="*/ 438354 h 438354"/>
                <a:gd name="connsiteX4" fmla="*/ 0 w 45719"/>
                <a:gd name="connsiteY4" fmla="*/ 0 h 438354"/>
                <a:gd name="connsiteX0" fmla="*/ 2487 w 43444"/>
                <a:gd name="connsiteY0" fmla="*/ 16669 h 438354"/>
                <a:gd name="connsiteX1" fmla="*/ 43444 w 43444"/>
                <a:gd name="connsiteY1" fmla="*/ 0 h 438354"/>
                <a:gd name="connsiteX2" fmla="*/ 43444 w 43444"/>
                <a:gd name="connsiteY2" fmla="*/ 431211 h 438354"/>
                <a:gd name="connsiteX3" fmla="*/ 106 w 43444"/>
                <a:gd name="connsiteY3" fmla="*/ 438354 h 438354"/>
                <a:gd name="connsiteX4" fmla="*/ 2487 w 43444"/>
                <a:gd name="connsiteY4" fmla="*/ 16669 h 438354"/>
                <a:gd name="connsiteX0" fmla="*/ 229 w 41186"/>
                <a:gd name="connsiteY0" fmla="*/ 16669 h 433592"/>
                <a:gd name="connsiteX1" fmla="*/ 41186 w 41186"/>
                <a:gd name="connsiteY1" fmla="*/ 0 h 433592"/>
                <a:gd name="connsiteX2" fmla="*/ 41186 w 41186"/>
                <a:gd name="connsiteY2" fmla="*/ 431211 h 433592"/>
                <a:gd name="connsiteX3" fmla="*/ 230 w 41186"/>
                <a:gd name="connsiteY3" fmla="*/ 433592 h 433592"/>
                <a:gd name="connsiteX4" fmla="*/ 229 w 41186"/>
                <a:gd name="connsiteY4" fmla="*/ 16669 h 433592"/>
                <a:gd name="connsiteX0" fmla="*/ 229 w 41186"/>
                <a:gd name="connsiteY0" fmla="*/ 16669 h 431211"/>
                <a:gd name="connsiteX1" fmla="*/ 41186 w 41186"/>
                <a:gd name="connsiteY1" fmla="*/ 0 h 431211"/>
                <a:gd name="connsiteX2" fmla="*/ 41186 w 41186"/>
                <a:gd name="connsiteY2" fmla="*/ 431211 h 431211"/>
                <a:gd name="connsiteX3" fmla="*/ 230 w 41186"/>
                <a:gd name="connsiteY3" fmla="*/ 408224 h 431211"/>
                <a:gd name="connsiteX4" fmla="*/ 229 w 41186"/>
                <a:gd name="connsiteY4" fmla="*/ 16669 h 43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86" h="431211">
                  <a:moveTo>
                    <a:pt x="229" y="16669"/>
                  </a:moveTo>
                  <a:lnTo>
                    <a:pt x="41186" y="0"/>
                  </a:lnTo>
                  <a:lnTo>
                    <a:pt x="41186" y="431211"/>
                  </a:lnTo>
                  <a:lnTo>
                    <a:pt x="230" y="408224"/>
                  </a:lnTo>
                  <a:cubicBezTo>
                    <a:pt x="-564" y="262106"/>
                    <a:pt x="1023" y="162787"/>
                    <a:pt x="229" y="1666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226058F-AB53-40D2-B0A1-556C56259C9D}"/>
                </a:ext>
              </a:extLst>
            </p:cNvPr>
            <p:cNvGrpSpPr/>
            <p:nvPr/>
          </p:nvGrpSpPr>
          <p:grpSpPr>
            <a:xfrm>
              <a:off x="1053677" y="2392696"/>
              <a:ext cx="158213" cy="450691"/>
              <a:chOff x="-1706323" y="741508"/>
              <a:chExt cx="106715" cy="431211"/>
            </a:xfrm>
            <a:solidFill>
              <a:schemeClr val="bg2"/>
            </a:solidFill>
          </p:grpSpPr>
          <p:sp>
            <p:nvSpPr>
              <p:cNvPr id="24" name="Rectangle 68">
                <a:extLst>
                  <a:ext uri="{FF2B5EF4-FFF2-40B4-BE49-F238E27FC236}">
                    <a16:creationId xmlns:a16="http://schemas.microsoft.com/office/drawing/2014/main" id="{7F9AAA7A-3F14-41E5-BF2C-A917B15B6DFA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Rectangle 4098">
                <a:extLst>
                  <a:ext uri="{FF2B5EF4-FFF2-40B4-BE49-F238E27FC236}">
                    <a16:creationId xmlns:a16="http://schemas.microsoft.com/office/drawing/2014/main" id="{E07B1827-80F5-4D0F-8BD2-0FBAA31FD3DA}"/>
                  </a:ext>
                </a:extLst>
              </p:cNvPr>
              <p:cNvSpPr/>
              <p:nvPr/>
            </p:nvSpPr>
            <p:spPr bwMode="auto">
              <a:xfrm>
                <a:off x="-1636184" y="743223"/>
                <a:ext cx="36576" cy="31604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2893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39906"/>
                    </a:lnTo>
                    <a:cubicBezTo>
                      <a:pt x="-564" y="293788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B0B5AE7-5F0D-43B6-9C6C-7B03423A3CBC}"/>
              </a:ext>
            </a:extLst>
          </p:cNvPr>
          <p:cNvGrpSpPr/>
          <p:nvPr/>
        </p:nvGrpSpPr>
        <p:grpSpPr>
          <a:xfrm>
            <a:off x="6612889" y="2383431"/>
            <a:ext cx="1735184" cy="535672"/>
            <a:chOff x="4676715" y="4749419"/>
            <a:chExt cx="2226583" cy="687373"/>
          </a:xfrm>
        </p:grpSpPr>
        <p:sp>
          <p:nvSpPr>
            <p:cNvPr id="43" name="Freeform 78">
              <a:extLst>
                <a:ext uri="{FF2B5EF4-FFF2-40B4-BE49-F238E27FC236}">
                  <a16:creationId xmlns:a16="http://schemas.microsoft.com/office/drawing/2014/main" id="{66467971-0219-4710-A4BF-658B93893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1490" y="4753323"/>
              <a:ext cx="1637066" cy="683469"/>
            </a:xfrm>
            <a:custGeom>
              <a:avLst/>
              <a:gdLst>
                <a:gd name="T0" fmla="*/ 815 w 1182"/>
                <a:gd name="T1" fmla="*/ 681 h 700"/>
                <a:gd name="T2" fmla="*/ 852 w 1182"/>
                <a:gd name="T3" fmla="*/ 670 h 700"/>
                <a:gd name="T4" fmla="*/ 884 w 1182"/>
                <a:gd name="T5" fmla="*/ 647 h 700"/>
                <a:gd name="T6" fmla="*/ 916 w 1182"/>
                <a:gd name="T7" fmla="*/ 613 h 700"/>
                <a:gd name="T8" fmla="*/ 955 w 1182"/>
                <a:gd name="T9" fmla="*/ 555 h 700"/>
                <a:gd name="T10" fmla="*/ 1011 w 1182"/>
                <a:gd name="T11" fmla="*/ 449 h 700"/>
                <a:gd name="T12" fmla="*/ 1090 w 1182"/>
                <a:gd name="T13" fmla="*/ 290 h 700"/>
                <a:gd name="T14" fmla="*/ 1134 w 1182"/>
                <a:gd name="T15" fmla="*/ 213 h 700"/>
                <a:gd name="T16" fmla="*/ 1182 w 1182"/>
                <a:gd name="T17" fmla="*/ 316 h 700"/>
                <a:gd name="T18" fmla="*/ 1112 w 1182"/>
                <a:gd name="T19" fmla="*/ 454 h 700"/>
                <a:gd name="T20" fmla="*/ 1053 w 1182"/>
                <a:gd name="T21" fmla="*/ 549 h 700"/>
                <a:gd name="T22" fmla="*/ 994 w 1182"/>
                <a:gd name="T23" fmla="*/ 617 h 700"/>
                <a:gd name="T24" fmla="*/ 956 w 1182"/>
                <a:gd name="T25" fmla="*/ 649 h 700"/>
                <a:gd name="T26" fmla="*/ 915 w 1182"/>
                <a:gd name="T27" fmla="*/ 674 h 700"/>
                <a:gd name="T28" fmla="*/ 868 w 1182"/>
                <a:gd name="T29" fmla="*/ 692 h 700"/>
                <a:gd name="T30" fmla="*/ 819 w 1182"/>
                <a:gd name="T31" fmla="*/ 700 h 700"/>
                <a:gd name="T32" fmla="*/ 785 w 1182"/>
                <a:gd name="T33" fmla="*/ 700 h 700"/>
                <a:gd name="T34" fmla="*/ 740 w 1182"/>
                <a:gd name="T35" fmla="*/ 692 h 700"/>
                <a:gd name="T36" fmla="*/ 699 w 1182"/>
                <a:gd name="T37" fmla="*/ 676 h 700"/>
                <a:gd name="T38" fmla="*/ 661 w 1182"/>
                <a:gd name="T39" fmla="*/ 654 h 700"/>
                <a:gd name="T40" fmla="*/ 613 w 1182"/>
                <a:gd name="T41" fmla="*/ 616 h 700"/>
                <a:gd name="T42" fmla="*/ 553 w 1182"/>
                <a:gd name="T43" fmla="*/ 540 h 700"/>
                <a:gd name="T44" fmla="*/ 500 w 1182"/>
                <a:gd name="T45" fmla="*/ 453 h 700"/>
                <a:gd name="T46" fmla="*/ 453 w 1182"/>
                <a:gd name="T47" fmla="*/ 359 h 700"/>
                <a:gd name="T48" fmla="*/ 351 w 1182"/>
                <a:gd name="T49" fmla="*/ 151 h 700"/>
                <a:gd name="T50" fmla="*/ 307 w 1182"/>
                <a:gd name="T51" fmla="*/ 82 h 700"/>
                <a:gd name="T52" fmla="*/ 266 w 1182"/>
                <a:gd name="T53" fmla="*/ 42 h 700"/>
                <a:gd name="T54" fmla="*/ 239 w 1182"/>
                <a:gd name="T55" fmla="*/ 26 h 700"/>
                <a:gd name="T56" fmla="*/ 210 w 1182"/>
                <a:gd name="T57" fmla="*/ 20 h 700"/>
                <a:gd name="T58" fmla="*/ 189 w 1182"/>
                <a:gd name="T59" fmla="*/ 18 h 700"/>
                <a:gd name="T60" fmla="*/ 156 w 1182"/>
                <a:gd name="T61" fmla="*/ 27 h 700"/>
                <a:gd name="T62" fmla="*/ 127 w 1182"/>
                <a:gd name="T63" fmla="*/ 46 h 700"/>
                <a:gd name="T64" fmla="*/ 97 w 1182"/>
                <a:gd name="T65" fmla="*/ 74 h 700"/>
                <a:gd name="T66" fmla="*/ 45 w 1182"/>
                <a:gd name="T67" fmla="*/ 151 h 700"/>
                <a:gd name="T68" fmla="*/ 22 w 1182"/>
                <a:gd name="T69" fmla="*/ 119 h 700"/>
                <a:gd name="T70" fmla="*/ 21 w 1182"/>
                <a:gd name="T71" fmla="*/ 71 h 700"/>
                <a:gd name="T72" fmla="*/ 77 w 1182"/>
                <a:gd name="T73" fmla="*/ 31 h 700"/>
                <a:gd name="T74" fmla="*/ 115 w 1182"/>
                <a:gd name="T75" fmla="*/ 14 h 700"/>
                <a:gd name="T76" fmla="*/ 156 w 1182"/>
                <a:gd name="T77" fmla="*/ 4 h 700"/>
                <a:gd name="T78" fmla="*/ 201 w 1182"/>
                <a:gd name="T79" fmla="*/ 0 h 700"/>
                <a:gd name="T80" fmla="*/ 232 w 1182"/>
                <a:gd name="T81" fmla="*/ 3 h 700"/>
                <a:gd name="T82" fmla="*/ 277 w 1182"/>
                <a:gd name="T83" fmla="*/ 13 h 700"/>
                <a:gd name="T84" fmla="*/ 318 w 1182"/>
                <a:gd name="T85" fmla="*/ 31 h 700"/>
                <a:gd name="T86" fmla="*/ 355 w 1182"/>
                <a:gd name="T87" fmla="*/ 55 h 700"/>
                <a:gd name="T88" fmla="*/ 411 w 1182"/>
                <a:gd name="T89" fmla="*/ 108 h 700"/>
                <a:gd name="T90" fmla="*/ 470 w 1182"/>
                <a:gd name="T91" fmla="*/ 188 h 700"/>
                <a:gd name="T92" fmla="*/ 519 w 1182"/>
                <a:gd name="T93" fmla="*/ 278 h 700"/>
                <a:gd name="T94" fmla="*/ 621 w 1182"/>
                <a:gd name="T95" fmla="*/ 496 h 700"/>
                <a:gd name="T96" fmla="*/ 665 w 1182"/>
                <a:gd name="T97" fmla="*/ 575 h 700"/>
                <a:gd name="T98" fmla="*/ 711 w 1182"/>
                <a:gd name="T99" fmla="*/ 637 h 700"/>
                <a:gd name="T100" fmla="*/ 745 w 1182"/>
                <a:gd name="T101" fmla="*/ 665 h 700"/>
                <a:gd name="T102" fmla="*/ 772 w 1182"/>
                <a:gd name="T103" fmla="*/ 677 h 700"/>
                <a:gd name="T104" fmla="*/ 802 w 1182"/>
                <a:gd name="T105" fmla="*/ 682 h 7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2" h="700">
                  <a:moveTo>
                    <a:pt x="802" y="682"/>
                  </a:moveTo>
                  <a:lnTo>
                    <a:pt x="802" y="682"/>
                  </a:lnTo>
                  <a:lnTo>
                    <a:pt x="815" y="681"/>
                  </a:lnTo>
                  <a:lnTo>
                    <a:pt x="827" y="679"/>
                  </a:lnTo>
                  <a:lnTo>
                    <a:pt x="839" y="675"/>
                  </a:lnTo>
                  <a:lnTo>
                    <a:pt x="852" y="670"/>
                  </a:lnTo>
                  <a:lnTo>
                    <a:pt x="863" y="664"/>
                  </a:lnTo>
                  <a:lnTo>
                    <a:pt x="874" y="656"/>
                  </a:lnTo>
                  <a:lnTo>
                    <a:pt x="884" y="647"/>
                  </a:lnTo>
                  <a:lnTo>
                    <a:pt x="895" y="637"/>
                  </a:lnTo>
                  <a:lnTo>
                    <a:pt x="906" y="626"/>
                  </a:lnTo>
                  <a:lnTo>
                    <a:pt x="916" y="613"/>
                  </a:lnTo>
                  <a:lnTo>
                    <a:pt x="926" y="600"/>
                  </a:lnTo>
                  <a:lnTo>
                    <a:pt x="936" y="586"/>
                  </a:lnTo>
                  <a:lnTo>
                    <a:pt x="955" y="555"/>
                  </a:lnTo>
                  <a:lnTo>
                    <a:pt x="974" y="521"/>
                  </a:lnTo>
                  <a:lnTo>
                    <a:pt x="993" y="486"/>
                  </a:lnTo>
                  <a:lnTo>
                    <a:pt x="1011" y="449"/>
                  </a:lnTo>
                  <a:lnTo>
                    <a:pt x="1049" y="369"/>
                  </a:lnTo>
                  <a:lnTo>
                    <a:pt x="1070" y="330"/>
                  </a:lnTo>
                  <a:lnTo>
                    <a:pt x="1090" y="290"/>
                  </a:lnTo>
                  <a:lnTo>
                    <a:pt x="1111" y="250"/>
                  </a:lnTo>
                  <a:lnTo>
                    <a:pt x="1134" y="213"/>
                  </a:lnTo>
                  <a:lnTo>
                    <a:pt x="1158" y="264"/>
                  </a:lnTo>
                  <a:lnTo>
                    <a:pt x="1182" y="316"/>
                  </a:lnTo>
                  <a:lnTo>
                    <a:pt x="1148" y="386"/>
                  </a:lnTo>
                  <a:lnTo>
                    <a:pt x="1130" y="421"/>
                  </a:lnTo>
                  <a:lnTo>
                    <a:pt x="1112" y="454"/>
                  </a:lnTo>
                  <a:lnTo>
                    <a:pt x="1093" y="487"/>
                  </a:lnTo>
                  <a:lnTo>
                    <a:pt x="1073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7" y="604"/>
                  </a:lnTo>
                  <a:lnTo>
                    <a:pt x="994" y="617"/>
                  </a:lnTo>
                  <a:lnTo>
                    <a:pt x="982" y="628"/>
                  </a:lnTo>
                  <a:lnTo>
                    <a:pt x="970" y="639"/>
                  </a:lnTo>
                  <a:lnTo>
                    <a:pt x="956" y="649"/>
                  </a:lnTo>
                  <a:lnTo>
                    <a:pt x="943" y="658"/>
                  </a:lnTo>
                  <a:lnTo>
                    <a:pt x="929" y="667"/>
                  </a:lnTo>
                  <a:lnTo>
                    <a:pt x="915" y="674"/>
                  </a:lnTo>
                  <a:lnTo>
                    <a:pt x="900" y="681"/>
                  </a:lnTo>
                  <a:lnTo>
                    <a:pt x="884" y="687"/>
                  </a:lnTo>
                  <a:lnTo>
                    <a:pt x="868" y="692"/>
                  </a:lnTo>
                  <a:lnTo>
                    <a:pt x="853" y="695"/>
                  </a:lnTo>
                  <a:lnTo>
                    <a:pt x="836" y="698"/>
                  </a:lnTo>
                  <a:lnTo>
                    <a:pt x="819" y="700"/>
                  </a:lnTo>
                  <a:lnTo>
                    <a:pt x="801" y="700"/>
                  </a:lnTo>
                  <a:lnTo>
                    <a:pt x="785" y="700"/>
                  </a:lnTo>
                  <a:lnTo>
                    <a:pt x="770" y="697"/>
                  </a:lnTo>
                  <a:lnTo>
                    <a:pt x="755" y="695"/>
                  </a:lnTo>
                  <a:lnTo>
                    <a:pt x="740" y="692"/>
                  </a:lnTo>
                  <a:lnTo>
                    <a:pt x="726" y="687"/>
                  </a:lnTo>
                  <a:lnTo>
                    <a:pt x="712" y="683"/>
                  </a:lnTo>
                  <a:lnTo>
                    <a:pt x="699" y="676"/>
                  </a:lnTo>
                  <a:lnTo>
                    <a:pt x="685" y="669"/>
                  </a:lnTo>
                  <a:lnTo>
                    <a:pt x="673" y="663"/>
                  </a:lnTo>
                  <a:lnTo>
                    <a:pt x="661" y="654"/>
                  </a:lnTo>
                  <a:lnTo>
                    <a:pt x="648" y="646"/>
                  </a:lnTo>
                  <a:lnTo>
                    <a:pt x="636" y="636"/>
                  </a:lnTo>
                  <a:lnTo>
                    <a:pt x="613" y="616"/>
                  </a:lnTo>
                  <a:lnTo>
                    <a:pt x="592" y="592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4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3" y="422"/>
                  </a:lnTo>
                  <a:lnTo>
                    <a:pt x="453" y="359"/>
                  </a:lnTo>
                  <a:lnTo>
                    <a:pt x="394" y="235"/>
                  </a:lnTo>
                  <a:lnTo>
                    <a:pt x="366" y="177"/>
                  </a:lnTo>
                  <a:lnTo>
                    <a:pt x="351" y="151"/>
                  </a:lnTo>
                  <a:lnTo>
                    <a:pt x="337" y="126"/>
                  </a:lnTo>
                  <a:lnTo>
                    <a:pt x="322" y="102"/>
                  </a:lnTo>
                  <a:lnTo>
                    <a:pt x="307" y="82"/>
                  </a:lnTo>
                  <a:lnTo>
                    <a:pt x="291" y="63"/>
                  </a:lnTo>
                  <a:lnTo>
                    <a:pt x="274" y="49"/>
                  </a:lnTo>
                  <a:lnTo>
                    <a:pt x="266" y="42"/>
                  </a:lnTo>
                  <a:lnTo>
                    <a:pt x="257" y="35"/>
                  </a:lnTo>
                  <a:lnTo>
                    <a:pt x="248" y="31"/>
                  </a:lnTo>
                  <a:lnTo>
                    <a:pt x="239" y="26"/>
                  </a:lnTo>
                  <a:lnTo>
                    <a:pt x="230" y="23"/>
                  </a:lnTo>
                  <a:lnTo>
                    <a:pt x="220" y="21"/>
                  </a:lnTo>
                  <a:lnTo>
                    <a:pt x="210" y="20"/>
                  </a:lnTo>
                  <a:lnTo>
                    <a:pt x="201" y="18"/>
                  </a:lnTo>
                  <a:lnTo>
                    <a:pt x="189" y="18"/>
                  </a:lnTo>
                  <a:lnTo>
                    <a:pt x="178" y="21"/>
                  </a:lnTo>
                  <a:lnTo>
                    <a:pt x="167" y="24"/>
                  </a:lnTo>
                  <a:lnTo>
                    <a:pt x="156" y="27"/>
                  </a:lnTo>
                  <a:lnTo>
                    <a:pt x="146" y="33"/>
                  </a:lnTo>
                  <a:lnTo>
                    <a:pt x="136" y="40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6" y="64"/>
                  </a:lnTo>
                  <a:lnTo>
                    <a:pt x="97" y="74"/>
                  </a:lnTo>
                  <a:lnTo>
                    <a:pt x="80" y="97"/>
                  </a:lnTo>
                  <a:lnTo>
                    <a:pt x="62" y="123"/>
                  </a:lnTo>
                  <a:lnTo>
                    <a:pt x="45" y="151"/>
                  </a:lnTo>
                  <a:lnTo>
                    <a:pt x="33" y="135"/>
                  </a:lnTo>
                  <a:lnTo>
                    <a:pt x="22" y="119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2" y="53"/>
                  </a:lnTo>
                  <a:lnTo>
                    <a:pt x="66" y="37"/>
                  </a:lnTo>
                  <a:lnTo>
                    <a:pt x="77" y="31"/>
                  </a:lnTo>
                  <a:lnTo>
                    <a:pt x="90" y="24"/>
                  </a:lnTo>
                  <a:lnTo>
                    <a:pt x="103" y="18"/>
                  </a:lnTo>
                  <a:lnTo>
                    <a:pt x="115" y="14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6" y="4"/>
                  </a:lnTo>
                  <a:lnTo>
                    <a:pt x="171" y="2"/>
                  </a:lnTo>
                  <a:lnTo>
                    <a:pt x="185" y="0"/>
                  </a:lnTo>
                  <a:lnTo>
                    <a:pt x="201" y="0"/>
                  </a:lnTo>
                  <a:lnTo>
                    <a:pt x="217" y="0"/>
                  </a:lnTo>
                  <a:lnTo>
                    <a:pt x="232" y="3"/>
                  </a:lnTo>
                  <a:lnTo>
                    <a:pt x="248" y="5"/>
                  </a:lnTo>
                  <a:lnTo>
                    <a:pt x="263" y="8"/>
                  </a:lnTo>
                  <a:lnTo>
                    <a:pt x="277" y="13"/>
                  </a:lnTo>
                  <a:lnTo>
                    <a:pt x="291" y="18"/>
                  </a:lnTo>
                  <a:lnTo>
                    <a:pt x="304" y="24"/>
                  </a:lnTo>
                  <a:lnTo>
                    <a:pt x="318" y="31"/>
                  </a:lnTo>
                  <a:lnTo>
                    <a:pt x="330" y="37"/>
                  </a:lnTo>
                  <a:lnTo>
                    <a:pt x="344" y="46"/>
                  </a:lnTo>
                  <a:lnTo>
                    <a:pt x="355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1" y="108"/>
                  </a:lnTo>
                  <a:lnTo>
                    <a:pt x="431" y="133"/>
                  </a:lnTo>
                  <a:lnTo>
                    <a:pt x="450" y="160"/>
                  </a:lnTo>
                  <a:lnTo>
                    <a:pt x="470" y="188"/>
                  </a:lnTo>
                  <a:lnTo>
                    <a:pt x="486" y="217"/>
                  </a:lnTo>
                  <a:lnTo>
                    <a:pt x="503" y="247"/>
                  </a:lnTo>
                  <a:lnTo>
                    <a:pt x="519" y="278"/>
                  </a:lnTo>
                  <a:lnTo>
                    <a:pt x="550" y="341"/>
                  </a:lnTo>
                  <a:lnTo>
                    <a:pt x="608" y="467"/>
                  </a:lnTo>
                  <a:lnTo>
                    <a:pt x="621" y="496"/>
                  </a:lnTo>
                  <a:lnTo>
                    <a:pt x="636" y="524"/>
                  </a:lnTo>
                  <a:lnTo>
                    <a:pt x="650" y="549"/>
                  </a:lnTo>
                  <a:lnTo>
                    <a:pt x="665" y="575"/>
                  </a:lnTo>
                  <a:lnTo>
                    <a:pt x="680" y="598"/>
                  </a:lnTo>
                  <a:lnTo>
                    <a:pt x="695" y="618"/>
                  </a:lnTo>
                  <a:lnTo>
                    <a:pt x="711" y="637"/>
                  </a:lnTo>
                  <a:lnTo>
                    <a:pt x="727" y="651"/>
                  </a:lnTo>
                  <a:lnTo>
                    <a:pt x="736" y="658"/>
                  </a:lnTo>
                  <a:lnTo>
                    <a:pt x="745" y="665"/>
                  </a:lnTo>
                  <a:lnTo>
                    <a:pt x="754" y="669"/>
                  </a:lnTo>
                  <a:lnTo>
                    <a:pt x="763" y="674"/>
                  </a:lnTo>
                  <a:lnTo>
                    <a:pt x="772" y="677"/>
                  </a:lnTo>
                  <a:lnTo>
                    <a:pt x="782" y="679"/>
                  </a:lnTo>
                  <a:lnTo>
                    <a:pt x="792" y="682"/>
                  </a:lnTo>
                  <a:lnTo>
                    <a:pt x="802" y="6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80">
              <a:extLst>
                <a:ext uri="{FF2B5EF4-FFF2-40B4-BE49-F238E27FC236}">
                  <a16:creationId xmlns:a16="http://schemas.microsoft.com/office/drawing/2014/main" id="{21DA80D0-91B0-40C2-8000-0ECA73260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6715" y="4948601"/>
              <a:ext cx="526299" cy="475499"/>
            </a:xfrm>
            <a:custGeom>
              <a:avLst/>
              <a:gdLst>
                <a:gd name="T0" fmla="*/ 380 w 380"/>
                <a:gd name="T1" fmla="*/ 104 h 487"/>
                <a:gd name="T2" fmla="*/ 380 w 380"/>
                <a:gd name="T3" fmla="*/ 104 h 487"/>
                <a:gd name="T4" fmla="*/ 356 w 380"/>
                <a:gd name="T5" fmla="*/ 50 h 487"/>
                <a:gd name="T6" fmla="*/ 332 w 380"/>
                <a:gd name="T7" fmla="*/ 0 h 487"/>
                <a:gd name="T8" fmla="*/ 332 w 380"/>
                <a:gd name="T9" fmla="*/ 0 h 487"/>
                <a:gd name="T10" fmla="*/ 309 w 380"/>
                <a:gd name="T11" fmla="*/ 38 h 487"/>
                <a:gd name="T12" fmla="*/ 288 w 380"/>
                <a:gd name="T13" fmla="*/ 77 h 487"/>
                <a:gd name="T14" fmla="*/ 267 w 380"/>
                <a:gd name="T15" fmla="*/ 116 h 487"/>
                <a:gd name="T16" fmla="*/ 247 w 380"/>
                <a:gd name="T17" fmla="*/ 157 h 487"/>
                <a:gd name="T18" fmla="*/ 210 w 380"/>
                <a:gd name="T19" fmla="*/ 235 h 487"/>
                <a:gd name="T20" fmla="*/ 191 w 380"/>
                <a:gd name="T21" fmla="*/ 273 h 487"/>
                <a:gd name="T22" fmla="*/ 172 w 380"/>
                <a:gd name="T23" fmla="*/ 309 h 487"/>
                <a:gd name="T24" fmla="*/ 153 w 380"/>
                <a:gd name="T25" fmla="*/ 343 h 487"/>
                <a:gd name="T26" fmla="*/ 134 w 380"/>
                <a:gd name="T27" fmla="*/ 373 h 487"/>
                <a:gd name="T28" fmla="*/ 125 w 380"/>
                <a:gd name="T29" fmla="*/ 388 h 487"/>
                <a:gd name="T30" fmla="*/ 115 w 380"/>
                <a:gd name="T31" fmla="*/ 401 h 487"/>
                <a:gd name="T32" fmla="*/ 105 w 380"/>
                <a:gd name="T33" fmla="*/ 412 h 487"/>
                <a:gd name="T34" fmla="*/ 93 w 380"/>
                <a:gd name="T35" fmla="*/ 423 h 487"/>
                <a:gd name="T36" fmla="*/ 83 w 380"/>
                <a:gd name="T37" fmla="*/ 435 h 487"/>
                <a:gd name="T38" fmla="*/ 72 w 380"/>
                <a:gd name="T39" fmla="*/ 444 h 487"/>
                <a:gd name="T40" fmla="*/ 61 w 380"/>
                <a:gd name="T41" fmla="*/ 450 h 487"/>
                <a:gd name="T42" fmla="*/ 49 w 380"/>
                <a:gd name="T43" fmla="*/ 457 h 487"/>
                <a:gd name="T44" fmla="*/ 37 w 380"/>
                <a:gd name="T45" fmla="*/ 463 h 487"/>
                <a:gd name="T46" fmla="*/ 26 w 380"/>
                <a:gd name="T47" fmla="*/ 466 h 487"/>
                <a:gd name="T48" fmla="*/ 12 w 380"/>
                <a:gd name="T49" fmla="*/ 468 h 487"/>
                <a:gd name="T50" fmla="*/ 0 w 380"/>
                <a:gd name="T51" fmla="*/ 469 h 487"/>
                <a:gd name="T52" fmla="*/ 0 w 380"/>
                <a:gd name="T53" fmla="*/ 487 h 487"/>
                <a:gd name="T54" fmla="*/ 0 w 380"/>
                <a:gd name="T55" fmla="*/ 487 h 487"/>
                <a:gd name="T56" fmla="*/ 17 w 380"/>
                <a:gd name="T57" fmla="*/ 486 h 487"/>
                <a:gd name="T58" fmla="*/ 35 w 380"/>
                <a:gd name="T59" fmla="*/ 485 h 487"/>
                <a:gd name="T60" fmla="*/ 51 w 380"/>
                <a:gd name="T61" fmla="*/ 483 h 487"/>
                <a:gd name="T62" fmla="*/ 67 w 380"/>
                <a:gd name="T63" fmla="*/ 478 h 487"/>
                <a:gd name="T64" fmla="*/ 83 w 380"/>
                <a:gd name="T65" fmla="*/ 474 h 487"/>
                <a:gd name="T66" fmla="*/ 98 w 380"/>
                <a:gd name="T67" fmla="*/ 468 h 487"/>
                <a:gd name="T68" fmla="*/ 112 w 380"/>
                <a:gd name="T69" fmla="*/ 461 h 487"/>
                <a:gd name="T70" fmla="*/ 127 w 380"/>
                <a:gd name="T71" fmla="*/ 454 h 487"/>
                <a:gd name="T72" fmla="*/ 142 w 380"/>
                <a:gd name="T73" fmla="*/ 445 h 487"/>
                <a:gd name="T74" fmla="*/ 155 w 380"/>
                <a:gd name="T75" fmla="*/ 436 h 487"/>
                <a:gd name="T76" fmla="*/ 167 w 380"/>
                <a:gd name="T77" fmla="*/ 426 h 487"/>
                <a:gd name="T78" fmla="*/ 181 w 380"/>
                <a:gd name="T79" fmla="*/ 414 h 487"/>
                <a:gd name="T80" fmla="*/ 193 w 380"/>
                <a:gd name="T81" fmla="*/ 403 h 487"/>
                <a:gd name="T82" fmla="*/ 206 w 380"/>
                <a:gd name="T83" fmla="*/ 391 h 487"/>
                <a:gd name="T84" fmla="*/ 228 w 380"/>
                <a:gd name="T85" fmla="*/ 365 h 487"/>
                <a:gd name="T86" fmla="*/ 251 w 380"/>
                <a:gd name="T87" fmla="*/ 336 h 487"/>
                <a:gd name="T88" fmla="*/ 271 w 380"/>
                <a:gd name="T89" fmla="*/ 306 h 487"/>
                <a:gd name="T90" fmla="*/ 291 w 380"/>
                <a:gd name="T91" fmla="*/ 274 h 487"/>
                <a:gd name="T92" fmla="*/ 310 w 380"/>
                <a:gd name="T93" fmla="*/ 241 h 487"/>
                <a:gd name="T94" fmla="*/ 329 w 380"/>
                <a:gd name="T95" fmla="*/ 207 h 487"/>
                <a:gd name="T96" fmla="*/ 346 w 380"/>
                <a:gd name="T97" fmla="*/ 172 h 487"/>
                <a:gd name="T98" fmla="*/ 380 w 380"/>
                <a:gd name="T99" fmla="*/ 104 h 487"/>
                <a:gd name="T100" fmla="*/ 380 w 380"/>
                <a:gd name="T101" fmla="*/ 104 h 4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487">
                  <a:moveTo>
                    <a:pt x="380" y="104"/>
                  </a:moveTo>
                  <a:lnTo>
                    <a:pt x="380" y="104"/>
                  </a:lnTo>
                  <a:lnTo>
                    <a:pt x="356" y="50"/>
                  </a:lnTo>
                  <a:lnTo>
                    <a:pt x="332" y="0"/>
                  </a:lnTo>
                  <a:lnTo>
                    <a:pt x="309" y="38"/>
                  </a:lnTo>
                  <a:lnTo>
                    <a:pt x="288" y="77"/>
                  </a:lnTo>
                  <a:lnTo>
                    <a:pt x="267" y="116"/>
                  </a:lnTo>
                  <a:lnTo>
                    <a:pt x="247" y="157"/>
                  </a:lnTo>
                  <a:lnTo>
                    <a:pt x="210" y="235"/>
                  </a:lnTo>
                  <a:lnTo>
                    <a:pt x="191" y="273"/>
                  </a:lnTo>
                  <a:lnTo>
                    <a:pt x="172" y="309"/>
                  </a:lnTo>
                  <a:lnTo>
                    <a:pt x="153" y="343"/>
                  </a:lnTo>
                  <a:lnTo>
                    <a:pt x="134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5" y="412"/>
                  </a:lnTo>
                  <a:lnTo>
                    <a:pt x="93" y="423"/>
                  </a:lnTo>
                  <a:lnTo>
                    <a:pt x="83" y="435"/>
                  </a:lnTo>
                  <a:lnTo>
                    <a:pt x="72" y="444"/>
                  </a:lnTo>
                  <a:lnTo>
                    <a:pt x="61" y="450"/>
                  </a:lnTo>
                  <a:lnTo>
                    <a:pt x="49" y="457"/>
                  </a:lnTo>
                  <a:lnTo>
                    <a:pt x="37" y="463"/>
                  </a:lnTo>
                  <a:lnTo>
                    <a:pt x="26" y="466"/>
                  </a:lnTo>
                  <a:lnTo>
                    <a:pt x="12" y="468"/>
                  </a:lnTo>
                  <a:lnTo>
                    <a:pt x="0" y="469"/>
                  </a:lnTo>
                  <a:lnTo>
                    <a:pt x="0" y="487"/>
                  </a:lnTo>
                  <a:lnTo>
                    <a:pt x="17" y="486"/>
                  </a:lnTo>
                  <a:lnTo>
                    <a:pt x="35" y="485"/>
                  </a:lnTo>
                  <a:lnTo>
                    <a:pt x="51" y="483"/>
                  </a:lnTo>
                  <a:lnTo>
                    <a:pt x="67" y="478"/>
                  </a:lnTo>
                  <a:lnTo>
                    <a:pt x="83" y="474"/>
                  </a:lnTo>
                  <a:lnTo>
                    <a:pt x="98" y="468"/>
                  </a:lnTo>
                  <a:lnTo>
                    <a:pt x="112" y="461"/>
                  </a:lnTo>
                  <a:lnTo>
                    <a:pt x="127" y="454"/>
                  </a:lnTo>
                  <a:lnTo>
                    <a:pt x="142" y="445"/>
                  </a:lnTo>
                  <a:lnTo>
                    <a:pt x="155" y="436"/>
                  </a:lnTo>
                  <a:lnTo>
                    <a:pt x="167" y="426"/>
                  </a:lnTo>
                  <a:lnTo>
                    <a:pt x="181" y="414"/>
                  </a:lnTo>
                  <a:lnTo>
                    <a:pt x="193" y="403"/>
                  </a:lnTo>
                  <a:lnTo>
                    <a:pt x="206" y="391"/>
                  </a:lnTo>
                  <a:lnTo>
                    <a:pt x="228" y="365"/>
                  </a:lnTo>
                  <a:lnTo>
                    <a:pt x="251" y="336"/>
                  </a:lnTo>
                  <a:lnTo>
                    <a:pt x="271" y="306"/>
                  </a:lnTo>
                  <a:lnTo>
                    <a:pt x="291" y="274"/>
                  </a:lnTo>
                  <a:lnTo>
                    <a:pt x="310" y="241"/>
                  </a:lnTo>
                  <a:lnTo>
                    <a:pt x="329" y="207"/>
                  </a:lnTo>
                  <a:lnTo>
                    <a:pt x="346" y="172"/>
                  </a:lnTo>
                  <a:lnTo>
                    <a:pt x="380" y="10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5" name="Freeform 81">
              <a:extLst>
                <a:ext uri="{FF2B5EF4-FFF2-40B4-BE49-F238E27FC236}">
                  <a16:creationId xmlns:a16="http://schemas.microsoft.com/office/drawing/2014/main" id="{5DEC603C-4EEB-4B7B-8675-38C42A90C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5254" y="4791991"/>
              <a:ext cx="258584" cy="445614"/>
            </a:xfrm>
            <a:custGeom>
              <a:avLst/>
              <a:gdLst>
                <a:gd name="T0" fmla="*/ 0 w 810"/>
                <a:gd name="T1" fmla="*/ 385 h 630"/>
                <a:gd name="T2" fmla="*/ 48 w 810"/>
                <a:gd name="T3" fmla="*/ 488 h 630"/>
                <a:gd name="T4" fmla="*/ 71 w 810"/>
                <a:gd name="T5" fmla="*/ 450 h 630"/>
                <a:gd name="T6" fmla="*/ 114 w 810"/>
                <a:gd name="T7" fmla="*/ 371 h 630"/>
                <a:gd name="T8" fmla="*/ 171 w 810"/>
                <a:gd name="T9" fmla="*/ 252 h 630"/>
                <a:gd name="T10" fmla="*/ 208 w 810"/>
                <a:gd name="T11" fmla="*/ 178 h 630"/>
                <a:gd name="T12" fmla="*/ 246 w 810"/>
                <a:gd name="T13" fmla="*/ 115 h 630"/>
                <a:gd name="T14" fmla="*/ 266 w 810"/>
                <a:gd name="T15" fmla="*/ 88 h 630"/>
                <a:gd name="T16" fmla="*/ 287 w 810"/>
                <a:gd name="T17" fmla="*/ 64 h 630"/>
                <a:gd name="T18" fmla="*/ 309 w 810"/>
                <a:gd name="T19" fmla="*/ 45 h 630"/>
                <a:gd name="T20" fmla="*/ 332 w 810"/>
                <a:gd name="T21" fmla="*/ 31 h 630"/>
                <a:gd name="T22" fmla="*/ 355 w 810"/>
                <a:gd name="T23" fmla="*/ 22 h 630"/>
                <a:gd name="T24" fmla="*/ 381 w 810"/>
                <a:gd name="T25" fmla="*/ 19 h 630"/>
                <a:gd name="T26" fmla="*/ 381 w 810"/>
                <a:gd name="T27" fmla="*/ 19 h 630"/>
                <a:gd name="T28" fmla="*/ 413 w 810"/>
                <a:gd name="T29" fmla="*/ 24 h 630"/>
                <a:gd name="T30" fmla="*/ 442 w 810"/>
                <a:gd name="T31" fmla="*/ 38 h 630"/>
                <a:gd name="T32" fmla="*/ 469 w 810"/>
                <a:gd name="T33" fmla="*/ 61 h 630"/>
                <a:gd name="T34" fmla="*/ 495 w 810"/>
                <a:gd name="T35" fmla="*/ 91 h 630"/>
                <a:gd name="T36" fmla="*/ 518 w 810"/>
                <a:gd name="T37" fmla="*/ 127 h 630"/>
                <a:gd name="T38" fmla="*/ 542 w 810"/>
                <a:gd name="T39" fmla="*/ 167 h 630"/>
                <a:gd name="T40" fmla="*/ 587 w 810"/>
                <a:gd name="T41" fmla="*/ 260 h 630"/>
                <a:gd name="T42" fmla="*/ 658 w 810"/>
                <a:gd name="T43" fmla="*/ 413 h 630"/>
                <a:gd name="T44" fmla="*/ 697 w 810"/>
                <a:gd name="T45" fmla="*/ 487 h 630"/>
                <a:gd name="T46" fmla="*/ 726 w 810"/>
                <a:gd name="T47" fmla="*/ 532 h 630"/>
                <a:gd name="T48" fmla="*/ 757 w 810"/>
                <a:gd name="T49" fmla="*/ 575 h 630"/>
                <a:gd name="T50" fmla="*/ 790 w 810"/>
                <a:gd name="T51" fmla="*/ 613 h 630"/>
                <a:gd name="T52" fmla="*/ 810 w 810"/>
                <a:gd name="T53" fmla="*/ 510 h 630"/>
                <a:gd name="T54" fmla="*/ 791 w 810"/>
                <a:gd name="T55" fmla="*/ 472 h 630"/>
                <a:gd name="T56" fmla="*/ 733 w 810"/>
                <a:gd name="T57" fmla="*/ 347 h 630"/>
                <a:gd name="T58" fmla="*/ 691 w 810"/>
                <a:gd name="T59" fmla="*/ 261 h 630"/>
                <a:gd name="T60" fmla="*/ 644 w 810"/>
                <a:gd name="T61" fmla="*/ 182 h 630"/>
                <a:gd name="T62" fmla="*/ 619 w 810"/>
                <a:gd name="T63" fmla="*/ 145 h 630"/>
                <a:gd name="T64" fmla="*/ 592 w 810"/>
                <a:gd name="T65" fmla="*/ 110 h 630"/>
                <a:gd name="T66" fmla="*/ 563 w 810"/>
                <a:gd name="T67" fmla="*/ 80 h 630"/>
                <a:gd name="T68" fmla="*/ 532 w 810"/>
                <a:gd name="T69" fmla="*/ 53 h 630"/>
                <a:gd name="T70" fmla="*/ 498 w 810"/>
                <a:gd name="T71" fmla="*/ 32 h 630"/>
                <a:gd name="T72" fmla="*/ 462 w 810"/>
                <a:gd name="T73" fmla="*/ 15 h 630"/>
                <a:gd name="T74" fmla="*/ 423 w 810"/>
                <a:gd name="T75" fmla="*/ 5 h 630"/>
                <a:gd name="T76" fmla="*/ 381 w 810"/>
                <a:gd name="T77" fmla="*/ 0 h 630"/>
                <a:gd name="T78" fmla="*/ 381 w 810"/>
                <a:gd name="T79" fmla="*/ 0 h 630"/>
                <a:gd name="T80" fmla="*/ 346 w 810"/>
                <a:gd name="T81" fmla="*/ 3 h 630"/>
                <a:gd name="T82" fmla="*/ 314 w 810"/>
                <a:gd name="T83" fmla="*/ 9 h 630"/>
                <a:gd name="T84" fmla="*/ 282 w 810"/>
                <a:gd name="T85" fmla="*/ 19 h 630"/>
                <a:gd name="T86" fmla="*/ 253 w 810"/>
                <a:gd name="T87" fmla="*/ 34 h 630"/>
                <a:gd name="T88" fmla="*/ 226 w 810"/>
                <a:gd name="T89" fmla="*/ 52 h 630"/>
                <a:gd name="T90" fmla="*/ 200 w 810"/>
                <a:gd name="T91" fmla="*/ 73 h 630"/>
                <a:gd name="T92" fmla="*/ 175 w 810"/>
                <a:gd name="T93" fmla="*/ 97 h 630"/>
                <a:gd name="T94" fmla="*/ 130 w 810"/>
                <a:gd name="T95" fmla="*/ 152 h 630"/>
                <a:gd name="T96" fmla="*/ 89 w 810"/>
                <a:gd name="T97" fmla="*/ 214 h 630"/>
                <a:gd name="T98" fmla="*/ 52 w 810"/>
                <a:gd name="T99" fmla="*/ 280 h 630"/>
                <a:gd name="T100" fmla="*/ 0 w 810"/>
                <a:gd name="T101" fmla="*/ 385 h 6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connsiteX0" fmla="*/ 0 w 9988"/>
                <a:gd name="connsiteY0" fmla="*/ 6111 h 10000"/>
                <a:gd name="connsiteX1" fmla="*/ 0 w 9988"/>
                <a:gd name="connsiteY1" fmla="*/ 6111 h 10000"/>
                <a:gd name="connsiteX2" fmla="*/ 309 w 9988"/>
                <a:gd name="connsiteY2" fmla="*/ 6937 h 10000"/>
                <a:gd name="connsiteX3" fmla="*/ 593 w 9988"/>
                <a:gd name="connsiteY3" fmla="*/ 7746 h 10000"/>
                <a:gd name="connsiteX4" fmla="*/ 877 w 9988"/>
                <a:gd name="connsiteY4" fmla="*/ 7143 h 10000"/>
                <a:gd name="connsiteX5" fmla="*/ 1136 w 9988"/>
                <a:gd name="connsiteY5" fmla="*/ 6508 h 10000"/>
                <a:gd name="connsiteX6" fmla="*/ 1407 w 9988"/>
                <a:gd name="connsiteY6" fmla="*/ 5889 h 10000"/>
                <a:gd name="connsiteX7" fmla="*/ 1642 w 9988"/>
                <a:gd name="connsiteY7" fmla="*/ 5254 h 10000"/>
                <a:gd name="connsiteX8" fmla="*/ 2111 w 9988"/>
                <a:gd name="connsiteY8" fmla="*/ 4000 h 10000"/>
                <a:gd name="connsiteX9" fmla="*/ 2346 w 9988"/>
                <a:gd name="connsiteY9" fmla="*/ 3397 h 10000"/>
                <a:gd name="connsiteX10" fmla="*/ 2568 w 9988"/>
                <a:gd name="connsiteY10" fmla="*/ 2825 h 10000"/>
                <a:gd name="connsiteX11" fmla="*/ 2802 w 9988"/>
                <a:gd name="connsiteY11" fmla="*/ 2302 h 10000"/>
                <a:gd name="connsiteX12" fmla="*/ 3037 w 9988"/>
                <a:gd name="connsiteY12" fmla="*/ 1825 h 10000"/>
                <a:gd name="connsiteX13" fmla="*/ 3160 w 9988"/>
                <a:gd name="connsiteY13" fmla="*/ 1587 h 10000"/>
                <a:gd name="connsiteX14" fmla="*/ 3284 w 9988"/>
                <a:gd name="connsiteY14" fmla="*/ 1397 h 10000"/>
                <a:gd name="connsiteX15" fmla="*/ 3420 w 9988"/>
                <a:gd name="connsiteY15" fmla="*/ 1190 h 10000"/>
                <a:gd name="connsiteX16" fmla="*/ 3543 w 9988"/>
                <a:gd name="connsiteY16" fmla="*/ 1016 h 10000"/>
                <a:gd name="connsiteX17" fmla="*/ 3679 w 9988"/>
                <a:gd name="connsiteY17" fmla="*/ 857 h 10000"/>
                <a:gd name="connsiteX18" fmla="*/ 3815 w 9988"/>
                <a:gd name="connsiteY18" fmla="*/ 714 h 10000"/>
                <a:gd name="connsiteX19" fmla="*/ 3951 w 9988"/>
                <a:gd name="connsiteY19" fmla="*/ 587 h 10000"/>
                <a:gd name="connsiteX20" fmla="*/ 4099 w 9988"/>
                <a:gd name="connsiteY20" fmla="*/ 492 h 10000"/>
                <a:gd name="connsiteX21" fmla="*/ 4235 w 9988"/>
                <a:gd name="connsiteY21" fmla="*/ 397 h 10000"/>
                <a:gd name="connsiteX22" fmla="*/ 4383 w 9988"/>
                <a:gd name="connsiteY22" fmla="*/ 349 h 10000"/>
                <a:gd name="connsiteX23" fmla="*/ 4543 w 9988"/>
                <a:gd name="connsiteY23" fmla="*/ 302 h 10000"/>
                <a:gd name="connsiteX24" fmla="*/ 4704 w 9988"/>
                <a:gd name="connsiteY24" fmla="*/ 302 h 10000"/>
                <a:gd name="connsiteX25" fmla="*/ 4901 w 9988"/>
                <a:gd name="connsiteY25" fmla="*/ 317 h 10000"/>
                <a:gd name="connsiteX26" fmla="*/ 5099 w 9988"/>
                <a:gd name="connsiteY26" fmla="*/ 381 h 10000"/>
                <a:gd name="connsiteX27" fmla="*/ 5272 w 9988"/>
                <a:gd name="connsiteY27" fmla="*/ 492 h 10000"/>
                <a:gd name="connsiteX28" fmla="*/ 5457 w 9988"/>
                <a:gd name="connsiteY28" fmla="*/ 603 h 10000"/>
                <a:gd name="connsiteX29" fmla="*/ 5617 w 9988"/>
                <a:gd name="connsiteY29" fmla="*/ 762 h 10000"/>
                <a:gd name="connsiteX30" fmla="*/ 5790 w 9988"/>
                <a:gd name="connsiteY30" fmla="*/ 968 h 10000"/>
                <a:gd name="connsiteX31" fmla="*/ 5938 w 9988"/>
                <a:gd name="connsiteY31" fmla="*/ 1190 h 10000"/>
                <a:gd name="connsiteX32" fmla="*/ 6111 w 9988"/>
                <a:gd name="connsiteY32" fmla="*/ 1444 h 10000"/>
                <a:gd name="connsiteX33" fmla="*/ 6247 w 9988"/>
                <a:gd name="connsiteY33" fmla="*/ 1714 h 10000"/>
                <a:gd name="connsiteX34" fmla="*/ 6395 w 9988"/>
                <a:gd name="connsiteY34" fmla="*/ 2016 h 10000"/>
                <a:gd name="connsiteX35" fmla="*/ 6531 w 9988"/>
                <a:gd name="connsiteY35" fmla="*/ 2317 h 10000"/>
                <a:gd name="connsiteX36" fmla="*/ 6691 w 9988"/>
                <a:gd name="connsiteY36" fmla="*/ 2651 h 10000"/>
                <a:gd name="connsiteX37" fmla="*/ 6963 w 9988"/>
                <a:gd name="connsiteY37" fmla="*/ 3365 h 10000"/>
                <a:gd name="connsiteX38" fmla="*/ 7247 w 9988"/>
                <a:gd name="connsiteY38" fmla="*/ 4127 h 10000"/>
                <a:gd name="connsiteX39" fmla="*/ 7815 w 9988"/>
                <a:gd name="connsiteY39" fmla="*/ 5730 h 10000"/>
                <a:gd name="connsiteX40" fmla="*/ 8123 w 9988"/>
                <a:gd name="connsiteY40" fmla="*/ 6556 h 10000"/>
                <a:gd name="connsiteX41" fmla="*/ 8432 w 9988"/>
                <a:gd name="connsiteY41" fmla="*/ 7333 h 10000"/>
                <a:gd name="connsiteX42" fmla="*/ 8605 w 9988"/>
                <a:gd name="connsiteY42" fmla="*/ 7730 h 10000"/>
                <a:gd name="connsiteX43" fmla="*/ 8790 w 9988"/>
                <a:gd name="connsiteY43" fmla="*/ 8095 h 10000"/>
                <a:gd name="connsiteX44" fmla="*/ 8963 w 9988"/>
                <a:gd name="connsiteY44" fmla="*/ 8444 h 10000"/>
                <a:gd name="connsiteX45" fmla="*/ 9148 w 9988"/>
                <a:gd name="connsiteY45" fmla="*/ 8794 h 10000"/>
                <a:gd name="connsiteX46" fmla="*/ 9346 w 9988"/>
                <a:gd name="connsiteY46" fmla="*/ 9127 h 10000"/>
                <a:gd name="connsiteX47" fmla="*/ 9543 w 9988"/>
                <a:gd name="connsiteY47" fmla="*/ 9444 h 10000"/>
                <a:gd name="connsiteX48" fmla="*/ 9753 w 9988"/>
                <a:gd name="connsiteY48" fmla="*/ 9730 h 10000"/>
                <a:gd name="connsiteX49" fmla="*/ 9988 w 9988"/>
                <a:gd name="connsiteY49" fmla="*/ 10000 h 10000"/>
                <a:gd name="connsiteX50" fmla="*/ 9765 w 9988"/>
                <a:gd name="connsiteY50" fmla="*/ 7492 h 10000"/>
                <a:gd name="connsiteX51" fmla="*/ 9531 w 9988"/>
                <a:gd name="connsiteY51" fmla="*/ 6841 h 10000"/>
                <a:gd name="connsiteX52" fmla="*/ 9049 w 9988"/>
                <a:gd name="connsiteY52" fmla="*/ 5508 h 10000"/>
                <a:gd name="connsiteX53" fmla="*/ 8802 w 9988"/>
                <a:gd name="connsiteY53" fmla="*/ 4825 h 10000"/>
                <a:gd name="connsiteX54" fmla="*/ 8531 w 9988"/>
                <a:gd name="connsiteY54" fmla="*/ 4143 h 10000"/>
                <a:gd name="connsiteX55" fmla="*/ 8259 w 9988"/>
                <a:gd name="connsiteY55" fmla="*/ 3508 h 10000"/>
                <a:gd name="connsiteX56" fmla="*/ 7951 w 9988"/>
                <a:gd name="connsiteY56" fmla="*/ 2889 h 10000"/>
                <a:gd name="connsiteX57" fmla="*/ 7802 w 9988"/>
                <a:gd name="connsiteY57" fmla="*/ 2587 h 10000"/>
                <a:gd name="connsiteX58" fmla="*/ 7642 w 9988"/>
                <a:gd name="connsiteY58" fmla="*/ 2302 h 10000"/>
                <a:gd name="connsiteX59" fmla="*/ 7481 w 9988"/>
                <a:gd name="connsiteY59" fmla="*/ 2016 h 10000"/>
                <a:gd name="connsiteX60" fmla="*/ 7309 w 9988"/>
                <a:gd name="connsiteY60" fmla="*/ 1746 h 10000"/>
                <a:gd name="connsiteX61" fmla="*/ 7136 w 9988"/>
                <a:gd name="connsiteY61" fmla="*/ 1492 h 10000"/>
                <a:gd name="connsiteX62" fmla="*/ 6951 w 9988"/>
                <a:gd name="connsiteY62" fmla="*/ 1270 h 10000"/>
                <a:gd name="connsiteX63" fmla="*/ 6753 w 9988"/>
                <a:gd name="connsiteY63" fmla="*/ 1032 h 10000"/>
                <a:gd name="connsiteX64" fmla="*/ 6568 w 9988"/>
                <a:gd name="connsiteY64" fmla="*/ 841 h 10000"/>
                <a:gd name="connsiteX65" fmla="*/ 6358 w 9988"/>
                <a:gd name="connsiteY65" fmla="*/ 667 h 10000"/>
                <a:gd name="connsiteX66" fmla="*/ 6148 w 9988"/>
                <a:gd name="connsiteY66" fmla="*/ 508 h 10000"/>
                <a:gd name="connsiteX67" fmla="*/ 5926 w 9988"/>
                <a:gd name="connsiteY67" fmla="*/ 365 h 10000"/>
                <a:gd name="connsiteX68" fmla="*/ 5704 w 9988"/>
                <a:gd name="connsiteY68" fmla="*/ 238 h 10000"/>
                <a:gd name="connsiteX69" fmla="*/ 5469 w 9988"/>
                <a:gd name="connsiteY69" fmla="*/ 143 h 10000"/>
                <a:gd name="connsiteX70" fmla="*/ 5222 w 9988"/>
                <a:gd name="connsiteY70" fmla="*/ 79 h 10000"/>
                <a:gd name="connsiteX71" fmla="*/ 4963 w 9988"/>
                <a:gd name="connsiteY71" fmla="*/ 16 h 10000"/>
                <a:gd name="connsiteX72" fmla="*/ 4704 w 9988"/>
                <a:gd name="connsiteY72" fmla="*/ 0 h 10000"/>
                <a:gd name="connsiteX73" fmla="*/ 4481 w 9988"/>
                <a:gd name="connsiteY73" fmla="*/ 16 h 10000"/>
                <a:gd name="connsiteX74" fmla="*/ 4272 w 9988"/>
                <a:gd name="connsiteY74" fmla="*/ 48 h 10000"/>
                <a:gd name="connsiteX75" fmla="*/ 4062 w 9988"/>
                <a:gd name="connsiteY75" fmla="*/ 95 h 10000"/>
                <a:gd name="connsiteX76" fmla="*/ 3877 w 9988"/>
                <a:gd name="connsiteY76" fmla="*/ 143 h 10000"/>
                <a:gd name="connsiteX77" fmla="*/ 3679 w 9988"/>
                <a:gd name="connsiteY77" fmla="*/ 222 h 10000"/>
                <a:gd name="connsiteX78" fmla="*/ 3481 w 9988"/>
                <a:gd name="connsiteY78" fmla="*/ 302 h 10000"/>
                <a:gd name="connsiteX79" fmla="*/ 3309 w 9988"/>
                <a:gd name="connsiteY79" fmla="*/ 413 h 10000"/>
                <a:gd name="connsiteX80" fmla="*/ 3123 w 9988"/>
                <a:gd name="connsiteY80" fmla="*/ 540 h 10000"/>
                <a:gd name="connsiteX81" fmla="*/ 2963 w 9988"/>
                <a:gd name="connsiteY81" fmla="*/ 683 h 10000"/>
                <a:gd name="connsiteX82" fmla="*/ 2790 w 9988"/>
                <a:gd name="connsiteY82" fmla="*/ 825 h 10000"/>
                <a:gd name="connsiteX83" fmla="*/ 2630 w 9988"/>
                <a:gd name="connsiteY83" fmla="*/ 984 h 10000"/>
                <a:gd name="connsiteX84" fmla="*/ 2469 w 9988"/>
                <a:gd name="connsiteY84" fmla="*/ 1159 h 10000"/>
                <a:gd name="connsiteX85" fmla="*/ 2321 w 9988"/>
                <a:gd name="connsiteY85" fmla="*/ 1333 h 10000"/>
                <a:gd name="connsiteX86" fmla="*/ 2160 w 9988"/>
                <a:gd name="connsiteY86" fmla="*/ 1540 h 10000"/>
                <a:gd name="connsiteX87" fmla="*/ 1877 w 9988"/>
                <a:gd name="connsiteY87" fmla="*/ 1968 h 10000"/>
                <a:gd name="connsiteX88" fmla="*/ 1605 w 9988"/>
                <a:gd name="connsiteY88" fmla="*/ 2413 h 10000"/>
                <a:gd name="connsiteX89" fmla="*/ 1346 w 9988"/>
                <a:gd name="connsiteY89" fmla="*/ 2889 h 10000"/>
                <a:gd name="connsiteX90" fmla="*/ 1099 w 9988"/>
                <a:gd name="connsiteY90" fmla="*/ 3397 h 10000"/>
                <a:gd name="connsiteX91" fmla="*/ 864 w 9988"/>
                <a:gd name="connsiteY91" fmla="*/ 3921 h 10000"/>
                <a:gd name="connsiteX92" fmla="*/ 642 w 9988"/>
                <a:gd name="connsiteY92" fmla="*/ 4444 h 10000"/>
                <a:gd name="connsiteX93" fmla="*/ 420 w 9988"/>
                <a:gd name="connsiteY93" fmla="*/ 5000 h 10000"/>
                <a:gd name="connsiteX94" fmla="*/ 0 w 9988"/>
                <a:gd name="connsiteY94" fmla="*/ 6111 h 10000"/>
                <a:gd name="connsiteX0" fmla="*/ 0 w 9777"/>
                <a:gd name="connsiteY0" fmla="*/ 6111 h 9730"/>
                <a:gd name="connsiteX1" fmla="*/ 0 w 9777"/>
                <a:gd name="connsiteY1" fmla="*/ 6111 h 9730"/>
                <a:gd name="connsiteX2" fmla="*/ 309 w 9777"/>
                <a:gd name="connsiteY2" fmla="*/ 6937 h 9730"/>
                <a:gd name="connsiteX3" fmla="*/ 594 w 9777"/>
                <a:gd name="connsiteY3" fmla="*/ 7746 h 9730"/>
                <a:gd name="connsiteX4" fmla="*/ 878 w 9777"/>
                <a:gd name="connsiteY4" fmla="*/ 7143 h 9730"/>
                <a:gd name="connsiteX5" fmla="*/ 1137 w 9777"/>
                <a:gd name="connsiteY5" fmla="*/ 6508 h 9730"/>
                <a:gd name="connsiteX6" fmla="*/ 1409 w 9777"/>
                <a:gd name="connsiteY6" fmla="*/ 5889 h 9730"/>
                <a:gd name="connsiteX7" fmla="*/ 1644 w 9777"/>
                <a:gd name="connsiteY7" fmla="*/ 5254 h 9730"/>
                <a:gd name="connsiteX8" fmla="*/ 2114 w 9777"/>
                <a:gd name="connsiteY8" fmla="*/ 4000 h 9730"/>
                <a:gd name="connsiteX9" fmla="*/ 2349 w 9777"/>
                <a:gd name="connsiteY9" fmla="*/ 3397 h 9730"/>
                <a:gd name="connsiteX10" fmla="*/ 2571 w 9777"/>
                <a:gd name="connsiteY10" fmla="*/ 2825 h 9730"/>
                <a:gd name="connsiteX11" fmla="*/ 2805 w 9777"/>
                <a:gd name="connsiteY11" fmla="*/ 2302 h 9730"/>
                <a:gd name="connsiteX12" fmla="*/ 3041 w 9777"/>
                <a:gd name="connsiteY12" fmla="*/ 1825 h 9730"/>
                <a:gd name="connsiteX13" fmla="*/ 3164 w 9777"/>
                <a:gd name="connsiteY13" fmla="*/ 1587 h 9730"/>
                <a:gd name="connsiteX14" fmla="*/ 3288 w 9777"/>
                <a:gd name="connsiteY14" fmla="*/ 1397 h 9730"/>
                <a:gd name="connsiteX15" fmla="*/ 3424 w 9777"/>
                <a:gd name="connsiteY15" fmla="*/ 1190 h 9730"/>
                <a:gd name="connsiteX16" fmla="*/ 3547 w 9777"/>
                <a:gd name="connsiteY16" fmla="*/ 1016 h 9730"/>
                <a:gd name="connsiteX17" fmla="*/ 3683 w 9777"/>
                <a:gd name="connsiteY17" fmla="*/ 857 h 9730"/>
                <a:gd name="connsiteX18" fmla="*/ 3820 w 9777"/>
                <a:gd name="connsiteY18" fmla="*/ 714 h 9730"/>
                <a:gd name="connsiteX19" fmla="*/ 3956 w 9777"/>
                <a:gd name="connsiteY19" fmla="*/ 587 h 9730"/>
                <a:gd name="connsiteX20" fmla="*/ 4104 w 9777"/>
                <a:gd name="connsiteY20" fmla="*/ 492 h 9730"/>
                <a:gd name="connsiteX21" fmla="*/ 4240 w 9777"/>
                <a:gd name="connsiteY21" fmla="*/ 397 h 9730"/>
                <a:gd name="connsiteX22" fmla="*/ 4388 w 9777"/>
                <a:gd name="connsiteY22" fmla="*/ 349 h 9730"/>
                <a:gd name="connsiteX23" fmla="*/ 4548 w 9777"/>
                <a:gd name="connsiteY23" fmla="*/ 302 h 9730"/>
                <a:gd name="connsiteX24" fmla="*/ 4710 w 9777"/>
                <a:gd name="connsiteY24" fmla="*/ 302 h 9730"/>
                <a:gd name="connsiteX25" fmla="*/ 4907 w 9777"/>
                <a:gd name="connsiteY25" fmla="*/ 317 h 9730"/>
                <a:gd name="connsiteX26" fmla="*/ 5105 w 9777"/>
                <a:gd name="connsiteY26" fmla="*/ 381 h 9730"/>
                <a:gd name="connsiteX27" fmla="*/ 5278 w 9777"/>
                <a:gd name="connsiteY27" fmla="*/ 492 h 9730"/>
                <a:gd name="connsiteX28" fmla="*/ 5464 w 9777"/>
                <a:gd name="connsiteY28" fmla="*/ 603 h 9730"/>
                <a:gd name="connsiteX29" fmla="*/ 5624 w 9777"/>
                <a:gd name="connsiteY29" fmla="*/ 762 h 9730"/>
                <a:gd name="connsiteX30" fmla="*/ 5797 w 9777"/>
                <a:gd name="connsiteY30" fmla="*/ 968 h 9730"/>
                <a:gd name="connsiteX31" fmla="*/ 5945 w 9777"/>
                <a:gd name="connsiteY31" fmla="*/ 1190 h 9730"/>
                <a:gd name="connsiteX32" fmla="*/ 6118 w 9777"/>
                <a:gd name="connsiteY32" fmla="*/ 1444 h 9730"/>
                <a:gd name="connsiteX33" fmla="*/ 6255 w 9777"/>
                <a:gd name="connsiteY33" fmla="*/ 1714 h 9730"/>
                <a:gd name="connsiteX34" fmla="*/ 6403 w 9777"/>
                <a:gd name="connsiteY34" fmla="*/ 2016 h 9730"/>
                <a:gd name="connsiteX35" fmla="*/ 6539 w 9777"/>
                <a:gd name="connsiteY35" fmla="*/ 2317 h 9730"/>
                <a:gd name="connsiteX36" fmla="*/ 6699 w 9777"/>
                <a:gd name="connsiteY36" fmla="*/ 2651 h 9730"/>
                <a:gd name="connsiteX37" fmla="*/ 6971 w 9777"/>
                <a:gd name="connsiteY37" fmla="*/ 3365 h 9730"/>
                <a:gd name="connsiteX38" fmla="*/ 7256 w 9777"/>
                <a:gd name="connsiteY38" fmla="*/ 4127 h 9730"/>
                <a:gd name="connsiteX39" fmla="*/ 7824 w 9777"/>
                <a:gd name="connsiteY39" fmla="*/ 5730 h 9730"/>
                <a:gd name="connsiteX40" fmla="*/ 8133 w 9777"/>
                <a:gd name="connsiteY40" fmla="*/ 6556 h 9730"/>
                <a:gd name="connsiteX41" fmla="*/ 8442 w 9777"/>
                <a:gd name="connsiteY41" fmla="*/ 7333 h 9730"/>
                <a:gd name="connsiteX42" fmla="*/ 8615 w 9777"/>
                <a:gd name="connsiteY42" fmla="*/ 7730 h 9730"/>
                <a:gd name="connsiteX43" fmla="*/ 8801 w 9777"/>
                <a:gd name="connsiteY43" fmla="*/ 8095 h 9730"/>
                <a:gd name="connsiteX44" fmla="*/ 8974 w 9777"/>
                <a:gd name="connsiteY44" fmla="*/ 8444 h 9730"/>
                <a:gd name="connsiteX45" fmla="*/ 9159 w 9777"/>
                <a:gd name="connsiteY45" fmla="*/ 8794 h 9730"/>
                <a:gd name="connsiteX46" fmla="*/ 9357 w 9777"/>
                <a:gd name="connsiteY46" fmla="*/ 9127 h 9730"/>
                <a:gd name="connsiteX47" fmla="*/ 9554 w 9777"/>
                <a:gd name="connsiteY47" fmla="*/ 9444 h 9730"/>
                <a:gd name="connsiteX48" fmla="*/ 9765 w 9777"/>
                <a:gd name="connsiteY48" fmla="*/ 9730 h 9730"/>
                <a:gd name="connsiteX49" fmla="*/ 9777 w 9777"/>
                <a:gd name="connsiteY49" fmla="*/ 7492 h 9730"/>
                <a:gd name="connsiteX50" fmla="*/ 9542 w 9777"/>
                <a:gd name="connsiteY50" fmla="*/ 6841 h 9730"/>
                <a:gd name="connsiteX51" fmla="*/ 9060 w 9777"/>
                <a:gd name="connsiteY51" fmla="*/ 5508 h 9730"/>
                <a:gd name="connsiteX52" fmla="*/ 8813 w 9777"/>
                <a:gd name="connsiteY52" fmla="*/ 4825 h 9730"/>
                <a:gd name="connsiteX53" fmla="*/ 8541 w 9777"/>
                <a:gd name="connsiteY53" fmla="*/ 4143 h 9730"/>
                <a:gd name="connsiteX54" fmla="*/ 8269 w 9777"/>
                <a:gd name="connsiteY54" fmla="*/ 3508 h 9730"/>
                <a:gd name="connsiteX55" fmla="*/ 7961 w 9777"/>
                <a:gd name="connsiteY55" fmla="*/ 2889 h 9730"/>
                <a:gd name="connsiteX56" fmla="*/ 7811 w 9777"/>
                <a:gd name="connsiteY56" fmla="*/ 2587 h 9730"/>
                <a:gd name="connsiteX57" fmla="*/ 7651 w 9777"/>
                <a:gd name="connsiteY57" fmla="*/ 2302 h 9730"/>
                <a:gd name="connsiteX58" fmla="*/ 7490 w 9777"/>
                <a:gd name="connsiteY58" fmla="*/ 2016 h 9730"/>
                <a:gd name="connsiteX59" fmla="*/ 7318 w 9777"/>
                <a:gd name="connsiteY59" fmla="*/ 1746 h 9730"/>
                <a:gd name="connsiteX60" fmla="*/ 7145 w 9777"/>
                <a:gd name="connsiteY60" fmla="*/ 1492 h 9730"/>
                <a:gd name="connsiteX61" fmla="*/ 6959 w 9777"/>
                <a:gd name="connsiteY61" fmla="*/ 1270 h 9730"/>
                <a:gd name="connsiteX62" fmla="*/ 6761 w 9777"/>
                <a:gd name="connsiteY62" fmla="*/ 1032 h 9730"/>
                <a:gd name="connsiteX63" fmla="*/ 6576 w 9777"/>
                <a:gd name="connsiteY63" fmla="*/ 841 h 9730"/>
                <a:gd name="connsiteX64" fmla="*/ 6366 w 9777"/>
                <a:gd name="connsiteY64" fmla="*/ 667 h 9730"/>
                <a:gd name="connsiteX65" fmla="*/ 6155 w 9777"/>
                <a:gd name="connsiteY65" fmla="*/ 508 h 9730"/>
                <a:gd name="connsiteX66" fmla="*/ 5933 w 9777"/>
                <a:gd name="connsiteY66" fmla="*/ 365 h 9730"/>
                <a:gd name="connsiteX67" fmla="*/ 5711 w 9777"/>
                <a:gd name="connsiteY67" fmla="*/ 238 h 9730"/>
                <a:gd name="connsiteX68" fmla="*/ 5476 w 9777"/>
                <a:gd name="connsiteY68" fmla="*/ 143 h 9730"/>
                <a:gd name="connsiteX69" fmla="*/ 5228 w 9777"/>
                <a:gd name="connsiteY69" fmla="*/ 79 h 9730"/>
                <a:gd name="connsiteX70" fmla="*/ 4969 w 9777"/>
                <a:gd name="connsiteY70" fmla="*/ 16 h 9730"/>
                <a:gd name="connsiteX71" fmla="*/ 4710 w 9777"/>
                <a:gd name="connsiteY71" fmla="*/ 0 h 9730"/>
                <a:gd name="connsiteX72" fmla="*/ 4486 w 9777"/>
                <a:gd name="connsiteY72" fmla="*/ 16 h 9730"/>
                <a:gd name="connsiteX73" fmla="*/ 4277 w 9777"/>
                <a:gd name="connsiteY73" fmla="*/ 48 h 9730"/>
                <a:gd name="connsiteX74" fmla="*/ 4067 w 9777"/>
                <a:gd name="connsiteY74" fmla="*/ 95 h 9730"/>
                <a:gd name="connsiteX75" fmla="*/ 3882 w 9777"/>
                <a:gd name="connsiteY75" fmla="*/ 143 h 9730"/>
                <a:gd name="connsiteX76" fmla="*/ 3683 w 9777"/>
                <a:gd name="connsiteY76" fmla="*/ 222 h 9730"/>
                <a:gd name="connsiteX77" fmla="*/ 3485 w 9777"/>
                <a:gd name="connsiteY77" fmla="*/ 302 h 9730"/>
                <a:gd name="connsiteX78" fmla="*/ 3313 w 9777"/>
                <a:gd name="connsiteY78" fmla="*/ 413 h 9730"/>
                <a:gd name="connsiteX79" fmla="*/ 3127 w 9777"/>
                <a:gd name="connsiteY79" fmla="*/ 540 h 9730"/>
                <a:gd name="connsiteX80" fmla="*/ 2967 w 9777"/>
                <a:gd name="connsiteY80" fmla="*/ 683 h 9730"/>
                <a:gd name="connsiteX81" fmla="*/ 2793 w 9777"/>
                <a:gd name="connsiteY81" fmla="*/ 825 h 9730"/>
                <a:gd name="connsiteX82" fmla="*/ 2633 w 9777"/>
                <a:gd name="connsiteY82" fmla="*/ 984 h 9730"/>
                <a:gd name="connsiteX83" fmla="*/ 2472 w 9777"/>
                <a:gd name="connsiteY83" fmla="*/ 1159 h 9730"/>
                <a:gd name="connsiteX84" fmla="*/ 2324 w 9777"/>
                <a:gd name="connsiteY84" fmla="*/ 1333 h 9730"/>
                <a:gd name="connsiteX85" fmla="*/ 2163 w 9777"/>
                <a:gd name="connsiteY85" fmla="*/ 1540 h 9730"/>
                <a:gd name="connsiteX86" fmla="*/ 1879 w 9777"/>
                <a:gd name="connsiteY86" fmla="*/ 1968 h 9730"/>
                <a:gd name="connsiteX87" fmla="*/ 1607 w 9777"/>
                <a:gd name="connsiteY87" fmla="*/ 2413 h 9730"/>
                <a:gd name="connsiteX88" fmla="*/ 1348 w 9777"/>
                <a:gd name="connsiteY88" fmla="*/ 2889 h 9730"/>
                <a:gd name="connsiteX89" fmla="*/ 1100 w 9777"/>
                <a:gd name="connsiteY89" fmla="*/ 3397 h 9730"/>
                <a:gd name="connsiteX90" fmla="*/ 865 w 9777"/>
                <a:gd name="connsiteY90" fmla="*/ 3921 h 9730"/>
                <a:gd name="connsiteX91" fmla="*/ 643 w 9777"/>
                <a:gd name="connsiteY91" fmla="*/ 4444 h 9730"/>
                <a:gd name="connsiteX92" fmla="*/ 421 w 9777"/>
                <a:gd name="connsiteY92" fmla="*/ 5000 h 9730"/>
                <a:gd name="connsiteX93" fmla="*/ 0 w 9777"/>
                <a:gd name="connsiteY93" fmla="*/ 6111 h 9730"/>
                <a:gd name="connsiteX0" fmla="*/ 0 w 10000"/>
                <a:gd name="connsiteY0" fmla="*/ 6281 h 9706"/>
                <a:gd name="connsiteX1" fmla="*/ 0 w 10000"/>
                <a:gd name="connsiteY1" fmla="*/ 6281 h 9706"/>
                <a:gd name="connsiteX2" fmla="*/ 316 w 10000"/>
                <a:gd name="connsiteY2" fmla="*/ 7129 h 9706"/>
                <a:gd name="connsiteX3" fmla="*/ 608 w 10000"/>
                <a:gd name="connsiteY3" fmla="*/ 7961 h 9706"/>
                <a:gd name="connsiteX4" fmla="*/ 898 w 10000"/>
                <a:gd name="connsiteY4" fmla="*/ 7341 h 9706"/>
                <a:gd name="connsiteX5" fmla="*/ 1163 w 10000"/>
                <a:gd name="connsiteY5" fmla="*/ 6689 h 9706"/>
                <a:gd name="connsiteX6" fmla="*/ 1441 w 10000"/>
                <a:gd name="connsiteY6" fmla="*/ 6052 h 9706"/>
                <a:gd name="connsiteX7" fmla="*/ 1681 w 10000"/>
                <a:gd name="connsiteY7" fmla="*/ 5400 h 9706"/>
                <a:gd name="connsiteX8" fmla="*/ 2162 w 10000"/>
                <a:gd name="connsiteY8" fmla="*/ 4111 h 9706"/>
                <a:gd name="connsiteX9" fmla="*/ 2403 w 10000"/>
                <a:gd name="connsiteY9" fmla="*/ 3491 h 9706"/>
                <a:gd name="connsiteX10" fmla="*/ 2630 w 10000"/>
                <a:gd name="connsiteY10" fmla="*/ 2903 h 9706"/>
                <a:gd name="connsiteX11" fmla="*/ 2869 w 10000"/>
                <a:gd name="connsiteY11" fmla="*/ 2366 h 9706"/>
                <a:gd name="connsiteX12" fmla="*/ 3110 w 10000"/>
                <a:gd name="connsiteY12" fmla="*/ 1876 h 9706"/>
                <a:gd name="connsiteX13" fmla="*/ 3236 w 10000"/>
                <a:gd name="connsiteY13" fmla="*/ 1631 h 9706"/>
                <a:gd name="connsiteX14" fmla="*/ 3363 w 10000"/>
                <a:gd name="connsiteY14" fmla="*/ 1436 h 9706"/>
                <a:gd name="connsiteX15" fmla="*/ 3502 w 10000"/>
                <a:gd name="connsiteY15" fmla="*/ 1223 h 9706"/>
                <a:gd name="connsiteX16" fmla="*/ 3628 w 10000"/>
                <a:gd name="connsiteY16" fmla="*/ 1044 h 9706"/>
                <a:gd name="connsiteX17" fmla="*/ 3767 w 10000"/>
                <a:gd name="connsiteY17" fmla="*/ 881 h 9706"/>
                <a:gd name="connsiteX18" fmla="*/ 3907 w 10000"/>
                <a:gd name="connsiteY18" fmla="*/ 734 h 9706"/>
                <a:gd name="connsiteX19" fmla="*/ 4046 w 10000"/>
                <a:gd name="connsiteY19" fmla="*/ 603 h 9706"/>
                <a:gd name="connsiteX20" fmla="*/ 4198 w 10000"/>
                <a:gd name="connsiteY20" fmla="*/ 506 h 9706"/>
                <a:gd name="connsiteX21" fmla="*/ 4337 w 10000"/>
                <a:gd name="connsiteY21" fmla="*/ 408 h 9706"/>
                <a:gd name="connsiteX22" fmla="*/ 4488 w 10000"/>
                <a:gd name="connsiteY22" fmla="*/ 359 h 9706"/>
                <a:gd name="connsiteX23" fmla="*/ 4652 w 10000"/>
                <a:gd name="connsiteY23" fmla="*/ 310 h 9706"/>
                <a:gd name="connsiteX24" fmla="*/ 4817 w 10000"/>
                <a:gd name="connsiteY24" fmla="*/ 310 h 9706"/>
                <a:gd name="connsiteX25" fmla="*/ 5019 w 10000"/>
                <a:gd name="connsiteY25" fmla="*/ 326 h 9706"/>
                <a:gd name="connsiteX26" fmla="*/ 5221 w 10000"/>
                <a:gd name="connsiteY26" fmla="*/ 392 h 9706"/>
                <a:gd name="connsiteX27" fmla="*/ 5398 w 10000"/>
                <a:gd name="connsiteY27" fmla="*/ 506 h 9706"/>
                <a:gd name="connsiteX28" fmla="*/ 5589 w 10000"/>
                <a:gd name="connsiteY28" fmla="*/ 620 h 9706"/>
                <a:gd name="connsiteX29" fmla="*/ 5752 w 10000"/>
                <a:gd name="connsiteY29" fmla="*/ 783 h 9706"/>
                <a:gd name="connsiteX30" fmla="*/ 5929 w 10000"/>
                <a:gd name="connsiteY30" fmla="*/ 995 h 9706"/>
                <a:gd name="connsiteX31" fmla="*/ 6081 w 10000"/>
                <a:gd name="connsiteY31" fmla="*/ 1223 h 9706"/>
                <a:gd name="connsiteX32" fmla="*/ 6258 w 10000"/>
                <a:gd name="connsiteY32" fmla="*/ 1484 h 9706"/>
                <a:gd name="connsiteX33" fmla="*/ 6398 w 10000"/>
                <a:gd name="connsiteY33" fmla="*/ 1762 h 9706"/>
                <a:gd name="connsiteX34" fmla="*/ 6549 w 10000"/>
                <a:gd name="connsiteY34" fmla="*/ 2072 h 9706"/>
                <a:gd name="connsiteX35" fmla="*/ 6688 w 10000"/>
                <a:gd name="connsiteY35" fmla="*/ 2381 h 9706"/>
                <a:gd name="connsiteX36" fmla="*/ 6852 w 10000"/>
                <a:gd name="connsiteY36" fmla="*/ 2725 h 9706"/>
                <a:gd name="connsiteX37" fmla="*/ 7130 w 10000"/>
                <a:gd name="connsiteY37" fmla="*/ 3458 h 9706"/>
                <a:gd name="connsiteX38" fmla="*/ 7421 w 10000"/>
                <a:gd name="connsiteY38" fmla="*/ 4242 h 9706"/>
                <a:gd name="connsiteX39" fmla="*/ 8002 w 10000"/>
                <a:gd name="connsiteY39" fmla="*/ 5889 h 9706"/>
                <a:gd name="connsiteX40" fmla="*/ 8319 w 10000"/>
                <a:gd name="connsiteY40" fmla="*/ 6738 h 9706"/>
                <a:gd name="connsiteX41" fmla="*/ 8635 w 10000"/>
                <a:gd name="connsiteY41" fmla="*/ 7536 h 9706"/>
                <a:gd name="connsiteX42" fmla="*/ 8811 w 10000"/>
                <a:gd name="connsiteY42" fmla="*/ 7945 h 9706"/>
                <a:gd name="connsiteX43" fmla="*/ 9002 w 10000"/>
                <a:gd name="connsiteY43" fmla="*/ 8320 h 9706"/>
                <a:gd name="connsiteX44" fmla="*/ 9179 w 10000"/>
                <a:gd name="connsiteY44" fmla="*/ 8678 h 9706"/>
                <a:gd name="connsiteX45" fmla="*/ 9368 w 10000"/>
                <a:gd name="connsiteY45" fmla="*/ 9038 h 9706"/>
                <a:gd name="connsiteX46" fmla="*/ 9570 w 10000"/>
                <a:gd name="connsiteY46" fmla="*/ 9380 h 9706"/>
                <a:gd name="connsiteX47" fmla="*/ 9772 w 10000"/>
                <a:gd name="connsiteY47" fmla="*/ 9706 h 9706"/>
                <a:gd name="connsiteX48" fmla="*/ 10000 w 10000"/>
                <a:gd name="connsiteY48" fmla="*/ 7700 h 9706"/>
                <a:gd name="connsiteX49" fmla="*/ 9760 w 10000"/>
                <a:gd name="connsiteY49" fmla="*/ 7031 h 9706"/>
                <a:gd name="connsiteX50" fmla="*/ 9267 w 10000"/>
                <a:gd name="connsiteY50" fmla="*/ 5661 h 9706"/>
                <a:gd name="connsiteX51" fmla="*/ 9014 w 10000"/>
                <a:gd name="connsiteY51" fmla="*/ 4959 h 9706"/>
                <a:gd name="connsiteX52" fmla="*/ 8736 w 10000"/>
                <a:gd name="connsiteY52" fmla="*/ 4258 h 9706"/>
                <a:gd name="connsiteX53" fmla="*/ 8458 w 10000"/>
                <a:gd name="connsiteY53" fmla="*/ 3605 h 9706"/>
                <a:gd name="connsiteX54" fmla="*/ 8143 w 10000"/>
                <a:gd name="connsiteY54" fmla="*/ 2969 h 9706"/>
                <a:gd name="connsiteX55" fmla="*/ 7989 w 10000"/>
                <a:gd name="connsiteY55" fmla="*/ 2659 h 9706"/>
                <a:gd name="connsiteX56" fmla="*/ 7826 w 10000"/>
                <a:gd name="connsiteY56" fmla="*/ 2366 h 9706"/>
                <a:gd name="connsiteX57" fmla="*/ 7661 w 10000"/>
                <a:gd name="connsiteY57" fmla="*/ 2072 h 9706"/>
                <a:gd name="connsiteX58" fmla="*/ 7485 w 10000"/>
                <a:gd name="connsiteY58" fmla="*/ 1794 h 9706"/>
                <a:gd name="connsiteX59" fmla="*/ 7308 w 10000"/>
                <a:gd name="connsiteY59" fmla="*/ 1533 h 9706"/>
                <a:gd name="connsiteX60" fmla="*/ 7118 w 10000"/>
                <a:gd name="connsiteY60" fmla="*/ 1305 h 9706"/>
                <a:gd name="connsiteX61" fmla="*/ 6915 w 10000"/>
                <a:gd name="connsiteY61" fmla="*/ 1061 h 9706"/>
                <a:gd name="connsiteX62" fmla="*/ 6726 w 10000"/>
                <a:gd name="connsiteY62" fmla="*/ 864 h 9706"/>
                <a:gd name="connsiteX63" fmla="*/ 6511 w 10000"/>
                <a:gd name="connsiteY63" fmla="*/ 686 h 9706"/>
                <a:gd name="connsiteX64" fmla="*/ 6295 w 10000"/>
                <a:gd name="connsiteY64" fmla="*/ 522 h 9706"/>
                <a:gd name="connsiteX65" fmla="*/ 6068 w 10000"/>
                <a:gd name="connsiteY65" fmla="*/ 375 h 9706"/>
                <a:gd name="connsiteX66" fmla="*/ 5841 w 10000"/>
                <a:gd name="connsiteY66" fmla="*/ 245 h 9706"/>
                <a:gd name="connsiteX67" fmla="*/ 5601 w 10000"/>
                <a:gd name="connsiteY67" fmla="*/ 147 h 9706"/>
                <a:gd name="connsiteX68" fmla="*/ 5347 w 10000"/>
                <a:gd name="connsiteY68" fmla="*/ 81 h 9706"/>
                <a:gd name="connsiteX69" fmla="*/ 5082 w 10000"/>
                <a:gd name="connsiteY69" fmla="*/ 16 h 9706"/>
                <a:gd name="connsiteX70" fmla="*/ 4817 w 10000"/>
                <a:gd name="connsiteY70" fmla="*/ 0 h 9706"/>
                <a:gd name="connsiteX71" fmla="*/ 4588 w 10000"/>
                <a:gd name="connsiteY71" fmla="*/ 16 h 9706"/>
                <a:gd name="connsiteX72" fmla="*/ 4375 w 10000"/>
                <a:gd name="connsiteY72" fmla="*/ 49 h 9706"/>
                <a:gd name="connsiteX73" fmla="*/ 4160 w 10000"/>
                <a:gd name="connsiteY73" fmla="*/ 98 h 9706"/>
                <a:gd name="connsiteX74" fmla="*/ 3971 w 10000"/>
                <a:gd name="connsiteY74" fmla="*/ 147 h 9706"/>
                <a:gd name="connsiteX75" fmla="*/ 3767 w 10000"/>
                <a:gd name="connsiteY75" fmla="*/ 228 h 9706"/>
                <a:gd name="connsiteX76" fmla="*/ 3564 w 10000"/>
                <a:gd name="connsiteY76" fmla="*/ 310 h 9706"/>
                <a:gd name="connsiteX77" fmla="*/ 3389 w 10000"/>
                <a:gd name="connsiteY77" fmla="*/ 424 h 9706"/>
                <a:gd name="connsiteX78" fmla="*/ 3198 w 10000"/>
                <a:gd name="connsiteY78" fmla="*/ 555 h 9706"/>
                <a:gd name="connsiteX79" fmla="*/ 3035 w 10000"/>
                <a:gd name="connsiteY79" fmla="*/ 702 h 9706"/>
                <a:gd name="connsiteX80" fmla="*/ 2857 w 10000"/>
                <a:gd name="connsiteY80" fmla="*/ 848 h 9706"/>
                <a:gd name="connsiteX81" fmla="*/ 2693 w 10000"/>
                <a:gd name="connsiteY81" fmla="*/ 1011 h 9706"/>
                <a:gd name="connsiteX82" fmla="*/ 2528 w 10000"/>
                <a:gd name="connsiteY82" fmla="*/ 1191 h 9706"/>
                <a:gd name="connsiteX83" fmla="*/ 2377 w 10000"/>
                <a:gd name="connsiteY83" fmla="*/ 1370 h 9706"/>
                <a:gd name="connsiteX84" fmla="*/ 2212 w 10000"/>
                <a:gd name="connsiteY84" fmla="*/ 1583 h 9706"/>
                <a:gd name="connsiteX85" fmla="*/ 1922 w 10000"/>
                <a:gd name="connsiteY85" fmla="*/ 2023 h 9706"/>
                <a:gd name="connsiteX86" fmla="*/ 1644 w 10000"/>
                <a:gd name="connsiteY86" fmla="*/ 2480 h 9706"/>
                <a:gd name="connsiteX87" fmla="*/ 1379 w 10000"/>
                <a:gd name="connsiteY87" fmla="*/ 2969 h 9706"/>
                <a:gd name="connsiteX88" fmla="*/ 1125 w 10000"/>
                <a:gd name="connsiteY88" fmla="*/ 3491 h 9706"/>
                <a:gd name="connsiteX89" fmla="*/ 885 w 10000"/>
                <a:gd name="connsiteY89" fmla="*/ 4030 h 9706"/>
                <a:gd name="connsiteX90" fmla="*/ 658 w 10000"/>
                <a:gd name="connsiteY90" fmla="*/ 4567 h 9706"/>
                <a:gd name="connsiteX91" fmla="*/ 431 w 10000"/>
                <a:gd name="connsiteY91" fmla="*/ 5139 h 9706"/>
                <a:gd name="connsiteX92" fmla="*/ 0 w 10000"/>
                <a:gd name="connsiteY92" fmla="*/ 6281 h 9706"/>
                <a:gd name="connsiteX0" fmla="*/ 0 w 10000"/>
                <a:gd name="connsiteY0" fmla="*/ 6471 h 9664"/>
                <a:gd name="connsiteX1" fmla="*/ 0 w 10000"/>
                <a:gd name="connsiteY1" fmla="*/ 6471 h 9664"/>
                <a:gd name="connsiteX2" fmla="*/ 316 w 10000"/>
                <a:gd name="connsiteY2" fmla="*/ 7345 h 9664"/>
                <a:gd name="connsiteX3" fmla="*/ 608 w 10000"/>
                <a:gd name="connsiteY3" fmla="*/ 8202 h 9664"/>
                <a:gd name="connsiteX4" fmla="*/ 898 w 10000"/>
                <a:gd name="connsiteY4" fmla="*/ 7563 h 9664"/>
                <a:gd name="connsiteX5" fmla="*/ 1163 w 10000"/>
                <a:gd name="connsiteY5" fmla="*/ 6892 h 9664"/>
                <a:gd name="connsiteX6" fmla="*/ 1441 w 10000"/>
                <a:gd name="connsiteY6" fmla="*/ 6235 h 9664"/>
                <a:gd name="connsiteX7" fmla="*/ 1681 w 10000"/>
                <a:gd name="connsiteY7" fmla="*/ 5564 h 9664"/>
                <a:gd name="connsiteX8" fmla="*/ 2162 w 10000"/>
                <a:gd name="connsiteY8" fmla="*/ 4236 h 9664"/>
                <a:gd name="connsiteX9" fmla="*/ 2403 w 10000"/>
                <a:gd name="connsiteY9" fmla="*/ 3597 h 9664"/>
                <a:gd name="connsiteX10" fmla="*/ 2630 w 10000"/>
                <a:gd name="connsiteY10" fmla="*/ 2991 h 9664"/>
                <a:gd name="connsiteX11" fmla="*/ 2869 w 10000"/>
                <a:gd name="connsiteY11" fmla="*/ 2438 h 9664"/>
                <a:gd name="connsiteX12" fmla="*/ 3110 w 10000"/>
                <a:gd name="connsiteY12" fmla="*/ 1933 h 9664"/>
                <a:gd name="connsiteX13" fmla="*/ 3236 w 10000"/>
                <a:gd name="connsiteY13" fmla="*/ 1680 h 9664"/>
                <a:gd name="connsiteX14" fmla="*/ 3363 w 10000"/>
                <a:gd name="connsiteY14" fmla="*/ 1479 h 9664"/>
                <a:gd name="connsiteX15" fmla="*/ 3502 w 10000"/>
                <a:gd name="connsiteY15" fmla="*/ 1260 h 9664"/>
                <a:gd name="connsiteX16" fmla="*/ 3628 w 10000"/>
                <a:gd name="connsiteY16" fmla="*/ 1076 h 9664"/>
                <a:gd name="connsiteX17" fmla="*/ 3767 w 10000"/>
                <a:gd name="connsiteY17" fmla="*/ 908 h 9664"/>
                <a:gd name="connsiteX18" fmla="*/ 3907 w 10000"/>
                <a:gd name="connsiteY18" fmla="*/ 756 h 9664"/>
                <a:gd name="connsiteX19" fmla="*/ 4046 w 10000"/>
                <a:gd name="connsiteY19" fmla="*/ 621 h 9664"/>
                <a:gd name="connsiteX20" fmla="*/ 4198 w 10000"/>
                <a:gd name="connsiteY20" fmla="*/ 521 h 9664"/>
                <a:gd name="connsiteX21" fmla="*/ 4337 w 10000"/>
                <a:gd name="connsiteY21" fmla="*/ 420 h 9664"/>
                <a:gd name="connsiteX22" fmla="*/ 4488 w 10000"/>
                <a:gd name="connsiteY22" fmla="*/ 370 h 9664"/>
                <a:gd name="connsiteX23" fmla="*/ 4652 w 10000"/>
                <a:gd name="connsiteY23" fmla="*/ 319 h 9664"/>
                <a:gd name="connsiteX24" fmla="*/ 4817 w 10000"/>
                <a:gd name="connsiteY24" fmla="*/ 319 h 9664"/>
                <a:gd name="connsiteX25" fmla="*/ 5019 w 10000"/>
                <a:gd name="connsiteY25" fmla="*/ 336 h 9664"/>
                <a:gd name="connsiteX26" fmla="*/ 5221 w 10000"/>
                <a:gd name="connsiteY26" fmla="*/ 404 h 9664"/>
                <a:gd name="connsiteX27" fmla="*/ 5398 w 10000"/>
                <a:gd name="connsiteY27" fmla="*/ 521 h 9664"/>
                <a:gd name="connsiteX28" fmla="*/ 5589 w 10000"/>
                <a:gd name="connsiteY28" fmla="*/ 639 h 9664"/>
                <a:gd name="connsiteX29" fmla="*/ 5752 w 10000"/>
                <a:gd name="connsiteY29" fmla="*/ 807 h 9664"/>
                <a:gd name="connsiteX30" fmla="*/ 5929 w 10000"/>
                <a:gd name="connsiteY30" fmla="*/ 1025 h 9664"/>
                <a:gd name="connsiteX31" fmla="*/ 6081 w 10000"/>
                <a:gd name="connsiteY31" fmla="*/ 1260 h 9664"/>
                <a:gd name="connsiteX32" fmla="*/ 6258 w 10000"/>
                <a:gd name="connsiteY32" fmla="*/ 1529 h 9664"/>
                <a:gd name="connsiteX33" fmla="*/ 6398 w 10000"/>
                <a:gd name="connsiteY33" fmla="*/ 1815 h 9664"/>
                <a:gd name="connsiteX34" fmla="*/ 6549 w 10000"/>
                <a:gd name="connsiteY34" fmla="*/ 2135 h 9664"/>
                <a:gd name="connsiteX35" fmla="*/ 6688 w 10000"/>
                <a:gd name="connsiteY35" fmla="*/ 2453 h 9664"/>
                <a:gd name="connsiteX36" fmla="*/ 6852 w 10000"/>
                <a:gd name="connsiteY36" fmla="*/ 2808 h 9664"/>
                <a:gd name="connsiteX37" fmla="*/ 7130 w 10000"/>
                <a:gd name="connsiteY37" fmla="*/ 3563 h 9664"/>
                <a:gd name="connsiteX38" fmla="*/ 7421 w 10000"/>
                <a:gd name="connsiteY38" fmla="*/ 4370 h 9664"/>
                <a:gd name="connsiteX39" fmla="*/ 8002 w 10000"/>
                <a:gd name="connsiteY39" fmla="*/ 6067 h 9664"/>
                <a:gd name="connsiteX40" fmla="*/ 8319 w 10000"/>
                <a:gd name="connsiteY40" fmla="*/ 6942 h 9664"/>
                <a:gd name="connsiteX41" fmla="*/ 8635 w 10000"/>
                <a:gd name="connsiteY41" fmla="*/ 7764 h 9664"/>
                <a:gd name="connsiteX42" fmla="*/ 8811 w 10000"/>
                <a:gd name="connsiteY42" fmla="*/ 8186 h 9664"/>
                <a:gd name="connsiteX43" fmla="*/ 9002 w 10000"/>
                <a:gd name="connsiteY43" fmla="*/ 8572 h 9664"/>
                <a:gd name="connsiteX44" fmla="*/ 9179 w 10000"/>
                <a:gd name="connsiteY44" fmla="*/ 8941 h 9664"/>
                <a:gd name="connsiteX45" fmla="*/ 9368 w 10000"/>
                <a:gd name="connsiteY45" fmla="*/ 9312 h 9664"/>
                <a:gd name="connsiteX46" fmla="*/ 9570 w 10000"/>
                <a:gd name="connsiteY46" fmla="*/ 9664 h 9664"/>
                <a:gd name="connsiteX47" fmla="*/ 10000 w 10000"/>
                <a:gd name="connsiteY47" fmla="*/ 7933 h 9664"/>
                <a:gd name="connsiteX48" fmla="*/ 9760 w 10000"/>
                <a:gd name="connsiteY48" fmla="*/ 7244 h 9664"/>
                <a:gd name="connsiteX49" fmla="*/ 9267 w 10000"/>
                <a:gd name="connsiteY49" fmla="*/ 5832 h 9664"/>
                <a:gd name="connsiteX50" fmla="*/ 9014 w 10000"/>
                <a:gd name="connsiteY50" fmla="*/ 5109 h 9664"/>
                <a:gd name="connsiteX51" fmla="*/ 8736 w 10000"/>
                <a:gd name="connsiteY51" fmla="*/ 4387 h 9664"/>
                <a:gd name="connsiteX52" fmla="*/ 8458 w 10000"/>
                <a:gd name="connsiteY52" fmla="*/ 3714 h 9664"/>
                <a:gd name="connsiteX53" fmla="*/ 8143 w 10000"/>
                <a:gd name="connsiteY53" fmla="*/ 3059 h 9664"/>
                <a:gd name="connsiteX54" fmla="*/ 7989 w 10000"/>
                <a:gd name="connsiteY54" fmla="*/ 2740 h 9664"/>
                <a:gd name="connsiteX55" fmla="*/ 7826 w 10000"/>
                <a:gd name="connsiteY55" fmla="*/ 2438 h 9664"/>
                <a:gd name="connsiteX56" fmla="*/ 7661 w 10000"/>
                <a:gd name="connsiteY56" fmla="*/ 2135 h 9664"/>
                <a:gd name="connsiteX57" fmla="*/ 7485 w 10000"/>
                <a:gd name="connsiteY57" fmla="*/ 1848 h 9664"/>
                <a:gd name="connsiteX58" fmla="*/ 7308 w 10000"/>
                <a:gd name="connsiteY58" fmla="*/ 1579 h 9664"/>
                <a:gd name="connsiteX59" fmla="*/ 7118 w 10000"/>
                <a:gd name="connsiteY59" fmla="*/ 1345 h 9664"/>
                <a:gd name="connsiteX60" fmla="*/ 6915 w 10000"/>
                <a:gd name="connsiteY60" fmla="*/ 1093 h 9664"/>
                <a:gd name="connsiteX61" fmla="*/ 6726 w 10000"/>
                <a:gd name="connsiteY61" fmla="*/ 890 h 9664"/>
                <a:gd name="connsiteX62" fmla="*/ 6511 w 10000"/>
                <a:gd name="connsiteY62" fmla="*/ 707 h 9664"/>
                <a:gd name="connsiteX63" fmla="*/ 6295 w 10000"/>
                <a:gd name="connsiteY63" fmla="*/ 538 h 9664"/>
                <a:gd name="connsiteX64" fmla="*/ 6068 w 10000"/>
                <a:gd name="connsiteY64" fmla="*/ 386 h 9664"/>
                <a:gd name="connsiteX65" fmla="*/ 5841 w 10000"/>
                <a:gd name="connsiteY65" fmla="*/ 252 h 9664"/>
                <a:gd name="connsiteX66" fmla="*/ 5601 w 10000"/>
                <a:gd name="connsiteY66" fmla="*/ 151 h 9664"/>
                <a:gd name="connsiteX67" fmla="*/ 5347 w 10000"/>
                <a:gd name="connsiteY67" fmla="*/ 83 h 9664"/>
                <a:gd name="connsiteX68" fmla="*/ 5082 w 10000"/>
                <a:gd name="connsiteY68" fmla="*/ 16 h 9664"/>
                <a:gd name="connsiteX69" fmla="*/ 4817 w 10000"/>
                <a:gd name="connsiteY69" fmla="*/ 0 h 9664"/>
                <a:gd name="connsiteX70" fmla="*/ 4588 w 10000"/>
                <a:gd name="connsiteY70" fmla="*/ 16 h 9664"/>
                <a:gd name="connsiteX71" fmla="*/ 4375 w 10000"/>
                <a:gd name="connsiteY71" fmla="*/ 50 h 9664"/>
                <a:gd name="connsiteX72" fmla="*/ 4160 w 10000"/>
                <a:gd name="connsiteY72" fmla="*/ 101 h 9664"/>
                <a:gd name="connsiteX73" fmla="*/ 3971 w 10000"/>
                <a:gd name="connsiteY73" fmla="*/ 151 h 9664"/>
                <a:gd name="connsiteX74" fmla="*/ 3767 w 10000"/>
                <a:gd name="connsiteY74" fmla="*/ 235 h 9664"/>
                <a:gd name="connsiteX75" fmla="*/ 3564 w 10000"/>
                <a:gd name="connsiteY75" fmla="*/ 319 h 9664"/>
                <a:gd name="connsiteX76" fmla="*/ 3389 w 10000"/>
                <a:gd name="connsiteY76" fmla="*/ 437 h 9664"/>
                <a:gd name="connsiteX77" fmla="*/ 3198 w 10000"/>
                <a:gd name="connsiteY77" fmla="*/ 572 h 9664"/>
                <a:gd name="connsiteX78" fmla="*/ 3035 w 10000"/>
                <a:gd name="connsiteY78" fmla="*/ 723 h 9664"/>
                <a:gd name="connsiteX79" fmla="*/ 2857 w 10000"/>
                <a:gd name="connsiteY79" fmla="*/ 874 h 9664"/>
                <a:gd name="connsiteX80" fmla="*/ 2693 w 10000"/>
                <a:gd name="connsiteY80" fmla="*/ 1042 h 9664"/>
                <a:gd name="connsiteX81" fmla="*/ 2528 w 10000"/>
                <a:gd name="connsiteY81" fmla="*/ 1227 h 9664"/>
                <a:gd name="connsiteX82" fmla="*/ 2377 w 10000"/>
                <a:gd name="connsiteY82" fmla="*/ 1411 h 9664"/>
                <a:gd name="connsiteX83" fmla="*/ 2212 w 10000"/>
                <a:gd name="connsiteY83" fmla="*/ 1631 h 9664"/>
                <a:gd name="connsiteX84" fmla="*/ 1922 w 10000"/>
                <a:gd name="connsiteY84" fmla="*/ 2084 h 9664"/>
                <a:gd name="connsiteX85" fmla="*/ 1644 w 10000"/>
                <a:gd name="connsiteY85" fmla="*/ 2555 h 9664"/>
                <a:gd name="connsiteX86" fmla="*/ 1379 w 10000"/>
                <a:gd name="connsiteY86" fmla="*/ 3059 h 9664"/>
                <a:gd name="connsiteX87" fmla="*/ 1125 w 10000"/>
                <a:gd name="connsiteY87" fmla="*/ 3597 h 9664"/>
                <a:gd name="connsiteX88" fmla="*/ 885 w 10000"/>
                <a:gd name="connsiteY88" fmla="*/ 4152 h 9664"/>
                <a:gd name="connsiteX89" fmla="*/ 658 w 10000"/>
                <a:gd name="connsiteY89" fmla="*/ 4705 h 9664"/>
                <a:gd name="connsiteX90" fmla="*/ 431 w 10000"/>
                <a:gd name="connsiteY90" fmla="*/ 5295 h 9664"/>
                <a:gd name="connsiteX91" fmla="*/ 0 w 10000"/>
                <a:gd name="connsiteY91" fmla="*/ 6471 h 9664"/>
                <a:gd name="connsiteX0" fmla="*/ 0 w 10000"/>
                <a:gd name="connsiteY0" fmla="*/ 6696 h 9636"/>
                <a:gd name="connsiteX1" fmla="*/ 0 w 10000"/>
                <a:gd name="connsiteY1" fmla="*/ 6696 h 9636"/>
                <a:gd name="connsiteX2" fmla="*/ 316 w 10000"/>
                <a:gd name="connsiteY2" fmla="*/ 7600 h 9636"/>
                <a:gd name="connsiteX3" fmla="*/ 608 w 10000"/>
                <a:gd name="connsiteY3" fmla="*/ 8487 h 9636"/>
                <a:gd name="connsiteX4" fmla="*/ 898 w 10000"/>
                <a:gd name="connsiteY4" fmla="*/ 7826 h 9636"/>
                <a:gd name="connsiteX5" fmla="*/ 1163 w 10000"/>
                <a:gd name="connsiteY5" fmla="*/ 7132 h 9636"/>
                <a:gd name="connsiteX6" fmla="*/ 1441 w 10000"/>
                <a:gd name="connsiteY6" fmla="*/ 6452 h 9636"/>
                <a:gd name="connsiteX7" fmla="*/ 1681 w 10000"/>
                <a:gd name="connsiteY7" fmla="*/ 5757 h 9636"/>
                <a:gd name="connsiteX8" fmla="*/ 2162 w 10000"/>
                <a:gd name="connsiteY8" fmla="*/ 4383 h 9636"/>
                <a:gd name="connsiteX9" fmla="*/ 2403 w 10000"/>
                <a:gd name="connsiteY9" fmla="*/ 3722 h 9636"/>
                <a:gd name="connsiteX10" fmla="*/ 2630 w 10000"/>
                <a:gd name="connsiteY10" fmla="*/ 3095 h 9636"/>
                <a:gd name="connsiteX11" fmla="*/ 2869 w 10000"/>
                <a:gd name="connsiteY11" fmla="*/ 2523 h 9636"/>
                <a:gd name="connsiteX12" fmla="*/ 3110 w 10000"/>
                <a:gd name="connsiteY12" fmla="*/ 2000 h 9636"/>
                <a:gd name="connsiteX13" fmla="*/ 3236 w 10000"/>
                <a:gd name="connsiteY13" fmla="*/ 1738 h 9636"/>
                <a:gd name="connsiteX14" fmla="*/ 3363 w 10000"/>
                <a:gd name="connsiteY14" fmla="*/ 1530 h 9636"/>
                <a:gd name="connsiteX15" fmla="*/ 3502 w 10000"/>
                <a:gd name="connsiteY15" fmla="*/ 1304 h 9636"/>
                <a:gd name="connsiteX16" fmla="*/ 3628 w 10000"/>
                <a:gd name="connsiteY16" fmla="*/ 1113 h 9636"/>
                <a:gd name="connsiteX17" fmla="*/ 3767 w 10000"/>
                <a:gd name="connsiteY17" fmla="*/ 940 h 9636"/>
                <a:gd name="connsiteX18" fmla="*/ 3907 w 10000"/>
                <a:gd name="connsiteY18" fmla="*/ 782 h 9636"/>
                <a:gd name="connsiteX19" fmla="*/ 4046 w 10000"/>
                <a:gd name="connsiteY19" fmla="*/ 643 h 9636"/>
                <a:gd name="connsiteX20" fmla="*/ 4198 w 10000"/>
                <a:gd name="connsiteY20" fmla="*/ 539 h 9636"/>
                <a:gd name="connsiteX21" fmla="*/ 4337 w 10000"/>
                <a:gd name="connsiteY21" fmla="*/ 435 h 9636"/>
                <a:gd name="connsiteX22" fmla="*/ 4488 w 10000"/>
                <a:gd name="connsiteY22" fmla="*/ 383 h 9636"/>
                <a:gd name="connsiteX23" fmla="*/ 4652 w 10000"/>
                <a:gd name="connsiteY23" fmla="*/ 330 h 9636"/>
                <a:gd name="connsiteX24" fmla="*/ 4817 w 10000"/>
                <a:gd name="connsiteY24" fmla="*/ 330 h 9636"/>
                <a:gd name="connsiteX25" fmla="*/ 5019 w 10000"/>
                <a:gd name="connsiteY25" fmla="*/ 348 h 9636"/>
                <a:gd name="connsiteX26" fmla="*/ 5221 w 10000"/>
                <a:gd name="connsiteY26" fmla="*/ 418 h 9636"/>
                <a:gd name="connsiteX27" fmla="*/ 5398 w 10000"/>
                <a:gd name="connsiteY27" fmla="*/ 539 h 9636"/>
                <a:gd name="connsiteX28" fmla="*/ 5589 w 10000"/>
                <a:gd name="connsiteY28" fmla="*/ 661 h 9636"/>
                <a:gd name="connsiteX29" fmla="*/ 5752 w 10000"/>
                <a:gd name="connsiteY29" fmla="*/ 835 h 9636"/>
                <a:gd name="connsiteX30" fmla="*/ 5929 w 10000"/>
                <a:gd name="connsiteY30" fmla="*/ 1061 h 9636"/>
                <a:gd name="connsiteX31" fmla="*/ 6081 w 10000"/>
                <a:gd name="connsiteY31" fmla="*/ 1304 h 9636"/>
                <a:gd name="connsiteX32" fmla="*/ 6258 w 10000"/>
                <a:gd name="connsiteY32" fmla="*/ 1582 h 9636"/>
                <a:gd name="connsiteX33" fmla="*/ 6398 w 10000"/>
                <a:gd name="connsiteY33" fmla="*/ 1878 h 9636"/>
                <a:gd name="connsiteX34" fmla="*/ 6549 w 10000"/>
                <a:gd name="connsiteY34" fmla="*/ 2209 h 9636"/>
                <a:gd name="connsiteX35" fmla="*/ 6688 w 10000"/>
                <a:gd name="connsiteY35" fmla="*/ 2538 h 9636"/>
                <a:gd name="connsiteX36" fmla="*/ 6852 w 10000"/>
                <a:gd name="connsiteY36" fmla="*/ 2906 h 9636"/>
                <a:gd name="connsiteX37" fmla="*/ 7130 w 10000"/>
                <a:gd name="connsiteY37" fmla="*/ 3687 h 9636"/>
                <a:gd name="connsiteX38" fmla="*/ 7421 w 10000"/>
                <a:gd name="connsiteY38" fmla="*/ 4522 h 9636"/>
                <a:gd name="connsiteX39" fmla="*/ 8002 w 10000"/>
                <a:gd name="connsiteY39" fmla="*/ 6278 h 9636"/>
                <a:gd name="connsiteX40" fmla="*/ 8319 w 10000"/>
                <a:gd name="connsiteY40" fmla="*/ 7183 h 9636"/>
                <a:gd name="connsiteX41" fmla="*/ 8635 w 10000"/>
                <a:gd name="connsiteY41" fmla="*/ 8034 h 9636"/>
                <a:gd name="connsiteX42" fmla="*/ 8811 w 10000"/>
                <a:gd name="connsiteY42" fmla="*/ 8471 h 9636"/>
                <a:gd name="connsiteX43" fmla="*/ 9002 w 10000"/>
                <a:gd name="connsiteY43" fmla="*/ 8870 h 9636"/>
                <a:gd name="connsiteX44" fmla="*/ 9179 w 10000"/>
                <a:gd name="connsiteY44" fmla="*/ 9252 h 9636"/>
                <a:gd name="connsiteX45" fmla="*/ 9368 w 10000"/>
                <a:gd name="connsiteY45" fmla="*/ 9636 h 9636"/>
                <a:gd name="connsiteX46" fmla="*/ 10000 w 10000"/>
                <a:gd name="connsiteY46" fmla="*/ 8209 h 9636"/>
                <a:gd name="connsiteX47" fmla="*/ 9760 w 10000"/>
                <a:gd name="connsiteY47" fmla="*/ 7496 h 9636"/>
                <a:gd name="connsiteX48" fmla="*/ 9267 w 10000"/>
                <a:gd name="connsiteY48" fmla="*/ 6035 h 9636"/>
                <a:gd name="connsiteX49" fmla="*/ 9014 w 10000"/>
                <a:gd name="connsiteY49" fmla="*/ 5287 h 9636"/>
                <a:gd name="connsiteX50" fmla="*/ 8736 w 10000"/>
                <a:gd name="connsiteY50" fmla="*/ 4540 h 9636"/>
                <a:gd name="connsiteX51" fmla="*/ 8458 w 10000"/>
                <a:gd name="connsiteY51" fmla="*/ 3843 h 9636"/>
                <a:gd name="connsiteX52" fmla="*/ 8143 w 10000"/>
                <a:gd name="connsiteY52" fmla="*/ 3165 h 9636"/>
                <a:gd name="connsiteX53" fmla="*/ 7989 w 10000"/>
                <a:gd name="connsiteY53" fmla="*/ 2835 h 9636"/>
                <a:gd name="connsiteX54" fmla="*/ 7826 w 10000"/>
                <a:gd name="connsiteY54" fmla="*/ 2523 h 9636"/>
                <a:gd name="connsiteX55" fmla="*/ 7661 w 10000"/>
                <a:gd name="connsiteY55" fmla="*/ 2209 h 9636"/>
                <a:gd name="connsiteX56" fmla="*/ 7485 w 10000"/>
                <a:gd name="connsiteY56" fmla="*/ 1912 h 9636"/>
                <a:gd name="connsiteX57" fmla="*/ 7308 w 10000"/>
                <a:gd name="connsiteY57" fmla="*/ 1634 h 9636"/>
                <a:gd name="connsiteX58" fmla="*/ 7118 w 10000"/>
                <a:gd name="connsiteY58" fmla="*/ 1392 h 9636"/>
                <a:gd name="connsiteX59" fmla="*/ 6915 w 10000"/>
                <a:gd name="connsiteY59" fmla="*/ 1131 h 9636"/>
                <a:gd name="connsiteX60" fmla="*/ 6726 w 10000"/>
                <a:gd name="connsiteY60" fmla="*/ 921 h 9636"/>
                <a:gd name="connsiteX61" fmla="*/ 6511 w 10000"/>
                <a:gd name="connsiteY61" fmla="*/ 732 h 9636"/>
                <a:gd name="connsiteX62" fmla="*/ 6295 w 10000"/>
                <a:gd name="connsiteY62" fmla="*/ 557 h 9636"/>
                <a:gd name="connsiteX63" fmla="*/ 6068 w 10000"/>
                <a:gd name="connsiteY63" fmla="*/ 399 h 9636"/>
                <a:gd name="connsiteX64" fmla="*/ 5841 w 10000"/>
                <a:gd name="connsiteY64" fmla="*/ 261 h 9636"/>
                <a:gd name="connsiteX65" fmla="*/ 5601 w 10000"/>
                <a:gd name="connsiteY65" fmla="*/ 156 h 9636"/>
                <a:gd name="connsiteX66" fmla="*/ 5347 w 10000"/>
                <a:gd name="connsiteY66" fmla="*/ 86 h 9636"/>
                <a:gd name="connsiteX67" fmla="*/ 5082 w 10000"/>
                <a:gd name="connsiteY67" fmla="*/ 17 h 9636"/>
                <a:gd name="connsiteX68" fmla="*/ 4817 w 10000"/>
                <a:gd name="connsiteY68" fmla="*/ 0 h 9636"/>
                <a:gd name="connsiteX69" fmla="*/ 4588 w 10000"/>
                <a:gd name="connsiteY69" fmla="*/ 17 h 9636"/>
                <a:gd name="connsiteX70" fmla="*/ 4375 w 10000"/>
                <a:gd name="connsiteY70" fmla="*/ 52 h 9636"/>
                <a:gd name="connsiteX71" fmla="*/ 4160 w 10000"/>
                <a:gd name="connsiteY71" fmla="*/ 105 h 9636"/>
                <a:gd name="connsiteX72" fmla="*/ 3971 w 10000"/>
                <a:gd name="connsiteY72" fmla="*/ 156 h 9636"/>
                <a:gd name="connsiteX73" fmla="*/ 3767 w 10000"/>
                <a:gd name="connsiteY73" fmla="*/ 243 h 9636"/>
                <a:gd name="connsiteX74" fmla="*/ 3564 w 10000"/>
                <a:gd name="connsiteY74" fmla="*/ 330 h 9636"/>
                <a:gd name="connsiteX75" fmla="*/ 3389 w 10000"/>
                <a:gd name="connsiteY75" fmla="*/ 452 h 9636"/>
                <a:gd name="connsiteX76" fmla="*/ 3198 w 10000"/>
                <a:gd name="connsiteY76" fmla="*/ 592 h 9636"/>
                <a:gd name="connsiteX77" fmla="*/ 3035 w 10000"/>
                <a:gd name="connsiteY77" fmla="*/ 748 h 9636"/>
                <a:gd name="connsiteX78" fmla="*/ 2857 w 10000"/>
                <a:gd name="connsiteY78" fmla="*/ 904 h 9636"/>
                <a:gd name="connsiteX79" fmla="*/ 2693 w 10000"/>
                <a:gd name="connsiteY79" fmla="*/ 1078 h 9636"/>
                <a:gd name="connsiteX80" fmla="*/ 2528 w 10000"/>
                <a:gd name="connsiteY80" fmla="*/ 1270 h 9636"/>
                <a:gd name="connsiteX81" fmla="*/ 2377 w 10000"/>
                <a:gd name="connsiteY81" fmla="*/ 1460 h 9636"/>
                <a:gd name="connsiteX82" fmla="*/ 2212 w 10000"/>
                <a:gd name="connsiteY82" fmla="*/ 1688 h 9636"/>
                <a:gd name="connsiteX83" fmla="*/ 1922 w 10000"/>
                <a:gd name="connsiteY83" fmla="*/ 2156 h 9636"/>
                <a:gd name="connsiteX84" fmla="*/ 1644 w 10000"/>
                <a:gd name="connsiteY84" fmla="*/ 2644 h 9636"/>
                <a:gd name="connsiteX85" fmla="*/ 1379 w 10000"/>
                <a:gd name="connsiteY85" fmla="*/ 3165 h 9636"/>
                <a:gd name="connsiteX86" fmla="*/ 1125 w 10000"/>
                <a:gd name="connsiteY86" fmla="*/ 3722 h 9636"/>
                <a:gd name="connsiteX87" fmla="*/ 885 w 10000"/>
                <a:gd name="connsiteY87" fmla="*/ 4296 h 9636"/>
                <a:gd name="connsiteX88" fmla="*/ 658 w 10000"/>
                <a:gd name="connsiteY88" fmla="*/ 4869 h 9636"/>
                <a:gd name="connsiteX89" fmla="*/ 431 w 10000"/>
                <a:gd name="connsiteY89" fmla="*/ 5479 h 9636"/>
                <a:gd name="connsiteX90" fmla="*/ 0 w 10000"/>
                <a:gd name="connsiteY90" fmla="*/ 6696 h 9636"/>
                <a:gd name="connsiteX0" fmla="*/ 0 w 10000"/>
                <a:gd name="connsiteY0" fmla="*/ 6949 h 9601"/>
                <a:gd name="connsiteX1" fmla="*/ 0 w 10000"/>
                <a:gd name="connsiteY1" fmla="*/ 6949 h 9601"/>
                <a:gd name="connsiteX2" fmla="*/ 316 w 10000"/>
                <a:gd name="connsiteY2" fmla="*/ 7887 h 9601"/>
                <a:gd name="connsiteX3" fmla="*/ 608 w 10000"/>
                <a:gd name="connsiteY3" fmla="*/ 8808 h 9601"/>
                <a:gd name="connsiteX4" fmla="*/ 898 w 10000"/>
                <a:gd name="connsiteY4" fmla="*/ 8122 h 9601"/>
                <a:gd name="connsiteX5" fmla="*/ 1163 w 10000"/>
                <a:gd name="connsiteY5" fmla="*/ 7401 h 9601"/>
                <a:gd name="connsiteX6" fmla="*/ 1441 w 10000"/>
                <a:gd name="connsiteY6" fmla="*/ 6696 h 9601"/>
                <a:gd name="connsiteX7" fmla="*/ 1681 w 10000"/>
                <a:gd name="connsiteY7" fmla="*/ 5974 h 9601"/>
                <a:gd name="connsiteX8" fmla="*/ 2162 w 10000"/>
                <a:gd name="connsiteY8" fmla="*/ 4549 h 9601"/>
                <a:gd name="connsiteX9" fmla="*/ 2403 w 10000"/>
                <a:gd name="connsiteY9" fmla="*/ 3863 h 9601"/>
                <a:gd name="connsiteX10" fmla="*/ 2630 w 10000"/>
                <a:gd name="connsiteY10" fmla="*/ 3212 h 9601"/>
                <a:gd name="connsiteX11" fmla="*/ 2869 w 10000"/>
                <a:gd name="connsiteY11" fmla="*/ 2618 h 9601"/>
                <a:gd name="connsiteX12" fmla="*/ 3110 w 10000"/>
                <a:gd name="connsiteY12" fmla="*/ 2076 h 9601"/>
                <a:gd name="connsiteX13" fmla="*/ 3236 w 10000"/>
                <a:gd name="connsiteY13" fmla="*/ 1804 h 9601"/>
                <a:gd name="connsiteX14" fmla="*/ 3363 w 10000"/>
                <a:gd name="connsiteY14" fmla="*/ 1588 h 9601"/>
                <a:gd name="connsiteX15" fmla="*/ 3502 w 10000"/>
                <a:gd name="connsiteY15" fmla="*/ 1353 h 9601"/>
                <a:gd name="connsiteX16" fmla="*/ 3628 w 10000"/>
                <a:gd name="connsiteY16" fmla="*/ 1155 h 9601"/>
                <a:gd name="connsiteX17" fmla="*/ 3767 w 10000"/>
                <a:gd name="connsiteY17" fmla="*/ 976 h 9601"/>
                <a:gd name="connsiteX18" fmla="*/ 3907 w 10000"/>
                <a:gd name="connsiteY18" fmla="*/ 812 h 9601"/>
                <a:gd name="connsiteX19" fmla="*/ 4046 w 10000"/>
                <a:gd name="connsiteY19" fmla="*/ 667 h 9601"/>
                <a:gd name="connsiteX20" fmla="*/ 4198 w 10000"/>
                <a:gd name="connsiteY20" fmla="*/ 559 h 9601"/>
                <a:gd name="connsiteX21" fmla="*/ 4337 w 10000"/>
                <a:gd name="connsiteY21" fmla="*/ 451 h 9601"/>
                <a:gd name="connsiteX22" fmla="*/ 4488 w 10000"/>
                <a:gd name="connsiteY22" fmla="*/ 397 h 9601"/>
                <a:gd name="connsiteX23" fmla="*/ 4652 w 10000"/>
                <a:gd name="connsiteY23" fmla="*/ 342 h 9601"/>
                <a:gd name="connsiteX24" fmla="*/ 4817 w 10000"/>
                <a:gd name="connsiteY24" fmla="*/ 342 h 9601"/>
                <a:gd name="connsiteX25" fmla="*/ 5019 w 10000"/>
                <a:gd name="connsiteY25" fmla="*/ 361 h 9601"/>
                <a:gd name="connsiteX26" fmla="*/ 5221 w 10000"/>
                <a:gd name="connsiteY26" fmla="*/ 434 h 9601"/>
                <a:gd name="connsiteX27" fmla="*/ 5398 w 10000"/>
                <a:gd name="connsiteY27" fmla="*/ 559 h 9601"/>
                <a:gd name="connsiteX28" fmla="*/ 5589 w 10000"/>
                <a:gd name="connsiteY28" fmla="*/ 686 h 9601"/>
                <a:gd name="connsiteX29" fmla="*/ 5752 w 10000"/>
                <a:gd name="connsiteY29" fmla="*/ 867 h 9601"/>
                <a:gd name="connsiteX30" fmla="*/ 5929 w 10000"/>
                <a:gd name="connsiteY30" fmla="*/ 1101 h 9601"/>
                <a:gd name="connsiteX31" fmla="*/ 6081 w 10000"/>
                <a:gd name="connsiteY31" fmla="*/ 1353 h 9601"/>
                <a:gd name="connsiteX32" fmla="*/ 6258 w 10000"/>
                <a:gd name="connsiteY32" fmla="*/ 1642 h 9601"/>
                <a:gd name="connsiteX33" fmla="*/ 6398 w 10000"/>
                <a:gd name="connsiteY33" fmla="*/ 1949 h 9601"/>
                <a:gd name="connsiteX34" fmla="*/ 6549 w 10000"/>
                <a:gd name="connsiteY34" fmla="*/ 2292 h 9601"/>
                <a:gd name="connsiteX35" fmla="*/ 6688 w 10000"/>
                <a:gd name="connsiteY35" fmla="*/ 2634 h 9601"/>
                <a:gd name="connsiteX36" fmla="*/ 6852 w 10000"/>
                <a:gd name="connsiteY36" fmla="*/ 3016 h 9601"/>
                <a:gd name="connsiteX37" fmla="*/ 7130 w 10000"/>
                <a:gd name="connsiteY37" fmla="*/ 3826 h 9601"/>
                <a:gd name="connsiteX38" fmla="*/ 7421 w 10000"/>
                <a:gd name="connsiteY38" fmla="*/ 4693 h 9601"/>
                <a:gd name="connsiteX39" fmla="*/ 8002 w 10000"/>
                <a:gd name="connsiteY39" fmla="*/ 6515 h 9601"/>
                <a:gd name="connsiteX40" fmla="*/ 8319 w 10000"/>
                <a:gd name="connsiteY40" fmla="*/ 7454 h 9601"/>
                <a:gd name="connsiteX41" fmla="*/ 8635 w 10000"/>
                <a:gd name="connsiteY41" fmla="*/ 8337 h 9601"/>
                <a:gd name="connsiteX42" fmla="*/ 8811 w 10000"/>
                <a:gd name="connsiteY42" fmla="*/ 8791 h 9601"/>
                <a:gd name="connsiteX43" fmla="*/ 9002 w 10000"/>
                <a:gd name="connsiteY43" fmla="*/ 9205 h 9601"/>
                <a:gd name="connsiteX44" fmla="*/ 9179 w 10000"/>
                <a:gd name="connsiteY44" fmla="*/ 9601 h 9601"/>
                <a:gd name="connsiteX45" fmla="*/ 10000 w 10000"/>
                <a:gd name="connsiteY45" fmla="*/ 8519 h 9601"/>
                <a:gd name="connsiteX46" fmla="*/ 9760 w 10000"/>
                <a:gd name="connsiteY46" fmla="*/ 7779 h 9601"/>
                <a:gd name="connsiteX47" fmla="*/ 9267 w 10000"/>
                <a:gd name="connsiteY47" fmla="*/ 6263 h 9601"/>
                <a:gd name="connsiteX48" fmla="*/ 9014 w 10000"/>
                <a:gd name="connsiteY48" fmla="*/ 5487 h 9601"/>
                <a:gd name="connsiteX49" fmla="*/ 8736 w 10000"/>
                <a:gd name="connsiteY49" fmla="*/ 4711 h 9601"/>
                <a:gd name="connsiteX50" fmla="*/ 8458 w 10000"/>
                <a:gd name="connsiteY50" fmla="*/ 3988 h 9601"/>
                <a:gd name="connsiteX51" fmla="*/ 8143 w 10000"/>
                <a:gd name="connsiteY51" fmla="*/ 3285 h 9601"/>
                <a:gd name="connsiteX52" fmla="*/ 7989 w 10000"/>
                <a:gd name="connsiteY52" fmla="*/ 2942 h 9601"/>
                <a:gd name="connsiteX53" fmla="*/ 7826 w 10000"/>
                <a:gd name="connsiteY53" fmla="*/ 2618 h 9601"/>
                <a:gd name="connsiteX54" fmla="*/ 7661 w 10000"/>
                <a:gd name="connsiteY54" fmla="*/ 2292 h 9601"/>
                <a:gd name="connsiteX55" fmla="*/ 7485 w 10000"/>
                <a:gd name="connsiteY55" fmla="*/ 1984 h 9601"/>
                <a:gd name="connsiteX56" fmla="*/ 7308 w 10000"/>
                <a:gd name="connsiteY56" fmla="*/ 1696 h 9601"/>
                <a:gd name="connsiteX57" fmla="*/ 7118 w 10000"/>
                <a:gd name="connsiteY57" fmla="*/ 1445 h 9601"/>
                <a:gd name="connsiteX58" fmla="*/ 6915 w 10000"/>
                <a:gd name="connsiteY58" fmla="*/ 1174 h 9601"/>
                <a:gd name="connsiteX59" fmla="*/ 6726 w 10000"/>
                <a:gd name="connsiteY59" fmla="*/ 956 h 9601"/>
                <a:gd name="connsiteX60" fmla="*/ 6511 w 10000"/>
                <a:gd name="connsiteY60" fmla="*/ 760 h 9601"/>
                <a:gd name="connsiteX61" fmla="*/ 6295 w 10000"/>
                <a:gd name="connsiteY61" fmla="*/ 578 h 9601"/>
                <a:gd name="connsiteX62" fmla="*/ 6068 w 10000"/>
                <a:gd name="connsiteY62" fmla="*/ 414 h 9601"/>
                <a:gd name="connsiteX63" fmla="*/ 5841 w 10000"/>
                <a:gd name="connsiteY63" fmla="*/ 271 h 9601"/>
                <a:gd name="connsiteX64" fmla="*/ 5601 w 10000"/>
                <a:gd name="connsiteY64" fmla="*/ 162 h 9601"/>
                <a:gd name="connsiteX65" fmla="*/ 5347 w 10000"/>
                <a:gd name="connsiteY65" fmla="*/ 89 h 9601"/>
                <a:gd name="connsiteX66" fmla="*/ 5082 w 10000"/>
                <a:gd name="connsiteY66" fmla="*/ 18 h 9601"/>
                <a:gd name="connsiteX67" fmla="*/ 4817 w 10000"/>
                <a:gd name="connsiteY67" fmla="*/ 0 h 9601"/>
                <a:gd name="connsiteX68" fmla="*/ 4588 w 10000"/>
                <a:gd name="connsiteY68" fmla="*/ 18 h 9601"/>
                <a:gd name="connsiteX69" fmla="*/ 4375 w 10000"/>
                <a:gd name="connsiteY69" fmla="*/ 54 h 9601"/>
                <a:gd name="connsiteX70" fmla="*/ 4160 w 10000"/>
                <a:gd name="connsiteY70" fmla="*/ 109 h 9601"/>
                <a:gd name="connsiteX71" fmla="*/ 3971 w 10000"/>
                <a:gd name="connsiteY71" fmla="*/ 162 h 9601"/>
                <a:gd name="connsiteX72" fmla="*/ 3767 w 10000"/>
                <a:gd name="connsiteY72" fmla="*/ 252 h 9601"/>
                <a:gd name="connsiteX73" fmla="*/ 3564 w 10000"/>
                <a:gd name="connsiteY73" fmla="*/ 342 h 9601"/>
                <a:gd name="connsiteX74" fmla="*/ 3389 w 10000"/>
                <a:gd name="connsiteY74" fmla="*/ 469 h 9601"/>
                <a:gd name="connsiteX75" fmla="*/ 3198 w 10000"/>
                <a:gd name="connsiteY75" fmla="*/ 614 h 9601"/>
                <a:gd name="connsiteX76" fmla="*/ 3035 w 10000"/>
                <a:gd name="connsiteY76" fmla="*/ 776 h 9601"/>
                <a:gd name="connsiteX77" fmla="*/ 2857 w 10000"/>
                <a:gd name="connsiteY77" fmla="*/ 938 h 9601"/>
                <a:gd name="connsiteX78" fmla="*/ 2693 w 10000"/>
                <a:gd name="connsiteY78" fmla="*/ 1119 h 9601"/>
                <a:gd name="connsiteX79" fmla="*/ 2528 w 10000"/>
                <a:gd name="connsiteY79" fmla="*/ 1318 h 9601"/>
                <a:gd name="connsiteX80" fmla="*/ 2377 w 10000"/>
                <a:gd name="connsiteY80" fmla="*/ 1515 h 9601"/>
                <a:gd name="connsiteX81" fmla="*/ 2212 w 10000"/>
                <a:gd name="connsiteY81" fmla="*/ 1752 h 9601"/>
                <a:gd name="connsiteX82" fmla="*/ 1922 w 10000"/>
                <a:gd name="connsiteY82" fmla="*/ 2237 h 9601"/>
                <a:gd name="connsiteX83" fmla="*/ 1644 w 10000"/>
                <a:gd name="connsiteY83" fmla="*/ 2744 h 9601"/>
                <a:gd name="connsiteX84" fmla="*/ 1379 w 10000"/>
                <a:gd name="connsiteY84" fmla="*/ 3285 h 9601"/>
                <a:gd name="connsiteX85" fmla="*/ 1125 w 10000"/>
                <a:gd name="connsiteY85" fmla="*/ 3863 h 9601"/>
                <a:gd name="connsiteX86" fmla="*/ 885 w 10000"/>
                <a:gd name="connsiteY86" fmla="*/ 4458 h 9601"/>
                <a:gd name="connsiteX87" fmla="*/ 658 w 10000"/>
                <a:gd name="connsiteY87" fmla="*/ 5053 h 9601"/>
                <a:gd name="connsiteX88" fmla="*/ 431 w 10000"/>
                <a:gd name="connsiteY88" fmla="*/ 5686 h 9601"/>
                <a:gd name="connsiteX89" fmla="*/ 0 w 10000"/>
                <a:gd name="connsiteY89" fmla="*/ 6949 h 9601"/>
                <a:gd name="connsiteX0" fmla="*/ 0 w 10000"/>
                <a:gd name="connsiteY0" fmla="*/ 7238 h 9588"/>
                <a:gd name="connsiteX1" fmla="*/ 0 w 10000"/>
                <a:gd name="connsiteY1" fmla="*/ 7238 h 9588"/>
                <a:gd name="connsiteX2" fmla="*/ 316 w 10000"/>
                <a:gd name="connsiteY2" fmla="*/ 8215 h 9588"/>
                <a:gd name="connsiteX3" fmla="*/ 608 w 10000"/>
                <a:gd name="connsiteY3" fmla="*/ 9174 h 9588"/>
                <a:gd name="connsiteX4" fmla="*/ 898 w 10000"/>
                <a:gd name="connsiteY4" fmla="*/ 8460 h 9588"/>
                <a:gd name="connsiteX5" fmla="*/ 1163 w 10000"/>
                <a:gd name="connsiteY5" fmla="*/ 7709 h 9588"/>
                <a:gd name="connsiteX6" fmla="*/ 1441 w 10000"/>
                <a:gd name="connsiteY6" fmla="*/ 6974 h 9588"/>
                <a:gd name="connsiteX7" fmla="*/ 1681 w 10000"/>
                <a:gd name="connsiteY7" fmla="*/ 6222 h 9588"/>
                <a:gd name="connsiteX8" fmla="*/ 2162 w 10000"/>
                <a:gd name="connsiteY8" fmla="*/ 4738 h 9588"/>
                <a:gd name="connsiteX9" fmla="*/ 2403 w 10000"/>
                <a:gd name="connsiteY9" fmla="*/ 4024 h 9588"/>
                <a:gd name="connsiteX10" fmla="*/ 2630 w 10000"/>
                <a:gd name="connsiteY10" fmla="*/ 3345 h 9588"/>
                <a:gd name="connsiteX11" fmla="*/ 2869 w 10000"/>
                <a:gd name="connsiteY11" fmla="*/ 2727 h 9588"/>
                <a:gd name="connsiteX12" fmla="*/ 3110 w 10000"/>
                <a:gd name="connsiteY12" fmla="*/ 2162 h 9588"/>
                <a:gd name="connsiteX13" fmla="*/ 3236 w 10000"/>
                <a:gd name="connsiteY13" fmla="*/ 1879 h 9588"/>
                <a:gd name="connsiteX14" fmla="*/ 3363 w 10000"/>
                <a:gd name="connsiteY14" fmla="*/ 1654 h 9588"/>
                <a:gd name="connsiteX15" fmla="*/ 3502 w 10000"/>
                <a:gd name="connsiteY15" fmla="*/ 1409 h 9588"/>
                <a:gd name="connsiteX16" fmla="*/ 3628 w 10000"/>
                <a:gd name="connsiteY16" fmla="*/ 1203 h 9588"/>
                <a:gd name="connsiteX17" fmla="*/ 3767 w 10000"/>
                <a:gd name="connsiteY17" fmla="*/ 1017 h 9588"/>
                <a:gd name="connsiteX18" fmla="*/ 3907 w 10000"/>
                <a:gd name="connsiteY18" fmla="*/ 846 h 9588"/>
                <a:gd name="connsiteX19" fmla="*/ 4046 w 10000"/>
                <a:gd name="connsiteY19" fmla="*/ 695 h 9588"/>
                <a:gd name="connsiteX20" fmla="*/ 4198 w 10000"/>
                <a:gd name="connsiteY20" fmla="*/ 582 h 9588"/>
                <a:gd name="connsiteX21" fmla="*/ 4337 w 10000"/>
                <a:gd name="connsiteY21" fmla="*/ 470 h 9588"/>
                <a:gd name="connsiteX22" fmla="*/ 4488 w 10000"/>
                <a:gd name="connsiteY22" fmla="*/ 413 h 9588"/>
                <a:gd name="connsiteX23" fmla="*/ 4652 w 10000"/>
                <a:gd name="connsiteY23" fmla="*/ 356 h 9588"/>
                <a:gd name="connsiteX24" fmla="*/ 4817 w 10000"/>
                <a:gd name="connsiteY24" fmla="*/ 356 h 9588"/>
                <a:gd name="connsiteX25" fmla="*/ 5019 w 10000"/>
                <a:gd name="connsiteY25" fmla="*/ 376 h 9588"/>
                <a:gd name="connsiteX26" fmla="*/ 5221 w 10000"/>
                <a:gd name="connsiteY26" fmla="*/ 452 h 9588"/>
                <a:gd name="connsiteX27" fmla="*/ 5398 w 10000"/>
                <a:gd name="connsiteY27" fmla="*/ 582 h 9588"/>
                <a:gd name="connsiteX28" fmla="*/ 5589 w 10000"/>
                <a:gd name="connsiteY28" fmla="*/ 715 h 9588"/>
                <a:gd name="connsiteX29" fmla="*/ 5752 w 10000"/>
                <a:gd name="connsiteY29" fmla="*/ 903 h 9588"/>
                <a:gd name="connsiteX30" fmla="*/ 5929 w 10000"/>
                <a:gd name="connsiteY30" fmla="*/ 1147 h 9588"/>
                <a:gd name="connsiteX31" fmla="*/ 6081 w 10000"/>
                <a:gd name="connsiteY31" fmla="*/ 1409 h 9588"/>
                <a:gd name="connsiteX32" fmla="*/ 6258 w 10000"/>
                <a:gd name="connsiteY32" fmla="*/ 1710 h 9588"/>
                <a:gd name="connsiteX33" fmla="*/ 6398 w 10000"/>
                <a:gd name="connsiteY33" fmla="*/ 2030 h 9588"/>
                <a:gd name="connsiteX34" fmla="*/ 6549 w 10000"/>
                <a:gd name="connsiteY34" fmla="*/ 2387 h 9588"/>
                <a:gd name="connsiteX35" fmla="*/ 6688 w 10000"/>
                <a:gd name="connsiteY35" fmla="*/ 2743 h 9588"/>
                <a:gd name="connsiteX36" fmla="*/ 6852 w 10000"/>
                <a:gd name="connsiteY36" fmla="*/ 3141 h 9588"/>
                <a:gd name="connsiteX37" fmla="*/ 7130 w 10000"/>
                <a:gd name="connsiteY37" fmla="*/ 3985 h 9588"/>
                <a:gd name="connsiteX38" fmla="*/ 7421 w 10000"/>
                <a:gd name="connsiteY38" fmla="*/ 4888 h 9588"/>
                <a:gd name="connsiteX39" fmla="*/ 8002 w 10000"/>
                <a:gd name="connsiteY39" fmla="*/ 6786 h 9588"/>
                <a:gd name="connsiteX40" fmla="*/ 8319 w 10000"/>
                <a:gd name="connsiteY40" fmla="*/ 7764 h 9588"/>
                <a:gd name="connsiteX41" fmla="*/ 8635 w 10000"/>
                <a:gd name="connsiteY41" fmla="*/ 8683 h 9588"/>
                <a:gd name="connsiteX42" fmla="*/ 8811 w 10000"/>
                <a:gd name="connsiteY42" fmla="*/ 9156 h 9588"/>
                <a:gd name="connsiteX43" fmla="*/ 9002 w 10000"/>
                <a:gd name="connsiteY43" fmla="*/ 9588 h 9588"/>
                <a:gd name="connsiteX44" fmla="*/ 10000 w 10000"/>
                <a:gd name="connsiteY44" fmla="*/ 8873 h 9588"/>
                <a:gd name="connsiteX45" fmla="*/ 9760 w 10000"/>
                <a:gd name="connsiteY45" fmla="*/ 8102 h 9588"/>
                <a:gd name="connsiteX46" fmla="*/ 9267 w 10000"/>
                <a:gd name="connsiteY46" fmla="*/ 6523 h 9588"/>
                <a:gd name="connsiteX47" fmla="*/ 9014 w 10000"/>
                <a:gd name="connsiteY47" fmla="*/ 5715 h 9588"/>
                <a:gd name="connsiteX48" fmla="*/ 8736 w 10000"/>
                <a:gd name="connsiteY48" fmla="*/ 4907 h 9588"/>
                <a:gd name="connsiteX49" fmla="*/ 8458 w 10000"/>
                <a:gd name="connsiteY49" fmla="*/ 4154 h 9588"/>
                <a:gd name="connsiteX50" fmla="*/ 8143 w 10000"/>
                <a:gd name="connsiteY50" fmla="*/ 3422 h 9588"/>
                <a:gd name="connsiteX51" fmla="*/ 7989 w 10000"/>
                <a:gd name="connsiteY51" fmla="*/ 3064 h 9588"/>
                <a:gd name="connsiteX52" fmla="*/ 7826 w 10000"/>
                <a:gd name="connsiteY52" fmla="*/ 2727 h 9588"/>
                <a:gd name="connsiteX53" fmla="*/ 7661 w 10000"/>
                <a:gd name="connsiteY53" fmla="*/ 2387 h 9588"/>
                <a:gd name="connsiteX54" fmla="*/ 7485 w 10000"/>
                <a:gd name="connsiteY54" fmla="*/ 2066 h 9588"/>
                <a:gd name="connsiteX55" fmla="*/ 7308 w 10000"/>
                <a:gd name="connsiteY55" fmla="*/ 1766 h 9588"/>
                <a:gd name="connsiteX56" fmla="*/ 7118 w 10000"/>
                <a:gd name="connsiteY56" fmla="*/ 1505 h 9588"/>
                <a:gd name="connsiteX57" fmla="*/ 6915 w 10000"/>
                <a:gd name="connsiteY57" fmla="*/ 1223 h 9588"/>
                <a:gd name="connsiteX58" fmla="*/ 6726 w 10000"/>
                <a:gd name="connsiteY58" fmla="*/ 996 h 9588"/>
                <a:gd name="connsiteX59" fmla="*/ 6511 w 10000"/>
                <a:gd name="connsiteY59" fmla="*/ 792 h 9588"/>
                <a:gd name="connsiteX60" fmla="*/ 6295 w 10000"/>
                <a:gd name="connsiteY60" fmla="*/ 602 h 9588"/>
                <a:gd name="connsiteX61" fmla="*/ 6068 w 10000"/>
                <a:gd name="connsiteY61" fmla="*/ 431 h 9588"/>
                <a:gd name="connsiteX62" fmla="*/ 5841 w 10000"/>
                <a:gd name="connsiteY62" fmla="*/ 282 h 9588"/>
                <a:gd name="connsiteX63" fmla="*/ 5601 w 10000"/>
                <a:gd name="connsiteY63" fmla="*/ 169 h 9588"/>
                <a:gd name="connsiteX64" fmla="*/ 5347 w 10000"/>
                <a:gd name="connsiteY64" fmla="*/ 93 h 9588"/>
                <a:gd name="connsiteX65" fmla="*/ 5082 w 10000"/>
                <a:gd name="connsiteY65" fmla="*/ 19 h 9588"/>
                <a:gd name="connsiteX66" fmla="*/ 4817 w 10000"/>
                <a:gd name="connsiteY66" fmla="*/ 0 h 9588"/>
                <a:gd name="connsiteX67" fmla="*/ 4588 w 10000"/>
                <a:gd name="connsiteY67" fmla="*/ 19 h 9588"/>
                <a:gd name="connsiteX68" fmla="*/ 4375 w 10000"/>
                <a:gd name="connsiteY68" fmla="*/ 56 h 9588"/>
                <a:gd name="connsiteX69" fmla="*/ 4160 w 10000"/>
                <a:gd name="connsiteY69" fmla="*/ 114 h 9588"/>
                <a:gd name="connsiteX70" fmla="*/ 3971 w 10000"/>
                <a:gd name="connsiteY70" fmla="*/ 169 h 9588"/>
                <a:gd name="connsiteX71" fmla="*/ 3767 w 10000"/>
                <a:gd name="connsiteY71" fmla="*/ 262 h 9588"/>
                <a:gd name="connsiteX72" fmla="*/ 3564 w 10000"/>
                <a:gd name="connsiteY72" fmla="*/ 356 h 9588"/>
                <a:gd name="connsiteX73" fmla="*/ 3389 w 10000"/>
                <a:gd name="connsiteY73" fmla="*/ 488 h 9588"/>
                <a:gd name="connsiteX74" fmla="*/ 3198 w 10000"/>
                <a:gd name="connsiteY74" fmla="*/ 640 h 9588"/>
                <a:gd name="connsiteX75" fmla="*/ 3035 w 10000"/>
                <a:gd name="connsiteY75" fmla="*/ 808 h 9588"/>
                <a:gd name="connsiteX76" fmla="*/ 2857 w 10000"/>
                <a:gd name="connsiteY76" fmla="*/ 977 h 9588"/>
                <a:gd name="connsiteX77" fmla="*/ 2693 w 10000"/>
                <a:gd name="connsiteY77" fmla="*/ 1166 h 9588"/>
                <a:gd name="connsiteX78" fmla="*/ 2528 w 10000"/>
                <a:gd name="connsiteY78" fmla="*/ 1373 h 9588"/>
                <a:gd name="connsiteX79" fmla="*/ 2377 w 10000"/>
                <a:gd name="connsiteY79" fmla="*/ 1578 h 9588"/>
                <a:gd name="connsiteX80" fmla="*/ 2212 w 10000"/>
                <a:gd name="connsiteY80" fmla="*/ 1825 h 9588"/>
                <a:gd name="connsiteX81" fmla="*/ 1922 w 10000"/>
                <a:gd name="connsiteY81" fmla="*/ 2330 h 9588"/>
                <a:gd name="connsiteX82" fmla="*/ 1644 w 10000"/>
                <a:gd name="connsiteY82" fmla="*/ 2858 h 9588"/>
                <a:gd name="connsiteX83" fmla="*/ 1379 w 10000"/>
                <a:gd name="connsiteY83" fmla="*/ 3422 h 9588"/>
                <a:gd name="connsiteX84" fmla="*/ 1125 w 10000"/>
                <a:gd name="connsiteY84" fmla="*/ 4024 h 9588"/>
                <a:gd name="connsiteX85" fmla="*/ 885 w 10000"/>
                <a:gd name="connsiteY85" fmla="*/ 4643 h 9588"/>
                <a:gd name="connsiteX86" fmla="*/ 658 w 10000"/>
                <a:gd name="connsiteY86" fmla="*/ 5263 h 9588"/>
                <a:gd name="connsiteX87" fmla="*/ 431 w 10000"/>
                <a:gd name="connsiteY87" fmla="*/ 5922 h 9588"/>
                <a:gd name="connsiteX88" fmla="*/ 0 w 10000"/>
                <a:gd name="connsiteY88" fmla="*/ 7238 h 9588"/>
                <a:gd name="connsiteX0" fmla="*/ 0 w 10000"/>
                <a:gd name="connsiteY0" fmla="*/ 7549 h 9568"/>
                <a:gd name="connsiteX1" fmla="*/ 0 w 10000"/>
                <a:gd name="connsiteY1" fmla="*/ 7549 h 9568"/>
                <a:gd name="connsiteX2" fmla="*/ 316 w 10000"/>
                <a:gd name="connsiteY2" fmla="*/ 8568 h 9568"/>
                <a:gd name="connsiteX3" fmla="*/ 608 w 10000"/>
                <a:gd name="connsiteY3" fmla="*/ 9568 h 9568"/>
                <a:gd name="connsiteX4" fmla="*/ 898 w 10000"/>
                <a:gd name="connsiteY4" fmla="*/ 8824 h 9568"/>
                <a:gd name="connsiteX5" fmla="*/ 1163 w 10000"/>
                <a:gd name="connsiteY5" fmla="*/ 8040 h 9568"/>
                <a:gd name="connsiteX6" fmla="*/ 1441 w 10000"/>
                <a:gd name="connsiteY6" fmla="*/ 7274 h 9568"/>
                <a:gd name="connsiteX7" fmla="*/ 1681 w 10000"/>
                <a:gd name="connsiteY7" fmla="*/ 6489 h 9568"/>
                <a:gd name="connsiteX8" fmla="*/ 2162 w 10000"/>
                <a:gd name="connsiteY8" fmla="*/ 4942 h 9568"/>
                <a:gd name="connsiteX9" fmla="*/ 2403 w 10000"/>
                <a:gd name="connsiteY9" fmla="*/ 4197 h 9568"/>
                <a:gd name="connsiteX10" fmla="*/ 2630 w 10000"/>
                <a:gd name="connsiteY10" fmla="*/ 3489 h 9568"/>
                <a:gd name="connsiteX11" fmla="*/ 2869 w 10000"/>
                <a:gd name="connsiteY11" fmla="*/ 2844 h 9568"/>
                <a:gd name="connsiteX12" fmla="*/ 3110 w 10000"/>
                <a:gd name="connsiteY12" fmla="*/ 2255 h 9568"/>
                <a:gd name="connsiteX13" fmla="*/ 3236 w 10000"/>
                <a:gd name="connsiteY13" fmla="*/ 1960 h 9568"/>
                <a:gd name="connsiteX14" fmla="*/ 3363 w 10000"/>
                <a:gd name="connsiteY14" fmla="*/ 1725 h 9568"/>
                <a:gd name="connsiteX15" fmla="*/ 3502 w 10000"/>
                <a:gd name="connsiteY15" fmla="*/ 1470 h 9568"/>
                <a:gd name="connsiteX16" fmla="*/ 3628 w 10000"/>
                <a:gd name="connsiteY16" fmla="*/ 1255 h 9568"/>
                <a:gd name="connsiteX17" fmla="*/ 3767 w 10000"/>
                <a:gd name="connsiteY17" fmla="*/ 1061 h 9568"/>
                <a:gd name="connsiteX18" fmla="*/ 3907 w 10000"/>
                <a:gd name="connsiteY18" fmla="*/ 882 h 9568"/>
                <a:gd name="connsiteX19" fmla="*/ 4046 w 10000"/>
                <a:gd name="connsiteY19" fmla="*/ 725 h 9568"/>
                <a:gd name="connsiteX20" fmla="*/ 4198 w 10000"/>
                <a:gd name="connsiteY20" fmla="*/ 607 h 9568"/>
                <a:gd name="connsiteX21" fmla="*/ 4337 w 10000"/>
                <a:gd name="connsiteY21" fmla="*/ 490 h 9568"/>
                <a:gd name="connsiteX22" fmla="*/ 4488 w 10000"/>
                <a:gd name="connsiteY22" fmla="*/ 431 h 9568"/>
                <a:gd name="connsiteX23" fmla="*/ 4652 w 10000"/>
                <a:gd name="connsiteY23" fmla="*/ 371 h 9568"/>
                <a:gd name="connsiteX24" fmla="*/ 4817 w 10000"/>
                <a:gd name="connsiteY24" fmla="*/ 371 h 9568"/>
                <a:gd name="connsiteX25" fmla="*/ 5019 w 10000"/>
                <a:gd name="connsiteY25" fmla="*/ 392 h 9568"/>
                <a:gd name="connsiteX26" fmla="*/ 5221 w 10000"/>
                <a:gd name="connsiteY26" fmla="*/ 471 h 9568"/>
                <a:gd name="connsiteX27" fmla="*/ 5398 w 10000"/>
                <a:gd name="connsiteY27" fmla="*/ 607 h 9568"/>
                <a:gd name="connsiteX28" fmla="*/ 5589 w 10000"/>
                <a:gd name="connsiteY28" fmla="*/ 746 h 9568"/>
                <a:gd name="connsiteX29" fmla="*/ 5752 w 10000"/>
                <a:gd name="connsiteY29" fmla="*/ 942 h 9568"/>
                <a:gd name="connsiteX30" fmla="*/ 5929 w 10000"/>
                <a:gd name="connsiteY30" fmla="*/ 1196 h 9568"/>
                <a:gd name="connsiteX31" fmla="*/ 6081 w 10000"/>
                <a:gd name="connsiteY31" fmla="*/ 1470 h 9568"/>
                <a:gd name="connsiteX32" fmla="*/ 6258 w 10000"/>
                <a:gd name="connsiteY32" fmla="*/ 1783 h 9568"/>
                <a:gd name="connsiteX33" fmla="*/ 6398 w 10000"/>
                <a:gd name="connsiteY33" fmla="*/ 2117 h 9568"/>
                <a:gd name="connsiteX34" fmla="*/ 6549 w 10000"/>
                <a:gd name="connsiteY34" fmla="*/ 2490 h 9568"/>
                <a:gd name="connsiteX35" fmla="*/ 6688 w 10000"/>
                <a:gd name="connsiteY35" fmla="*/ 2861 h 9568"/>
                <a:gd name="connsiteX36" fmla="*/ 6852 w 10000"/>
                <a:gd name="connsiteY36" fmla="*/ 3276 h 9568"/>
                <a:gd name="connsiteX37" fmla="*/ 7130 w 10000"/>
                <a:gd name="connsiteY37" fmla="*/ 4156 h 9568"/>
                <a:gd name="connsiteX38" fmla="*/ 7421 w 10000"/>
                <a:gd name="connsiteY38" fmla="*/ 5098 h 9568"/>
                <a:gd name="connsiteX39" fmla="*/ 8002 w 10000"/>
                <a:gd name="connsiteY39" fmla="*/ 7078 h 9568"/>
                <a:gd name="connsiteX40" fmla="*/ 8319 w 10000"/>
                <a:gd name="connsiteY40" fmla="*/ 8098 h 9568"/>
                <a:gd name="connsiteX41" fmla="*/ 8635 w 10000"/>
                <a:gd name="connsiteY41" fmla="*/ 9056 h 9568"/>
                <a:gd name="connsiteX42" fmla="*/ 8811 w 10000"/>
                <a:gd name="connsiteY42" fmla="*/ 9549 h 9568"/>
                <a:gd name="connsiteX43" fmla="*/ 10000 w 10000"/>
                <a:gd name="connsiteY43" fmla="*/ 9254 h 9568"/>
                <a:gd name="connsiteX44" fmla="*/ 9760 w 10000"/>
                <a:gd name="connsiteY44" fmla="*/ 8450 h 9568"/>
                <a:gd name="connsiteX45" fmla="*/ 9267 w 10000"/>
                <a:gd name="connsiteY45" fmla="*/ 6803 h 9568"/>
                <a:gd name="connsiteX46" fmla="*/ 9014 w 10000"/>
                <a:gd name="connsiteY46" fmla="*/ 5961 h 9568"/>
                <a:gd name="connsiteX47" fmla="*/ 8736 w 10000"/>
                <a:gd name="connsiteY47" fmla="*/ 5118 h 9568"/>
                <a:gd name="connsiteX48" fmla="*/ 8458 w 10000"/>
                <a:gd name="connsiteY48" fmla="*/ 4332 h 9568"/>
                <a:gd name="connsiteX49" fmla="*/ 8143 w 10000"/>
                <a:gd name="connsiteY49" fmla="*/ 3569 h 9568"/>
                <a:gd name="connsiteX50" fmla="*/ 7989 w 10000"/>
                <a:gd name="connsiteY50" fmla="*/ 3196 h 9568"/>
                <a:gd name="connsiteX51" fmla="*/ 7826 w 10000"/>
                <a:gd name="connsiteY51" fmla="*/ 2844 h 9568"/>
                <a:gd name="connsiteX52" fmla="*/ 7661 w 10000"/>
                <a:gd name="connsiteY52" fmla="*/ 2490 h 9568"/>
                <a:gd name="connsiteX53" fmla="*/ 7485 w 10000"/>
                <a:gd name="connsiteY53" fmla="*/ 2155 h 9568"/>
                <a:gd name="connsiteX54" fmla="*/ 7308 w 10000"/>
                <a:gd name="connsiteY54" fmla="*/ 1842 h 9568"/>
                <a:gd name="connsiteX55" fmla="*/ 7118 w 10000"/>
                <a:gd name="connsiteY55" fmla="*/ 1570 h 9568"/>
                <a:gd name="connsiteX56" fmla="*/ 6915 w 10000"/>
                <a:gd name="connsiteY56" fmla="*/ 1276 h 9568"/>
                <a:gd name="connsiteX57" fmla="*/ 6726 w 10000"/>
                <a:gd name="connsiteY57" fmla="*/ 1039 h 9568"/>
                <a:gd name="connsiteX58" fmla="*/ 6511 w 10000"/>
                <a:gd name="connsiteY58" fmla="*/ 826 h 9568"/>
                <a:gd name="connsiteX59" fmla="*/ 6295 w 10000"/>
                <a:gd name="connsiteY59" fmla="*/ 628 h 9568"/>
                <a:gd name="connsiteX60" fmla="*/ 6068 w 10000"/>
                <a:gd name="connsiteY60" fmla="*/ 450 h 9568"/>
                <a:gd name="connsiteX61" fmla="*/ 5841 w 10000"/>
                <a:gd name="connsiteY61" fmla="*/ 294 h 9568"/>
                <a:gd name="connsiteX62" fmla="*/ 5601 w 10000"/>
                <a:gd name="connsiteY62" fmla="*/ 176 h 9568"/>
                <a:gd name="connsiteX63" fmla="*/ 5347 w 10000"/>
                <a:gd name="connsiteY63" fmla="*/ 97 h 9568"/>
                <a:gd name="connsiteX64" fmla="*/ 5082 w 10000"/>
                <a:gd name="connsiteY64" fmla="*/ 20 h 9568"/>
                <a:gd name="connsiteX65" fmla="*/ 4817 w 10000"/>
                <a:gd name="connsiteY65" fmla="*/ 0 h 9568"/>
                <a:gd name="connsiteX66" fmla="*/ 4588 w 10000"/>
                <a:gd name="connsiteY66" fmla="*/ 20 h 9568"/>
                <a:gd name="connsiteX67" fmla="*/ 4375 w 10000"/>
                <a:gd name="connsiteY67" fmla="*/ 58 h 9568"/>
                <a:gd name="connsiteX68" fmla="*/ 4160 w 10000"/>
                <a:gd name="connsiteY68" fmla="*/ 119 h 9568"/>
                <a:gd name="connsiteX69" fmla="*/ 3971 w 10000"/>
                <a:gd name="connsiteY69" fmla="*/ 176 h 9568"/>
                <a:gd name="connsiteX70" fmla="*/ 3767 w 10000"/>
                <a:gd name="connsiteY70" fmla="*/ 273 h 9568"/>
                <a:gd name="connsiteX71" fmla="*/ 3564 w 10000"/>
                <a:gd name="connsiteY71" fmla="*/ 371 h 9568"/>
                <a:gd name="connsiteX72" fmla="*/ 3389 w 10000"/>
                <a:gd name="connsiteY72" fmla="*/ 509 h 9568"/>
                <a:gd name="connsiteX73" fmla="*/ 3198 w 10000"/>
                <a:gd name="connsiteY73" fmla="*/ 668 h 9568"/>
                <a:gd name="connsiteX74" fmla="*/ 3035 w 10000"/>
                <a:gd name="connsiteY74" fmla="*/ 843 h 9568"/>
                <a:gd name="connsiteX75" fmla="*/ 2857 w 10000"/>
                <a:gd name="connsiteY75" fmla="*/ 1019 h 9568"/>
                <a:gd name="connsiteX76" fmla="*/ 2693 w 10000"/>
                <a:gd name="connsiteY76" fmla="*/ 1216 h 9568"/>
                <a:gd name="connsiteX77" fmla="*/ 2528 w 10000"/>
                <a:gd name="connsiteY77" fmla="*/ 1432 h 9568"/>
                <a:gd name="connsiteX78" fmla="*/ 2377 w 10000"/>
                <a:gd name="connsiteY78" fmla="*/ 1646 h 9568"/>
                <a:gd name="connsiteX79" fmla="*/ 2212 w 10000"/>
                <a:gd name="connsiteY79" fmla="*/ 1903 h 9568"/>
                <a:gd name="connsiteX80" fmla="*/ 1922 w 10000"/>
                <a:gd name="connsiteY80" fmla="*/ 2430 h 9568"/>
                <a:gd name="connsiteX81" fmla="*/ 1644 w 10000"/>
                <a:gd name="connsiteY81" fmla="*/ 2981 h 9568"/>
                <a:gd name="connsiteX82" fmla="*/ 1379 w 10000"/>
                <a:gd name="connsiteY82" fmla="*/ 3569 h 9568"/>
                <a:gd name="connsiteX83" fmla="*/ 1125 w 10000"/>
                <a:gd name="connsiteY83" fmla="*/ 4197 h 9568"/>
                <a:gd name="connsiteX84" fmla="*/ 885 w 10000"/>
                <a:gd name="connsiteY84" fmla="*/ 4843 h 9568"/>
                <a:gd name="connsiteX85" fmla="*/ 658 w 10000"/>
                <a:gd name="connsiteY85" fmla="*/ 5489 h 9568"/>
                <a:gd name="connsiteX86" fmla="*/ 431 w 10000"/>
                <a:gd name="connsiteY86" fmla="*/ 6176 h 9568"/>
                <a:gd name="connsiteX87" fmla="*/ 0 w 10000"/>
                <a:gd name="connsiteY87" fmla="*/ 7549 h 9568"/>
                <a:gd name="connsiteX0" fmla="*/ 0 w 9760"/>
                <a:gd name="connsiteY0" fmla="*/ 7890 h 10000"/>
                <a:gd name="connsiteX1" fmla="*/ 0 w 9760"/>
                <a:gd name="connsiteY1" fmla="*/ 7890 h 10000"/>
                <a:gd name="connsiteX2" fmla="*/ 316 w 9760"/>
                <a:gd name="connsiteY2" fmla="*/ 8955 h 10000"/>
                <a:gd name="connsiteX3" fmla="*/ 608 w 9760"/>
                <a:gd name="connsiteY3" fmla="*/ 10000 h 10000"/>
                <a:gd name="connsiteX4" fmla="*/ 898 w 9760"/>
                <a:gd name="connsiteY4" fmla="*/ 9222 h 10000"/>
                <a:gd name="connsiteX5" fmla="*/ 1163 w 9760"/>
                <a:gd name="connsiteY5" fmla="*/ 8403 h 10000"/>
                <a:gd name="connsiteX6" fmla="*/ 1441 w 9760"/>
                <a:gd name="connsiteY6" fmla="*/ 7602 h 10000"/>
                <a:gd name="connsiteX7" fmla="*/ 1681 w 9760"/>
                <a:gd name="connsiteY7" fmla="*/ 6782 h 10000"/>
                <a:gd name="connsiteX8" fmla="*/ 2162 w 9760"/>
                <a:gd name="connsiteY8" fmla="*/ 5165 h 10000"/>
                <a:gd name="connsiteX9" fmla="*/ 2403 w 9760"/>
                <a:gd name="connsiteY9" fmla="*/ 4386 h 10000"/>
                <a:gd name="connsiteX10" fmla="*/ 2630 w 9760"/>
                <a:gd name="connsiteY10" fmla="*/ 3647 h 10000"/>
                <a:gd name="connsiteX11" fmla="*/ 2869 w 9760"/>
                <a:gd name="connsiteY11" fmla="*/ 2972 h 10000"/>
                <a:gd name="connsiteX12" fmla="*/ 3110 w 9760"/>
                <a:gd name="connsiteY12" fmla="*/ 2357 h 10000"/>
                <a:gd name="connsiteX13" fmla="*/ 3236 w 9760"/>
                <a:gd name="connsiteY13" fmla="*/ 2048 h 10000"/>
                <a:gd name="connsiteX14" fmla="*/ 3363 w 9760"/>
                <a:gd name="connsiteY14" fmla="*/ 1803 h 10000"/>
                <a:gd name="connsiteX15" fmla="*/ 3502 w 9760"/>
                <a:gd name="connsiteY15" fmla="*/ 1536 h 10000"/>
                <a:gd name="connsiteX16" fmla="*/ 3628 w 9760"/>
                <a:gd name="connsiteY16" fmla="*/ 1312 h 10000"/>
                <a:gd name="connsiteX17" fmla="*/ 3767 w 9760"/>
                <a:gd name="connsiteY17" fmla="*/ 1109 h 10000"/>
                <a:gd name="connsiteX18" fmla="*/ 3907 w 9760"/>
                <a:gd name="connsiteY18" fmla="*/ 922 h 10000"/>
                <a:gd name="connsiteX19" fmla="*/ 4046 w 9760"/>
                <a:gd name="connsiteY19" fmla="*/ 758 h 10000"/>
                <a:gd name="connsiteX20" fmla="*/ 4198 w 9760"/>
                <a:gd name="connsiteY20" fmla="*/ 634 h 10000"/>
                <a:gd name="connsiteX21" fmla="*/ 4337 w 9760"/>
                <a:gd name="connsiteY21" fmla="*/ 512 h 10000"/>
                <a:gd name="connsiteX22" fmla="*/ 4488 w 9760"/>
                <a:gd name="connsiteY22" fmla="*/ 450 h 10000"/>
                <a:gd name="connsiteX23" fmla="*/ 4652 w 9760"/>
                <a:gd name="connsiteY23" fmla="*/ 388 h 10000"/>
                <a:gd name="connsiteX24" fmla="*/ 4817 w 9760"/>
                <a:gd name="connsiteY24" fmla="*/ 388 h 10000"/>
                <a:gd name="connsiteX25" fmla="*/ 5019 w 9760"/>
                <a:gd name="connsiteY25" fmla="*/ 410 h 10000"/>
                <a:gd name="connsiteX26" fmla="*/ 5221 w 9760"/>
                <a:gd name="connsiteY26" fmla="*/ 492 h 10000"/>
                <a:gd name="connsiteX27" fmla="*/ 5398 w 9760"/>
                <a:gd name="connsiteY27" fmla="*/ 634 h 10000"/>
                <a:gd name="connsiteX28" fmla="*/ 5589 w 9760"/>
                <a:gd name="connsiteY28" fmla="*/ 780 h 10000"/>
                <a:gd name="connsiteX29" fmla="*/ 5752 w 9760"/>
                <a:gd name="connsiteY29" fmla="*/ 985 h 10000"/>
                <a:gd name="connsiteX30" fmla="*/ 5929 w 9760"/>
                <a:gd name="connsiteY30" fmla="*/ 1250 h 10000"/>
                <a:gd name="connsiteX31" fmla="*/ 6081 w 9760"/>
                <a:gd name="connsiteY31" fmla="*/ 1536 h 10000"/>
                <a:gd name="connsiteX32" fmla="*/ 6258 w 9760"/>
                <a:gd name="connsiteY32" fmla="*/ 1864 h 10000"/>
                <a:gd name="connsiteX33" fmla="*/ 6398 w 9760"/>
                <a:gd name="connsiteY33" fmla="*/ 2213 h 10000"/>
                <a:gd name="connsiteX34" fmla="*/ 6549 w 9760"/>
                <a:gd name="connsiteY34" fmla="*/ 2602 h 10000"/>
                <a:gd name="connsiteX35" fmla="*/ 6688 w 9760"/>
                <a:gd name="connsiteY35" fmla="*/ 2990 h 10000"/>
                <a:gd name="connsiteX36" fmla="*/ 6852 w 9760"/>
                <a:gd name="connsiteY36" fmla="*/ 3424 h 10000"/>
                <a:gd name="connsiteX37" fmla="*/ 7130 w 9760"/>
                <a:gd name="connsiteY37" fmla="*/ 4344 h 10000"/>
                <a:gd name="connsiteX38" fmla="*/ 7421 w 9760"/>
                <a:gd name="connsiteY38" fmla="*/ 5328 h 10000"/>
                <a:gd name="connsiteX39" fmla="*/ 8002 w 9760"/>
                <a:gd name="connsiteY39" fmla="*/ 7398 h 10000"/>
                <a:gd name="connsiteX40" fmla="*/ 8319 w 9760"/>
                <a:gd name="connsiteY40" fmla="*/ 8464 h 10000"/>
                <a:gd name="connsiteX41" fmla="*/ 8635 w 9760"/>
                <a:gd name="connsiteY41" fmla="*/ 9465 h 10000"/>
                <a:gd name="connsiteX42" fmla="*/ 8811 w 9760"/>
                <a:gd name="connsiteY42" fmla="*/ 9980 h 10000"/>
                <a:gd name="connsiteX43" fmla="*/ 9760 w 9760"/>
                <a:gd name="connsiteY43" fmla="*/ 8832 h 10000"/>
                <a:gd name="connsiteX44" fmla="*/ 9267 w 9760"/>
                <a:gd name="connsiteY44" fmla="*/ 7110 h 10000"/>
                <a:gd name="connsiteX45" fmla="*/ 9014 w 9760"/>
                <a:gd name="connsiteY45" fmla="*/ 6230 h 10000"/>
                <a:gd name="connsiteX46" fmla="*/ 8736 w 9760"/>
                <a:gd name="connsiteY46" fmla="*/ 5349 h 10000"/>
                <a:gd name="connsiteX47" fmla="*/ 8458 w 9760"/>
                <a:gd name="connsiteY47" fmla="*/ 4528 h 10000"/>
                <a:gd name="connsiteX48" fmla="*/ 8143 w 9760"/>
                <a:gd name="connsiteY48" fmla="*/ 3730 h 10000"/>
                <a:gd name="connsiteX49" fmla="*/ 7989 w 9760"/>
                <a:gd name="connsiteY49" fmla="*/ 3340 h 10000"/>
                <a:gd name="connsiteX50" fmla="*/ 7826 w 9760"/>
                <a:gd name="connsiteY50" fmla="*/ 2972 h 10000"/>
                <a:gd name="connsiteX51" fmla="*/ 7661 w 9760"/>
                <a:gd name="connsiteY51" fmla="*/ 2602 h 10000"/>
                <a:gd name="connsiteX52" fmla="*/ 7485 w 9760"/>
                <a:gd name="connsiteY52" fmla="*/ 2252 h 10000"/>
                <a:gd name="connsiteX53" fmla="*/ 7308 w 9760"/>
                <a:gd name="connsiteY53" fmla="*/ 1925 h 10000"/>
                <a:gd name="connsiteX54" fmla="*/ 7118 w 9760"/>
                <a:gd name="connsiteY54" fmla="*/ 1641 h 10000"/>
                <a:gd name="connsiteX55" fmla="*/ 6915 w 9760"/>
                <a:gd name="connsiteY55" fmla="*/ 1334 h 10000"/>
                <a:gd name="connsiteX56" fmla="*/ 6726 w 9760"/>
                <a:gd name="connsiteY56" fmla="*/ 1086 h 10000"/>
                <a:gd name="connsiteX57" fmla="*/ 6511 w 9760"/>
                <a:gd name="connsiteY57" fmla="*/ 863 h 10000"/>
                <a:gd name="connsiteX58" fmla="*/ 6295 w 9760"/>
                <a:gd name="connsiteY58" fmla="*/ 656 h 10000"/>
                <a:gd name="connsiteX59" fmla="*/ 6068 w 9760"/>
                <a:gd name="connsiteY59" fmla="*/ 470 h 10000"/>
                <a:gd name="connsiteX60" fmla="*/ 5841 w 9760"/>
                <a:gd name="connsiteY60" fmla="*/ 307 h 10000"/>
                <a:gd name="connsiteX61" fmla="*/ 5601 w 9760"/>
                <a:gd name="connsiteY61" fmla="*/ 184 h 10000"/>
                <a:gd name="connsiteX62" fmla="*/ 5347 w 9760"/>
                <a:gd name="connsiteY62" fmla="*/ 101 h 10000"/>
                <a:gd name="connsiteX63" fmla="*/ 5082 w 9760"/>
                <a:gd name="connsiteY63" fmla="*/ 21 h 10000"/>
                <a:gd name="connsiteX64" fmla="*/ 4817 w 9760"/>
                <a:gd name="connsiteY64" fmla="*/ 0 h 10000"/>
                <a:gd name="connsiteX65" fmla="*/ 4588 w 9760"/>
                <a:gd name="connsiteY65" fmla="*/ 21 h 10000"/>
                <a:gd name="connsiteX66" fmla="*/ 4375 w 9760"/>
                <a:gd name="connsiteY66" fmla="*/ 61 h 10000"/>
                <a:gd name="connsiteX67" fmla="*/ 4160 w 9760"/>
                <a:gd name="connsiteY67" fmla="*/ 124 h 10000"/>
                <a:gd name="connsiteX68" fmla="*/ 3971 w 9760"/>
                <a:gd name="connsiteY68" fmla="*/ 184 h 10000"/>
                <a:gd name="connsiteX69" fmla="*/ 3767 w 9760"/>
                <a:gd name="connsiteY69" fmla="*/ 285 h 10000"/>
                <a:gd name="connsiteX70" fmla="*/ 3564 w 9760"/>
                <a:gd name="connsiteY70" fmla="*/ 388 h 10000"/>
                <a:gd name="connsiteX71" fmla="*/ 3389 w 9760"/>
                <a:gd name="connsiteY71" fmla="*/ 532 h 10000"/>
                <a:gd name="connsiteX72" fmla="*/ 3198 w 9760"/>
                <a:gd name="connsiteY72" fmla="*/ 698 h 10000"/>
                <a:gd name="connsiteX73" fmla="*/ 3035 w 9760"/>
                <a:gd name="connsiteY73" fmla="*/ 881 h 10000"/>
                <a:gd name="connsiteX74" fmla="*/ 2857 w 9760"/>
                <a:gd name="connsiteY74" fmla="*/ 1065 h 10000"/>
                <a:gd name="connsiteX75" fmla="*/ 2693 w 9760"/>
                <a:gd name="connsiteY75" fmla="*/ 1271 h 10000"/>
                <a:gd name="connsiteX76" fmla="*/ 2528 w 9760"/>
                <a:gd name="connsiteY76" fmla="*/ 1497 h 10000"/>
                <a:gd name="connsiteX77" fmla="*/ 2377 w 9760"/>
                <a:gd name="connsiteY77" fmla="*/ 1720 h 10000"/>
                <a:gd name="connsiteX78" fmla="*/ 2212 w 9760"/>
                <a:gd name="connsiteY78" fmla="*/ 1989 h 10000"/>
                <a:gd name="connsiteX79" fmla="*/ 1922 w 9760"/>
                <a:gd name="connsiteY79" fmla="*/ 2540 h 10000"/>
                <a:gd name="connsiteX80" fmla="*/ 1644 w 9760"/>
                <a:gd name="connsiteY80" fmla="*/ 3116 h 10000"/>
                <a:gd name="connsiteX81" fmla="*/ 1379 w 9760"/>
                <a:gd name="connsiteY81" fmla="*/ 3730 h 10000"/>
                <a:gd name="connsiteX82" fmla="*/ 1125 w 9760"/>
                <a:gd name="connsiteY82" fmla="*/ 4386 h 10000"/>
                <a:gd name="connsiteX83" fmla="*/ 885 w 9760"/>
                <a:gd name="connsiteY83" fmla="*/ 5062 h 10000"/>
                <a:gd name="connsiteX84" fmla="*/ 658 w 9760"/>
                <a:gd name="connsiteY84" fmla="*/ 5737 h 10000"/>
                <a:gd name="connsiteX85" fmla="*/ 431 w 9760"/>
                <a:gd name="connsiteY85" fmla="*/ 6455 h 10000"/>
                <a:gd name="connsiteX86" fmla="*/ 0 w 9760"/>
                <a:gd name="connsiteY86" fmla="*/ 7890 h 10000"/>
                <a:gd name="connsiteX0" fmla="*/ 0 w 9495"/>
                <a:gd name="connsiteY0" fmla="*/ 7890 h 10000"/>
                <a:gd name="connsiteX1" fmla="*/ 0 w 9495"/>
                <a:gd name="connsiteY1" fmla="*/ 7890 h 10000"/>
                <a:gd name="connsiteX2" fmla="*/ 324 w 9495"/>
                <a:gd name="connsiteY2" fmla="*/ 8955 h 10000"/>
                <a:gd name="connsiteX3" fmla="*/ 623 w 9495"/>
                <a:gd name="connsiteY3" fmla="*/ 10000 h 10000"/>
                <a:gd name="connsiteX4" fmla="*/ 920 w 9495"/>
                <a:gd name="connsiteY4" fmla="*/ 9222 h 10000"/>
                <a:gd name="connsiteX5" fmla="*/ 1192 w 9495"/>
                <a:gd name="connsiteY5" fmla="*/ 8403 h 10000"/>
                <a:gd name="connsiteX6" fmla="*/ 1476 w 9495"/>
                <a:gd name="connsiteY6" fmla="*/ 7602 h 10000"/>
                <a:gd name="connsiteX7" fmla="*/ 1722 w 9495"/>
                <a:gd name="connsiteY7" fmla="*/ 6782 h 10000"/>
                <a:gd name="connsiteX8" fmla="*/ 2215 w 9495"/>
                <a:gd name="connsiteY8" fmla="*/ 5165 h 10000"/>
                <a:gd name="connsiteX9" fmla="*/ 2462 w 9495"/>
                <a:gd name="connsiteY9" fmla="*/ 4386 h 10000"/>
                <a:gd name="connsiteX10" fmla="*/ 2695 w 9495"/>
                <a:gd name="connsiteY10" fmla="*/ 3647 h 10000"/>
                <a:gd name="connsiteX11" fmla="*/ 2940 w 9495"/>
                <a:gd name="connsiteY11" fmla="*/ 2972 h 10000"/>
                <a:gd name="connsiteX12" fmla="*/ 3186 w 9495"/>
                <a:gd name="connsiteY12" fmla="*/ 2357 h 10000"/>
                <a:gd name="connsiteX13" fmla="*/ 3316 w 9495"/>
                <a:gd name="connsiteY13" fmla="*/ 2048 h 10000"/>
                <a:gd name="connsiteX14" fmla="*/ 3446 w 9495"/>
                <a:gd name="connsiteY14" fmla="*/ 1803 h 10000"/>
                <a:gd name="connsiteX15" fmla="*/ 3588 w 9495"/>
                <a:gd name="connsiteY15" fmla="*/ 1536 h 10000"/>
                <a:gd name="connsiteX16" fmla="*/ 3717 w 9495"/>
                <a:gd name="connsiteY16" fmla="*/ 1312 h 10000"/>
                <a:gd name="connsiteX17" fmla="*/ 3860 w 9495"/>
                <a:gd name="connsiteY17" fmla="*/ 1109 h 10000"/>
                <a:gd name="connsiteX18" fmla="*/ 4003 w 9495"/>
                <a:gd name="connsiteY18" fmla="*/ 922 h 10000"/>
                <a:gd name="connsiteX19" fmla="*/ 4145 w 9495"/>
                <a:gd name="connsiteY19" fmla="*/ 758 h 10000"/>
                <a:gd name="connsiteX20" fmla="*/ 4301 w 9495"/>
                <a:gd name="connsiteY20" fmla="*/ 634 h 10000"/>
                <a:gd name="connsiteX21" fmla="*/ 4444 w 9495"/>
                <a:gd name="connsiteY21" fmla="*/ 512 h 10000"/>
                <a:gd name="connsiteX22" fmla="*/ 4598 w 9495"/>
                <a:gd name="connsiteY22" fmla="*/ 450 h 10000"/>
                <a:gd name="connsiteX23" fmla="*/ 4766 w 9495"/>
                <a:gd name="connsiteY23" fmla="*/ 388 h 10000"/>
                <a:gd name="connsiteX24" fmla="*/ 4935 w 9495"/>
                <a:gd name="connsiteY24" fmla="*/ 388 h 10000"/>
                <a:gd name="connsiteX25" fmla="*/ 5142 w 9495"/>
                <a:gd name="connsiteY25" fmla="*/ 410 h 10000"/>
                <a:gd name="connsiteX26" fmla="*/ 5349 w 9495"/>
                <a:gd name="connsiteY26" fmla="*/ 492 h 10000"/>
                <a:gd name="connsiteX27" fmla="*/ 5531 w 9495"/>
                <a:gd name="connsiteY27" fmla="*/ 634 h 10000"/>
                <a:gd name="connsiteX28" fmla="*/ 5726 w 9495"/>
                <a:gd name="connsiteY28" fmla="*/ 780 h 10000"/>
                <a:gd name="connsiteX29" fmla="*/ 5893 w 9495"/>
                <a:gd name="connsiteY29" fmla="*/ 985 h 10000"/>
                <a:gd name="connsiteX30" fmla="*/ 6075 w 9495"/>
                <a:gd name="connsiteY30" fmla="*/ 1250 h 10000"/>
                <a:gd name="connsiteX31" fmla="*/ 6231 w 9495"/>
                <a:gd name="connsiteY31" fmla="*/ 1536 h 10000"/>
                <a:gd name="connsiteX32" fmla="*/ 6412 w 9495"/>
                <a:gd name="connsiteY32" fmla="*/ 1864 h 10000"/>
                <a:gd name="connsiteX33" fmla="*/ 6555 w 9495"/>
                <a:gd name="connsiteY33" fmla="*/ 2213 h 10000"/>
                <a:gd name="connsiteX34" fmla="*/ 6710 w 9495"/>
                <a:gd name="connsiteY34" fmla="*/ 2602 h 10000"/>
                <a:gd name="connsiteX35" fmla="*/ 6852 w 9495"/>
                <a:gd name="connsiteY35" fmla="*/ 2990 h 10000"/>
                <a:gd name="connsiteX36" fmla="*/ 7020 w 9495"/>
                <a:gd name="connsiteY36" fmla="*/ 3424 h 10000"/>
                <a:gd name="connsiteX37" fmla="*/ 7305 w 9495"/>
                <a:gd name="connsiteY37" fmla="*/ 4344 h 10000"/>
                <a:gd name="connsiteX38" fmla="*/ 7603 w 9495"/>
                <a:gd name="connsiteY38" fmla="*/ 5328 h 10000"/>
                <a:gd name="connsiteX39" fmla="*/ 8199 w 9495"/>
                <a:gd name="connsiteY39" fmla="*/ 7398 h 10000"/>
                <a:gd name="connsiteX40" fmla="*/ 8524 w 9495"/>
                <a:gd name="connsiteY40" fmla="*/ 8464 h 10000"/>
                <a:gd name="connsiteX41" fmla="*/ 8847 w 9495"/>
                <a:gd name="connsiteY41" fmla="*/ 9465 h 10000"/>
                <a:gd name="connsiteX42" fmla="*/ 9028 w 9495"/>
                <a:gd name="connsiteY42" fmla="*/ 9980 h 10000"/>
                <a:gd name="connsiteX43" fmla="*/ 9495 w 9495"/>
                <a:gd name="connsiteY43" fmla="*/ 7110 h 10000"/>
                <a:gd name="connsiteX44" fmla="*/ 9236 w 9495"/>
                <a:gd name="connsiteY44" fmla="*/ 6230 h 10000"/>
                <a:gd name="connsiteX45" fmla="*/ 8951 w 9495"/>
                <a:gd name="connsiteY45" fmla="*/ 5349 h 10000"/>
                <a:gd name="connsiteX46" fmla="*/ 8666 w 9495"/>
                <a:gd name="connsiteY46" fmla="*/ 4528 h 10000"/>
                <a:gd name="connsiteX47" fmla="*/ 8343 w 9495"/>
                <a:gd name="connsiteY47" fmla="*/ 3730 h 10000"/>
                <a:gd name="connsiteX48" fmla="*/ 8185 w 9495"/>
                <a:gd name="connsiteY48" fmla="*/ 3340 h 10000"/>
                <a:gd name="connsiteX49" fmla="*/ 8018 w 9495"/>
                <a:gd name="connsiteY49" fmla="*/ 2972 h 10000"/>
                <a:gd name="connsiteX50" fmla="*/ 7849 w 9495"/>
                <a:gd name="connsiteY50" fmla="*/ 2602 h 10000"/>
                <a:gd name="connsiteX51" fmla="*/ 7669 w 9495"/>
                <a:gd name="connsiteY51" fmla="*/ 2252 h 10000"/>
                <a:gd name="connsiteX52" fmla="*/ 7488 w 9495"/>
                <a:gd name="connsiteY52" fmla="*/ 1925 h 10000"/>
                <a:gd name="connsiteX53" fmla="*/ 7293 w 9495"/>
                <a:gd name="connsiteY53" fmla="*/ 1641 h 10000"/>
                <a:gd name="connsiteX54" fmla="*/ 7085 w 9495"/>
                <a:gd name="connsiteY54" fmla="*/ 1334 h 10000"/>
                <a:gd name="connsiteX55" fmla="*/ 6891 w 9495"/>
                <a:gd name="connsiteY55" fmla="*/ 1086 h 10000"/>
                <a:gd name="connsiteX56" fmla="*/ 6671 w 9495"/>
                <a:gd name="connsiteY56" fmla="*/ 863 h 10000"/>
                <a:gd name="connsiteX57" fmla="*/ 6450 w 9495"/>
                <a:gd name="connsiteY57" fmla="*/ 656 h 10000"/>
                <a:gd name="connsiteX58" fmla="*/ 6217 w 9495"/>
                <a:gd name="connsiteY58" fmla="*/ 470 h 10000"/>
                <a:gd name="connsiteX59" fmla="*/ 5985 w 9495"/>
                <a:gd name="connsiteY59" fmla="*/ 307 h 10000"/>
                <a:gd name="connsiteX60" fmla="*/ 5739 w 9495"/>
                <a:gd name="connsiteY60" fmla="*/ 184 h 10000"/>
                <a:gd name="connsiteX61" fmla="*/ 5478 w 9495"/>
                <a:gd name="connsiteY61" fmla="*/ 101 h 10000"/>
                <a:gd name="connsiteX62" fmla="*/ 5207 w 9495"/>
                <a:gd name="connsiteY62" fmla="*/ 21 h 10000"/>
                <a:gd name="connsiteX63" fmla="*/ 4935 w 9495"/>
                <a:gd name="connsiteY63" fmla="*/ 0 h 10000"/>
                <a:gd name="connsiteX64" fmla="*/ 4701 w 9495"/>
                <a:gd name="connsiteY64" fmla="*/ 21 h 10000"/>
                <a:gd name="connsiteX65" fmla="*/ 4483 w 9495"/>
                <a:gd name="connsiteY65" fmla="*/ 61 h 10000"/>
                <a:gd name="connsiteX66" fmla="*/ 4262 w 9495"/>
                <a:gd name="connsiteY66" fmla="*/ 124 h 10000"/>
                <a:gd name="connsiteX67" fmla="*/ 4069 w 9495"/>
                <a:gd name="connsiteY67" fmla="*/ 184 h 10000"/>
                <a:gd name="connsiteX68" fmla="*/ 3860 w 9495"/>
                <a:gd name="connsiteY68" fmla="*/ 285 h 10000"/>
                <a:gd name="connsiteX69" fmla="*/ 3652 w 9495"/>
                <a:gd name="connsiteY69" fmla="*/ 388 h 10000"/>
                <a:gd name="connsiteX70" fmla="*/ 3472 w 9495"/>
                <a:gd name="connsiteY70" fmla="*/ 532 h 10000"/>
                <a:gd name="connsiteX71" fmla="*/ 3277 w 9495"/>
                <a:gd name="connsiteY71" fmla="*/ 698 h 10000"/>
                <a:gd name="connsiteX72" fmla="*/ 3110 w 9495"/>
                <a:gd name="connsiteY72" fmla="*/ 881 h 10000"/>
                <a:gd name="connsiteX73" fmla="*/ 2927 w 9495"/>
                <a:gd name="connsiteY73" fmla="*/ 1065 h 10000"/>
                <a:gd name="connsiteX74" fmla="*/ 2759 w 9495"/>
                <a:gd name="connsiteY74" fmla="*/ 1271 h 10000"/>
                <a:gd name="connsiteX75" fmla="*/ 2590 w 9495"/>
                <a:gd name="connsiteY75" fmla="*/ 1497 h 10000"/>
                <a:gd name="connsiteX76" fmla="*/ 2435 w 9495"/>
                <a:gd name="connsiteY76" fmla="*/ 1720 h 10000"/>
                <a:gd name="connsiteX77" fmla="*/ 2266 w 9495"/>
                <a:gd name="connsiteY77" fmla="*/ 1989 h 10000"/>
                <a:gd name="connsiteX78" fmla="*/ 1969 w 9495"/>
                <a:gd name="connsiteY78" fmla="*/ 2540 h 10000"/>
                <a:gd name="connsiteX79" fmla="*/ 1684 w 9495"/>
                <a:gd name="connsiteY79" fmla="*/ 3116 h 10000"/>
                <a:gd name="connsiteX80" fmla="*/ 1413 w 9495"/>
                <a:gd name="connsiteY80" fmla="*/ 3730 h 10000"/>
                <a:gd name="connsiteX81" fmla="*/ 1153 w 9495"/>
                <a:gd name="connsiteY81" fmla="*/ 4386 h 10000"/>
                <a:gd name="connsiteX82" fmla="*/ 907 w 9495"/>
                <a:gd name="connsiteY82" fmla="*/ 5062 h 10000"/>
                <a:gd name="connsiteX83" fmla="*/ 674 w 9495"/>
                <a:gd name="connsiteY83" fmla="*/ 5737 h 10000"/>
                <a:gd name="connsiteX84" fmla="*/ 442 w 9495"/>
                <a:gd name="connsiteY84" fmla="*/ 6455 h 10000"/>
                <a:gd name="connsiteX85" fmla="*/ 0 w 9495"/>
                <a:gd name="connsiteY8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9318 w 10000"/>
                <a:gd name="connsiteY41" fmla="*/ 9465 h 10000"/>
                <a:gd name="connsiteX42" fmla="*/ 10000 w 10000"/>
                <a:gd name="connsiteY42" fmla="*/ 7110 h 10000"/>
                <a:gd name="connsiteX43" fmla="*/ 9727 w 10000"/>
                <a:gd name="connsiteY43" fmla="*/ 6230 h 10000"/>
                <a:gd name="connsiteX44" fmla="*/ 9427 w 10000"/>
                <a:gd name="connsiteY44" fmla="*/ 5349 h 10000"/>
                <a:gd name="connsiteX45" fmla="*/ 9127 w 10000"/>
                <a:gd name="connsiteY45" fmla="*/ 4528 h 10000"/>
                <a:gd name="connsiteX46" fmla="*/ 8787 w 10000"/>
                <a:gd name="connsiteY46" fmla="*/ 3730 h 10000"/>
                <a:gd name="connsiteX47" fmla="*/ 8620 w 10000"/>
                <a:gd name="connsiteY47" fmla="*/ 3340 h 10000"/>
                <a:gd name="connsiteX48" fmla="*/ 8444 w 10000"/>
                <a:gd name="connsiteY48" fmla="*/ 2972 h 10000"/>
                <a:gd name="connsiteX49" fmla="*/ 8266 w 10000"/>
                <a:gd name="connsiteY49" fmla="*/ 2602 h 10000"/>
                <a:gd name="connsiteX50" fmla="*/ 8077 w 10000"/>
                <a:gd name="connsiteY50" fmla="*/ 2252 h 10000"/>
                <a:gd name="connsiteX51" fmla="*/ 7886 w 10000"/>
                <a:gd name="connsiteY51" fmla="*/ 1925 h 10000"/>
                <a:gd name="connsiteX52" fmla="*/ 7681 w 10000"/>
                <a:gd name="connsiteY52" fmla="*/ 1641 h 10000"/>
                <a:gd name="connsiteX53" fmla="*/ 7462 w 10000"/>
                <a:gd name="connsiteY53" fmla="*/ 1334 h 10000"/>
                <a:gd name="connsiteX54" fmla="*/ 7258 w 10000"/>
                <a:gd name="connsiteY54" fmla="*/ 1086 h 10000"/>
                <a:gd name="connsiteX55" fmla="*/ 7026 w 10000"/>
                <a:gd name="connsiteY55" fmla="*/ 863 h 10000"/>
                <a:gd name="connsiteX56" fmla="*/ 6793 w 10000"/>
                <a:gd name="connsiteY56" fmla="*/ 656 h 10000"/>
                <a:gd name="connsiteX57" fmla="*/ 6548 w 10000"/>
                <a:gd name="connsiteY57" fmla="*/ 470 h 10000"/>
                <a:gd name="connsiteX58" fmla="*/ 6303 w 10000"/>
                <a:gd name="connsiteY58" fmla="*/ 307 h 10000"/>
                <a:gd name="connsiteX59" fmla="*/ 6044 w 10000"/>
                <a:gd name="connsiteY59" fmla="*/ 184 h 10000"/>
                <a:gd name="connsiteX60" fmla="*/ 5769 w 10000"/>
                <a:gd name="connsiteY60" fmla="*/ 101 h 10000"/>
                <a:gd name="connsiteX61" fmla="*/ 5484 w 10000"/>
                <a:gd name="connsiteY61" fmla="*/ 21 h 10000"/>
                <a:gd name="connsiteX62" fmla="*/ 5197 w 10000"/>
                <a:gd name="connsiteY62" fmla="*/ 0 h 10000"/>
                <a:gd name="connsiteX63" fmla="*/ 4951 w 10000"/>
                <a:gd name="connsiteY63" fmla="*/ 21 h 10000"/>
                <a:gd name="connsiteX64" fmla="*/ 4721 w 10000"/>
                <a:gd name="connsiteY64" fmla="*/ 61 h 10000"/>
                <a:gd name="connsiteX65" fmla="*/ 4489 w 10000"/>
                <a:gd name="connsiteY65" fmla="*/ 124 h 10000"/>
                <a:gd name="connsiteX66" fmla="*/ 4285 w 10000"/>
                <a:gd name="connsiteY66" fmla="*/ 184 h 10000"/>
                <a:gd name="connsiteX67" fmla="*/ 4065 w 10000"/>
                <a:gd name="connsiteY67" fmla="*/ 285 h 10000"/>
                <a:gd name="connsiteX68" fmla="*/ 3846 w 10000"/>
                <a:gd name="connsiteY68" fmla="*/ 388 h 10000"/>
                <a:gd name="connsiteX69" fmla="*/ 3657 w 10000"/>
                <a:gd name="connsiteY69" fmla="*/ 532 h 10000"/>
                <a:gd name="connsiteX70" fmla="*/ 3451 w 10000"/>
                <a:gd name="connsiteY70" fmla="*/ 698 h 10000"/>
                <a:gd name="connsiteX71" fmla="*/ 3275 w 10000"/>
                <a:gd name="connsiteY71" fmla="*/ 881 h 10000"/>
                <a:gd name="connsiteX72" fmla="*/ 3083 w 10000"/>
                <a:gd name="connsiteY72" fmla="*/ 1065 h 10000"/>
                <a:gd name="connsiteX73" fmla="*/ 2906 w 10000"/>
                <a:gd name="connsiteY73" fmla="*/ 1271 h 10000"/>
                <a:gd name="connsiteX74" fmla="*/ 2728 w 10000"/>
                <a:gd name="connsiteY74" fmla="*/ 1497 h 10000"/>
                <a:gd name="connsiteX75" fmla="*/ 2565 w 10000"/>
                <a:gd name="connsiteY75" fmla="*/ 1720 h 10000"/>
                <a:gd name="connsiteX76" fmla="*/ 2387 w 10000"/>
                <a:gd name="connsiteY76" fmla="*/ 1989 h 10000"/>
                <a:gd name="connsiteX77" fmla="*/ 2074 w 10000"/>
                <a:gd name="connsiteY77" fmla="*/ 2540 h 10000"/>
                <a:gd name="connsiteX78" fmla="*/ 1774 w 10000"/>
                <a:gd name="connsiteY78" fmla="*/ 3116 h 10000"/>
                <a:gd name="connsiteX79" fmla="*/ 1488 w 10000"/>
                <a:gd name="connsiteY79" fmla="*/ 3730 h 10000"/>
                <a:gd name="connsiteX80" fmla="*/ 1214 w 10000"/>
                <a:gd name="connsiteY80" fmla="*/ 4386 h 10000"/>
                <a:gd name="connsiteX81" fmla="*/ 955 w 10000"/>
                <a:gd name="connsiteY81" fmla="*/ 5062 h 10000"/>
                <a:gd name="connsiteX82" fmla="*/ 710 w 10000"/>
                <a:gd name="connsiteY82" fmla="*/ 5737 h 10000"/>
                <a:gd name="connsiteX83" fmla="*/ 466 w 10000"/>
                <a:gd name="connsiteY83" fmla="*/ 6455 h 10000"/>
                <a:gd name="connsiteX84" fmla="*/ 0 w 10000"/>
                <a:gd name="connsiteY8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10000 w 10000"/>
                <a:gd name="connsiteY41" fmla="*/ 7110 h 10000"/>
                <a:gd name="connsiteX42" fmla="*/ 9727 w 10000"/>
                <a:gd name="connsiteY42" fmla="*/ 6230 h 10000"/>
                <a:gd name="connsiteX43" fmla="*/ 9427 w 10000"/>
                <a:gd name="connsiteY43" fmla="*/ 5349 h 10000"/>
                <a:gd name="connsiteX44" fmla="*/ 9127 w 10000"/>
                <a:gd name="connsiteY44" fmla="*/ 4528 h 10000"/>
                <a:gd name="connsiteX45" fmla="*/ 8787 w 10000"/>
                <a:gd name="connsiteY45" fmla="*/ 3730 h 10000"/>
                <a:gd name="connsiteX46" fmla="*/ 8620 w 10000"/>
                <a:gd name="connsiteY46" fmla="*/ 3340 h 10000"/>
                <a:gd name="connsiteX47" fmla="*/ 8444 w 10000"/>
                <a:gd name="connsiteY47" fmla="*/ 2972 h 10000"/>
                <a:gd name="connsiteX48" fmla="*/ 8266 w 10000"/>
                <a:gd name="connsiteY48" fmla="*/ 2602 h 10000"/>
                <a:gd name="connsiteX49" fmla="*/ 8077 w 10000"/>
                <a:gd name="connsiteY49" fmla="*/ 2252 h 10000"/>
                <a:gd name="connsiteX50" fmla="*/ 7886 w 10000"/>
                <a:gd name="connsiteY50" fmla="*/ 1925 h 10000"/>
                <a:gd name="connsiteX51" fmla="*/ 7681 w 10000"/>
                <a:gd name="connsiteY51" fmla="*/ 1641 h 10000"/>
                <a:gd name="connsiteX52" fmla="*/ 7462 w 10000"/>
                <a:gd name="connsiteY52" fmla="*/ 1334 h 10000"/>
                <a:gd name="connsiteX53" fmla="*/ 7258 w 10000"/>
                <a:gd name="connsiteY53" fmla="*/ 1086 h 10000"/>
                <a:gd name="connsiteX54" fmla="*/ 7026 w 10000"/>
                <a:gd name="connsiteY54" fmla="*/ 863 h 10000"/>
                <a:gd name="connsiteX55" fmla="*/ 6793 w 10000"/>
                <a:gd name="connsiteY55" fmla="*/ 656 h 10000"/>
                <a:gd name="connsiteX56" fmla="*/ 6548 w 10000"/>
                <a:gd name="connsiteY56" fmla="*/ 470 h 10000"/>
                <a:gd name="connsiteX57" fmla="*/ 6303 w 10000"/>
                <a:gd name="connsiteY57" fmla="*/ 307 h 10000"/>
                <a:gd name="connsiteX58" fmla="*/ 6044 w 10000"/>
                <a:gd name="connsiteY58" fmla="*/ 184 h 10000"/>
                <a:gd name="connsiteX59" fmla="*/ 5769 w 10000"/>
                <a:gd name="connsiteY59" fmla="*/ 101 h 10000"/>
                <a:gd name="connsiteX60" fmla="*/ 5484 w 10000"/>
                <a:gd name="connsiteY60" fmla="*/ 21 h 10000"/>
                <a:gd name="connsiteX61" fmla="*/ 5197 w 10000"/>
                <a:gd name="connsiteY61" fmla="*/ 0 h 10000"/>
                <a:gd name="connsiteX62" fmla="*/ 4951 w 10000"/>
                <a:gd name="connsiteY62" fmla="*/ 21 h 10000"/>
                <a:gd name="connsiteX63" fmla="*/ 4721 w 10000"/>
                <a:gd name="connsiteY63" fmla="*/ 61 h 10000"/>
                <a:gd name="connsiteX64" fmla="*/ 4489 w 10000"/>
                <a:gd name="connsiteY64" fmla="*/ 124 h 10000"/>
                <a:gd name="connsiteX65" fmla="*/ 4285 w 10000"/>
                <a:gd name="connsiteY65" fmla="*/ 184 h 10000"/>
                <a:gd name="connsiteX66" fmla="*/ 4065 w 10000"/>
                <a:gd name="connsiteY66" fmla="*/ 285 h 10000"/>
                <a:gd name="connsiteX67" fmla="*/ 3846 w 10000"/>
                <a:gd name="connsiteY67" fmla="*/ 388 h 10000"/>
                <a:gd name="connsiteX68" fmla="*/ 3657 w 10000"/>
                <a:gd name="connsiteY68" fmla="*/ 532 h 10000"/>
                <a:gd name="connsiteX69" fmla="*/ 3451 w 10000"/>
                <a:gd name="connsiteY69" fmla="*/ 698 h 10000"/>
                <a:gd name="connsiteX70" fmla="*/ 3275 w 10000"/>
                <a:gd name="connsiteY70" fmla="*/ 881 h 10000"/>
                <a:gd name="connsiteX71" fmla="*/ 3083 w 10000"/>
                <a:gd name="connsiteY71" fmla="*/ 1065 h 10000"/>
                <a:gd name="connsiteX72" fmla="*/ 2906 w 10000"/>
                <a:gd name="connsiteY72" fmla="*/ 1271 h 10000"/>
                <a:gd name="connsiteX73" fmla="*/ 2728 w 10000"/>
                <a:gd name="connsiteY73" fmla="*/ 1497 h 10000"/>
                <a:gd name="connsiteX74" fmla="*/ 2565 w 10000"/>
                <a:gd name="connsiteY74" fmla="*/ 1720 h 10000"/>
                <a:gd name="connsiteX75" fmla="*/ 2387 w 10000"/>
                <a:gd name="connsiteY75" fmla="*/ 1989 h 10000"/>
                <a:gd name="connsiteX76" fmla="*/ 2074 w 10000"/>
                <a:gd name="connsiteY76" fmla="*/ 2540 h 10000"/>
                <a:gd name="connsiteX77" fmla="*/ 1774 w 10000"/>
                <a:gd name="connsiteY77" fmla="*/ 3116 h 10000"/>
                <a:gd name="connsiteX78" fmla="*/ 1488 w 10000"/>
                <a:gd name="connsiteY78" fmla="*/ 3730 h 10000"/>
                <a:gd name="connsiteX79" fmla="*/ 1214 w 10000"/>
                <a:gd name="connsiteY79" fmla="*/ 4386 h 10000"/>
                <a:gd name="connsiteX80" fmla="*/ 955 w 10000"/>
                <a:gd name="connsiteY80" fmla="*/ 5062 h 10000"/>
                <a:gd name="connsiteX81" fmla="*/ 710 w 10000"/>
                <a:gd name="connsiteY81" fmla="*/ 5737 h 10000"/>
                <a:gd name="connsiteX82" fmla="*/ 466 w 10000"/>
                <a:gd name="connsiteY82" fmla="*/ 6455 h 10000"/>
                <a:gd name="connsiteX83" fmla="*/ 0 w 10000"/>
                <a:gd name="connsiteY83" fmla="*/ 7890 h 10000"/>
                <a:gd name="connsiteX0" fmla="*/ 0 w 9727"/>
                <a:gd name="connsiteY0" fmla="*/ 7890 h 10000"/>
                <a:gd name="connsiteX1" fmla="*/ 0 w 9727"/>
                <a:gd name="connsiteY1" fmla="*/ 7890 h 10000"/>
                <a:gd name="connsiteX2" fmla="*/ 341 w 9727"/>
                <a:gd name="connsiteY2" fmla="*/ 8955 h 10000"/>
                <a:gd name="connsiteX3" fmla="*/ 656 w 9727"/>
                <a:gd name="connsiteY3" fmla="*/ 10000 h 10000"/>
                <a:gd name="connsiteX4" fmla="*/ 969 w 9727"/>
                <a:gd name="connsiteY4" fmla="*/ 9222 h 10000"/>
                <a:gd name="connsiteX5" fmla="*/ 1255 w 9727"/>
                <a:gd name="connsiteY5" fmla="*/ 8403 h 10000"/>
                <a:gd name="connsiteX6" fmla="*/ 1555 w 9727"/>
                <a:gd name="connsiteY6" fmla="*/ 7602 h 10000"/>
                <a:gd name="connsiteX7" fmla="*/ 1814 w 9727"/>
                <a:gd name="connsiteY7" fmla="*/ 6782 h 10000"/>
                <a:gd name="connsiteX8" fmla="*/ 2333 w 9727"/>
                <a:gd name="connsiteY8" fmla="*/ 5165 h 10000"/>
                <a:gd name="connsiteX9" fmla="*/ 2593 w 9727"/>
                <a:gd name="connsiteY9" fmla="*/ 4386 h 10000"/>
                <a:gd name="connsiteX10" fmla="*/ 2838 w 9727"/>
                <a:gd name="connsiteY10" fmla="*/ 3647 h 10000"/>
                <a:gd name="connsiteX11" fmla="*/ 3096 w 9727"/>
                <a:gd name="connsiteY11" fmla="*/ 2972 h 10000"/>
                <a:gd name="connsiteX12" fmla="*/ 3355 w 9727"/>
                <a:gd name="connsiteY12" fmla="*/ 2357 h 10000"/>
                <a:gd name="connsiteX13" fmla="*/ 3492 w 9727"/>
                <a:gd name="connsiteY13" fmla="*/ 2048 h 10000"/>
                <a:gd name="connsiteX14" fmla="*/ 3629 w 9727"/>
                <a:gd name="connsiteY14" fmla="*/ 1803 h 10000"/>
                <a:gd name="connsiteX15" fmla="*/ 3779 w 9727"/>
                <a:gd name="connsiteY15" fmla="*/ 1536 h 10000"/>
                <a:gd name="connsiteX16" fmla="*/ 3915 w 9727"/>
                <a:gd name="connsiteY16" fmla="*/ 1312 h 10000"/>
                <a:gd name="connsiteX17" fmla="*/ 4065 w 9727"/>
                <a:gd name="connsiteY17" fmla="*/ 1109 h 10000"/>
                <a:gd name="connsiteX18" fmla="*/ 4216 w 9727"/>
                <a:gd name="connsiteY18" fmla="*/ 922 h 10000"/>
                <a:gd name="connsiteX19" fmla="*/ 4365 w 9727"/>
                <a:gd name="connsiteY19" fmla="*/ 758 h 10000"/>
                <a:gd name="connsiteX20" fmla="*/ 4530 w 9727"/>
                <a:gd name="connsiteY20" fmla="*/ 634 h 10000"/>
                <a:gd name="connsiteX21" fmla="*/ 4680 w 9727"/>
                <a:gd name="connsiteY21" fmla="*/ 512 h 10000"/>
                <a:gd name="connsiteX22" fmla="*/ 4843 w 9727"/>
                <a:gd name="connsiteY22" fmla="*/ 450 h 10000"/>
                <a:gd name="connsiteX23" fmla="*/ 5019 w 9727"/>
                <a:gd name="connsiteY23" fmla="*/ 388 h 10000"/>
                <a:gd name="connsiteX24" fmla="*/ 5197 w 9727"/>
                <a:gd name="connsiteY24" fmla="*/ 388 h 10000"/>
                <a:gd name="connsiteX25" fmla="*/ 5415 w 9727"/>
                <a:gd name="connsiteY25" fmla="*/ 410 h 10000"/>
                <a:gd name="connsiteX26" fmla="*/ 5633 w 9727"/>
                <a:gd name="connsiteY26" fmla="*/ 492 h 10000"/>
                <a:gd name="connsiteX27" fmla="*/ 5825 w 9727"/>
                <a:gd name="connsiteY27" fmla="*/ 634 h 10000"/>
                <a:gd name="connsiteX28" fmla="*/ 6031 w 9727"/>
                <a:gd name="connsiteY28" fmla="*/ 780 h 10000"/>
                <a:gd name="connsiteX29" fmla="*/ 6206 w 9727"/>
                <a:gd name="connsiteY29" fmla="*/ 985 h 10000"/>
                <a:gd name="connsiteX30" fmla="*/ 6398 w 9727"/>
                <a:gd name="connsiteY30" fmla="*/ 1250 h 10000"/>
                <a:gd name="connsiteX31" fmla="*/ 6562 w 9727"/>
                <a:gd name="connsiteY31" fmla="*/ 1536 h 10000"/>
                <a:gd name="connsiteX32" fmla="*/ 6753 w 9727"/>
                <a:gd name="connsiteY32" fmla="*/ 1864 h 10000"/>
                <a:gd name="connsiteX33" fmla="*/ 6904 w 9727"/>
                <a:gd name="connsiteY33" fmla="*/ 2213 h 10000"/>
                <a:gd name="connsiteX34" fmla="*/ 7067 w 9727"/>
                <a:gd name="connsiteY34" fmla="*/ 2602 h 10000"/>
                <a:gd name="connsiteX35" fmla="*/ 7216 w 9727"/>
                <a:gd name="connsiteY35" fmla="*/ 2990 h 10000"/>
                <a:gd name="connsiteX36" fmla="*/ 7393 w 9727"/>
                <a:gd name="connsiteY36" fmla="*/ 3424 h 10000"/>
                <a:gd name="connsiteX37" fmla="*/ 7694 w 9727"/>
                <a:gd name="connsiteY37" fmla="*/ 4344 h 10000"/>
                <a:gd name="connsiteX38" fmla="*/ 8007 w 9727"/>
                <a:gd name="connsiteY38" fmla="*/ 5328 h 10000"/>
                <a:gd name="connsiteX39" fmla="*/ 8635 w 9727"/>
                <a:gd name="connsiteY39" fmla="*/ 7398 h 10000"/>
                <a:gd name="connsiteX40" fmla="*/ 8977 w 9727"/>
                <a:gd name="connsiteY40" fmla="*/ 8464 h 10000"/>
                <a:gd name="connsiteX41" fmla="*/ 9727 w 9727"/>
                <a:gd name="connsiteY41" fmla="*/ 6230 h 10000"/>
                <a:gd name="connsiteX42" fmla="*/ 9427 w 9727"/>
                <a:gd name="connsiteY42" fmla="*/ 5349 h 10000"/>
                <a:gd name="connsiteX43" fmla="*/ 9127 w 9727"/>
                <a:gd name="connsiteY43" fmla="*/ 4528 h 10000"/>
                <a:gd name="connsiteX44" fmla="*/ 8787 w 9727"/>
                <a:gd name="connsiteY44" fmla="*/ 3730 h 10000"/>
                <a:gd name="connsiteX45" fmla="*/ 8620 w 9727"/>
                <a:gd name="connsiteY45" fmla="*/ 3340 h 10000"/>
                <a:gd name="connsiteX46" fmla="*/ 8444 w 9727"/>
                <a:gd name="connsiteY46" fmla="*/ 2972 h 10000"/>
                <a:gd name="connsiteX47" fmla="*/ 8266 w 9727"/>
                <a:gd name="connsiteY47" fmla="*/ 2602 h 10000"/>
                <a:gd name="connsiteX48" fmla="*/ 8077 w 9727"/>
                <a:gd name="connsiteY48" fmla="*/ 2252 h 10000"/>
                <a:gd name="connsiteX49" fmla="*/ 7886 w 9727"/>
                <a:gd name="connsiteY49" fmla="*/ 1925 h 10000"/>
                <a:gd name="connsiteX50" fmla="*/ 7681 w 9727"/>
                <a:gd name="connsiteY50" fmla="*/ 1641 h 10000"/>
                <a:gd name="connsiteX51" fmla="*/ 7462 w 9727"/>
                <a:gd name="connsiteY51" fmla="*/ 1334 h 10000"/>
                <a:gd name="connsiteX52" fmla="*/ 7258 w 9727"/>
                <a:gd name="connsiteY52" fmla="*/ 1086 h 10000"/>
                <a:gd name="connsiteX53" fmla="*/ 7026 w 9727"/>
                <a:gd name="connsiteY53" fmla="*/ 863 h 10000"/>
                <a:gd name="connsiteX54" fmla="*/ 6793 w 9727"/>
                <a:gd name="connsiteY54" fmla="*/ 656 h 10000"/>
                <a:gd name="connsiteX55" fmla="*/ 6548 w 9727"/>
                <a:gd name="connsiteY55" fmla="*/ 470 h 10000"/>
                <a:gd name="connsiteX56" fmla="*/ 6303 w 9727"/>
                <a:gd name="connsiteY56" fmla="*/ 307 h 10000"/>
                <a:gd name="connsiteX57" fmla="*/ 6044 w 9727"/>
                <a:gd name="connsiteY57" fmla="*/ 184 h 10000"/>
                <a:gd name="connsiteX58" fmla="*/ 5769 w 9727"/>
                <a:gd name="connsiteY58" fmla="*/ 101 h 10000"/>
                <a:gd name="connsiteX59" fmla="*/ 5484 w 9727"/>
                <a:gd name="connsiteY59" fmla="*/ 21 h 10000"/>
                <a:gd name="connsiteX60" fmla="*/ 5197 w 9727"/>
                <a:gd name="connsiteY60" fmla="*/ 0 h 10000"/>
                <a:gd name="connsiteX61" fmla="*/ 4951 w 9727"/>
                <a:gd name="connsiteY61" fmla="*/ 21 h 10000"/>
                <a:gd name="connsiteX62" fmla="*/ 4721 w 9727"/>
                <a:gd name="connsiteY62" fmla="*/ 61 h 10000"/>
                <a:gd name="connsiteX63" fmla="*/ 4489 w 9727"/>
                <a:gd name="connsiteY63" fmla="*/ 124 h 10000"/>
                <a:gd name="connsiteX64" fmla="*/ 4285 w 9727"/>
                <a:gd name="connsiteY64" fmla="*/ 184 h 10000"/>
                <a:gd name="connsiteX65" fmla="*/ 4065 w 9727"/>
                <a:gd name="connsiteY65" fmla="*/ 285 h 10000"/>
                <a:gd name="connsiteX66" fmla="*/ 3846 w 9727"/>
                <a:gd name="connsiteY66" fmla="*/ 388 h 10000"/>
                <a:gd name="connsiteX67" fmla="*/ 3657 w 9727"/>
                <a:gd name="connsiteY67" fmla="*/ 532 h 10000"/>
                <a:gd name="connsiteX68" fmla="*/ 3451 w 9727"/>
                <a:gd name="connsiteY68" fmla="*/ 698 h 10000"/>
                <a:gd name="connsiteX69" fmla="*/ 3275 w 9727"/>
                <a:gd name="connsiteY69" fmla="*/ 881 h 10000"/>
                <a:gd name="connsiteX70" fmla="*/ 3083 w 9727"/>
                <a:gd name="connsiteY70" fmla="*/ 1065 h 10000"/>
                <a:gd name="connsiteX71" fmla="*/ 2906 w 9727"/>
                <a:gd name="connsiteY71" fmla="*/ 1271 h 10000"/>
                <a:gd name="connsiteX72" fmla="*/ 2728 w 9727"/>
                <a:gd name="connsiteY72" fmla="*/ 1497 h 10000"/>
                <a:gd name="connsiteX73" fmla="*/ 2565 w 9727"/>
                <a:gd name="connsiteY73" fmla="*/ 1720 h 10000"/>
                <a:gd name="connsiteX74" fmla="*/ 2387 w 9727"/>
                <a:gd name="connsiteY74" fmla="*/ 1989 h 10000"/>
                <a:gd name="connsiteX75" fmla="*/ 2074 w 9727"/>
                <a:gd name="connsiteY75" fmla="*/ 2540 h 10000"/>
                <a:gd name="connsiteX76" fmla="*/ 1774 w 9727"/>
                <a:gd name="connsiteY76" fmla="*/ 3116 h 10000"/>
                <a:gd name="connsiteX77" fmla="*/ 1488 w 9727"/>
                <a:gd name="connsiteY77" fmla="*/ 3730 h 10000"/>
                <a:gd name="connsiteX78" fmla="*/ 1214 w 9727"/>
                <a:gd name="connsiteY78" fmla="*/ 4386 h 10000"/>
                <a:gd name="connsiteX79" fmla="*/ 955 w 9727"/>
                <a:gd name="connsiteY79" fmla="*/ 5062 h 10000"/>
                <a:gd name="connsiteX80" fmla="*/ 710 w 9727"/>
                <a:gd name="connsiteY80" fmla="*/ 5737 h 10000"/>
                <a:gd name="connsiteX81" fmla="*/ 466 w 9727"/>
                <a:gd name="connsiteY81" fmla="*/ 6455 h 10000"/>
                <a:gd name="connsiteX82" fmla="*/ 0 w 9727"/>
                <a:gd name="connsiteY82" fmla="*/ 7890 h 10000"/>
                <a:gd name="connsiteX0" fmla="*/ 0 w 9692"/>
                <a:gd name="connsiteY0" fmla="*/ 7890 h 10000"/>
                <a:gd name="connsiteX1" fmla="*/ 0 w 9692"/>
                <a:gd name="connsiteY1" fmla="*/ 7890 h 10000"/>
                <a:gd name="connsiteX2" fmla="*/ 351 w 9692"/>
                <a:gd name="connsiteY2" fmla="*/ 8955 h 10000"/>
                <a:gd name="connsiteX3" fmla="*/ 674 w 9692"/>
                <a:gd name="connsiteY3" fmla="*/ 10000 h 10000"/>
                <a:gd name="connsiteX4" fmla="*/ 996 w 9692"/>
                <a:gd name="connsiteY4" fmla="*/ 9222 h 10000"/>
                <a:gd name="connsiteX5" fmla="*/ 1290 w 9692"/>
                <a:gd name="connsiteY5" fmla="*/ 8403 h 10000"/>
                <a:gd name="connsiteX6" fmla="*/ 1599 w 9692"/>
                <a:gd name="connsiteY6" fmla="*/ 7602 h 10000"/>
                <a:gd name="connsiteX7" fmla="*/ 1865 w 9692"/>
                <a:gd name="connsiteY7" fmla="*/ 6782 h 10000"/>
                <a:gd name="connsiteX8" fmla="*/ 2398 w 9692"/>
                <a:gd name="connsiteY8" fmla="*/ 5165 h 10000"/>
                <a:gd name="connsiteX9" fmla="*/ 2666 w 9692"/>
                <a:gd name="connsiteY9" fmla="*/ 4386 h 10000"/>
                <a:gd name="connsiteX10" fmla="*/ 2918 w 9692"/>
                <a:gd name="connsiteY10" fmla="*/ 3647 h 10000"/>
                <a:gd name="connsiteX11" fmla="*/ 3183 w 9692"/>
                <a:gd name="connsiteY11" fmla="*/ 2972 h 10000"/>
                <a:gd name="connsiteX12" fmla="*/ 3449 w 9692"/>
                <a:gd name="connsiteY12" fmla="*/ 2357 h 10000"/>
                <a:gd name="connsiteX13" fmla="*/ 3590 w 9692"/>
                <a:gd name="connsiteY13" fmla="*/ 2048 h 10000"/>
                <a:gd name="connsiteX14" fmla="*/ 3731 w 9692"/>
                <a:gd name="connsiteY14" fmla="*/ 1803 h 10000"/>
                <a:gd name="connsiteX15" fmla="*/ 3885 w 9692"/>
                <a:gd name="connsiteY15" fmla="*/ 1536 h 10000"/>
                <a:gd name="connsiteX16" fmla="*/ 4025 w 9692"/>
                <a:gd name="connsiteY16" fmla="*/ 1312 h 10000"/>
                <a:gd name="connsiteX17" fmla="*/ 4179 w 9692"/>
                <a:gd name="connsiteY17" fmla="*/ 1109 h 10000"/>
                <a:gd name="connsiteX18" fmla="*/ 4334 w 9692"/>
                <a:gd name="connsiteY18" fmla="*/ 922 h 10000"/>
                <a:gd name="connsiteX19" fmla="*/ 4488 w 9692"/>
                <a:gd name="connsiteY19" fmla="*/ 758 h 10000"/>
                <a:gd name="connsiteX20" fmla="*/ 4657 w 9692"/>
                <a:gd name="connsiteY20" fmla="*/ 634 h 10000"/>
                <a:gd name="connsiteX21" fmla="*/ 4811 w 9692"/>
                <a:gd name="connsiteY21" fmla="*/ 512 h 10000"/>
                <a:gd name="connsiteX22" fmla="*/ 4979 w 9692"/>
                <a:gd name="connsiteY22" fmla="*/ 450 h 10000"/>
                <a:gd name="connsiteX23" fmla="*/ 5160 w 9692"/>
                <a:gd name="connsiteY23" fmla="*/ 388 h 10000"/>
                <a:gd name="connsiteX24" fmla="*/ 5343 w 9692"/>
                <a:gd name="connsiteY24" fmla="*/ 388 h 10000"/>
                <a:gd name="connsiteX25" fmla="*/ 5567 w 9692"/>
                <a:gd name="connsiteY25" fmla="*/ 410 h 10000"/>
                <a:gd name="connsiteX26" fmla="*/ 5791 w 9692"/>
                <a:gd name="connsiteY26" fmla="*/ 492 h 10000"/>
                <a:gd name="connsiteX27" fmla="*/ 5988 w 9692"/>
                <a:gd name="connsiteY27" fmla="*/ 634 h 10000"/>
                <a:gd name="connsiteX28" fmla="*/ 6200 w 9692"/>
                <a:gd name="connsiteY28" fmla="*/ 780 h 10000"/>
                <a:gd name="connsiteX29" fmla="*/ 6380 w 9692"/>
                <a:gd name="connsiteY29" fmla="*/ 985 h 10000"/>
                <a:gd name="connsiteX30" fmla="*/ 6578 w 9692"/>
                <a:gd name="connsiteY30" fmla="*/ 1250 h 10000"/>
                <a:gd name="connsiteX31" fmla="*/ 6746 w 9692"/>
                <a:gd name="connsiteY31" fmla="*/ 1536 h 10000"/>
                <a:gd name="connsiteX32" fmla="*/ 6943 w 9692"/>
                <a:gd name="connsiteY32" fmla="*/ 1864 h 10000"/>
                <a:gd name="connsiteX33" fmla="*/ 7098 w 9692"/>
                <a:gd name="connsiteY33" fmla="*/ 2213 h 10000"/>
                <a:gd name="connsiteX34" fmla="*/ 7265 w 9692"/>
                <a:gd name="connsiteY34" fmla="*/ 2602 h 10000"/>
                <a:gd name="connsiteX35" fmla="*/ 7419 w 9692"/>
                <a:gd name="connsiteY35" fmla="*/ 2990 h 10000"/>
                <a:gd name="connsiteX36" fmla="*/ 7600 w 9692"/>
                <a:gd name="connsiteY36" fmla="*/ 3424 h 10000"/>
                <a:gd name="connsiteX37" fmla="*/ 7910 w 9692"/>
                <a:gd name="connsiteY37" fmla="*/ 4344 h 10000"/>
                <a:gd name="connsiteX38" fmla="*/ 8232 w 9692"/>
                <a:gd name="connsiteY38" fmla="*/ 5328 h 10000"/>
                <a:gd name="connsiteX39" fmla="*/ 8877 w 9692"/>
                <a:gd name="connsiteY39" fmla="*/ 7398 h 10000"/>
                <a:gd name="connsiteX40" fmla="*/ 9229 w 9692"/>
                <a:gd name="connsiteY40" fmla="*/ 8464 h 10000"/>
                <a:gd name="connsiteX41" fmla="*/ 9692 w 9692"/>
                <a:gd name="connsiteY41" fmla="*/ 5349 h 10000"/>
                <a:gd name="connsiteX42" fmla="*/ 9383 w 9692"/>
                <a:gd name="connsiteY42" fmla="*/ 4528 h 10000"/>
                <a:gd name="connsiteX43" fmla="*/ 9034 w 9692"/>
                <a:gd name="connsiteY43" fmla="*/ 3730 h 10000"/>
                <a:gd name="connsiteX44" fmla="*/ 8862 w 9692"/>
                <a:gd name="connsiteY44" fmla="*/ 3340 h 10000"/>
                <a:gd name="connsiteX45" fmla="*/ 8681 w 9692"/>
                <a:gd name="connsiteY45" fmla="*/ 2972 h 10000"/>
                <a:gd name="connsiteX46" fmla="*/ 8498 w 9692"/>
                <a:gd name="connsiteY46" fmla="*/ 2602 h 10000"/>
                <a:gd name="connsiteX47" fmla="*/ 8304 w 9692"/>
                <a:gd name="connsiteY47" fmla="*/ 2252 h 10000"/>
                <a:gd name="connsiteX48" fmla="*/ 8107 w 9692"/>
                <a:gd name="connsiteY48" fmla="*/ 1925 h 10000"/>
                <a:gd name="connsiteX49" fmla="*/ 7897 w 9692"/>
                <a:gd name="connsiteY49" fmla="*/ 1641 h 10000"/>
                <a:gd name="connsiteX50" fmla="*/ 7671 w 9692"/>
                <a:gd name="connsiteY50" fmla="*/ 1334 h 10000"/>
                <a:gd name="connsiteX51" fmla="*/ 7462 w 9692"/>
                <a:gd name="connsiteY51" fmla="*/ 1086 h 10000"/>
                <a:gd name="connsiteX52" fmla="*/ 7223 w 9692"/>
                <a:gd name="connsiteY52" fmla="*/ 863 h 10000"/>
                <a:gd name="connsiteX53" fmla="*/ 6984 w 9692"/>
                <a:gd name="connsiteY53" fmla="*/ 656 h 10000"/>
                <a:gd name="connsiteX54" fmla="*/ 6732 w 9692"/>
                <a:gd name="connsiteY54" fmla="*/ 470 h 10000"/>
                <a:gd name="connsiteX55" fmla="*/ 6480 w 9692"/>
                <a:gd name="connsiteY55" fmla="*/ 307 h 10000"/>
                <a:gd name="connsiteX56" fmla="*/ 6214 w 9692"/>
                <a:gd name="connsiteY56" fmla="*/ 184 h 10000"/>
                <a:gd name="connsiteX57" fmla="*/ 5931 w 9692"/>
                <a:gd name="connsiteY57" fmla="*/ 101 h 10000"/>
                <a:gd name="connsiteX58" fmla="*/ 5638 w 9692"/>
                <a:gd name="connsiteY58" fmla="*/ 21 h 10000"/>
                <a:gd name="connsiteX59" fmla="*/ 5343 w 9692"/>
                <a:gd name="connsiteY59" fmla="*/ 0 h 10000"/>
                <a:gd name="connsiteX60" fmla="*/ 5090 w 9692"/>
                <a:gd name="connsiteY60" fmla="*/ 21 h 10000"/>
                <a:gd name="connsiteX61" fmla="*/ 4854 w 9692"/>
                <a:gd name="connsiteY61" fmla="*/ 61 h 10000"/>
                <a:gd name="connsiteX62" fmla="*/ 4615 w 9692"/>
                <a:gd name="connsiteY62" fmla="*/ 124 h 10000"/>
                <a:gd name="connsiteX63" fmla="*/ 4405 w 9692"/>
                <a:gd name="connsiteY63" fmla="*/ 184 h 10000"/>
                <a:gd name="connsiteX64" fmla="*/ 4179 w 9692"/>
                <a:gd name="connsiteY64" fmla="*/ 285 h 10000"/>
                <a:gd name="connsiteX65" fmla="*/ 3954 w 9692"/>
                <a:gd name="connsiteY65" fmla="*/ 388 h 10000"/>
                <a:gd name="connsiteX66" fmla="*/ 3760 w 9692"/>
                <a:gd name="connsiteY66" fmla="*/ 532 h 10000"/>
                <a:gd name="connsiteX67" fmla="*/ 3548 w 9692"/>
                <a:gd name="connsiteY67" fmla="*/ 698 h 10000"/>
                <a:gd name="connsiteX68" fmla="*/ 3367 w 9692"/>
                <a:gd name="connsiteY68" fmla="*/ 881 h 10000"/>
                <a:gd name="connsiteX69" fmla="*/ 3170 w 9692"/>
                <a:gd name="connsiteY69" fmla="*/ 1065 h 10000"/>
                <a:gd name="connsiteX70" fmla="*/ 2988 w 9692"/>
                <a:gd name="connsiteY70" fmla="*/ 1271 h 10000"/>
                <a:gd name="connsiteX71" fmla="*/ 2805 w 9692"/>
                <a:gd name="connsiteY71" fmla="*/ 1497 h 10000"/>
                <a:gd name="connsiteX72" fmla="*/ 2637 w 9692"/>
                <a:gd name="connsiteY72" fmla="*/ 1720 h 10000"/>
                <a:gd name="connsiteX73" fmla="*/ 2454 w 9692"/>
                <a:gd name="connsiteY73" fmla="*/ 1989 h 10000"/>
                <a:gd name="connsiteX74" fmla="*/ 2132 w 9692"/>
                <a:gd name="connsiteY74" fmla="*/ 2540 h 10000"/>
                <a:gd name="connsiteX75" fmla="*/ 1824 w 9692"/>
                <a:gd name="connsiteY75" fmla="*/ 3116 h 10000"/>
                <a:gd name="connsiteX76" fmla="*/ 1530 w 9692"/>
                <a:gd name="connsiteY76" fmla="*/ 3730 h 10000"/>
                <a:gd name="connsiteX77" fmla="*/ 1248 w 9692"/>
                <a:gd name="connsiteY77" fmla="*/ 4386 h 10000"/>
                <a:gd name="connsiteX78" fmla="*/ 982 w 9692"/>
                <a:gd name="connsiteY78" fmla="*/ 5062 h 10000"/>
                <a:gd name="connsiteX79" fmla="*/ 730 w 9692"/>
                <a:gd name="connsiteY79" fmla="*/ 5737 h 10000"/>
                <a:gd name="connsiteX80" fmla="*/ 479 w 9692"/>
                <a:gd name="connsiteY80" fmla="*/ 6455 h 10000"/>
                <a:gd name="connsiteX81" fmla="*/ 0 w 9692"/>
                <a:gd name="connsiteY81" fmla="*/ 7890 h 10000"/>
                <a:gd name="connsiteX0" fmla="*/ 0 w 9687"/>
                <a:gd name="connsiteY0" fmla="*/ 7890 h 10000"/>
                <a:gd name="connsiteX1" fmla="*/ 0 w 9687"/>
                <a:gd name="connsiteY1" fmla="*/ 7890 h 10000"/>
                <a:gd name="connsiteX2" fmla="*/ 362 w 9687"/>
                <a:gd name="connsiteY2" fmla="*/ 8955 h 10000"/>
                <a:gd name="connsiteX3" fmla="*/ 695 w 9687"/>
                <a:gd name="connsiteY3" fmla="*/ 10000 h 10000"/>
                <a:gd name="connsiteX4" fmla="*/ 1028 w 9687"/>
                <a:gd name="connsiteY4" fmla="*/ 9222 h 10000"/>
                <a:gd name="connsiteX5" fmla="*/ 1331 w 9687"/>
                <a:gd name="connsiteY5" fmla="*/ 8403 h 10000"/>
                <a:gd name="connsiteX6" fmla="*/ 1650 w 9687"/>
                <a:gd name="connsiteY6" fmla="*/ 7602 h 10000"/>
                <a:gd name="connsiteX7" fmla="*/ 1924 w 9687"/>
                <a:gd name="connsiteY7" fmla="*/ 6782 h 10000"/>
                <a:gd name="connsiteX8" fmla="*/ 2474 w 9687"/>
                <a:gd name="connsiteY8" fmla="*/ 5165 h 10000"/>
                <a:gd name="connsiteX9" fmla="*/ 2751 w 9687"/>
                <a:gd name="connsiteY9" fmla="*/ 4386 h 10000"/>
                <a:gd name="connsiteX10" fmla="*/ 3011 w 9687"/>
                <a:gd name="connsiteY10" fmla="*/ 3647 h 10000"/>
                <a:gd name="connsiteX11" fmla="*/ 3284 w 9687"/>
                <a:gd name="connsiteY11" fmla="*/ 2972 h 10000"/>
                <a:gd name="connsiteX12" fmla="*/ 3559 w 9687"/>
                <a:gd name="connsiteY12" fmla="*/ 2357 h 10000"/>
                <a:gd name="connsiteX13" fmla="*/ 3704 w 9687"/>
                <a:gd name="connsiteY13" fmla="*/ 2048 h 10000"/>
                <a:gd name="connsiteX14" fmla="*/ 3850 w 9687"/>
                <a:gd name="connsiteY14" fmla="*/ 1803 h 10000"/>
                <a:gd name="connsiteX15" fmla="*/ 4008 w 9687"/>
                <a:gd name="connsiteY15" fmla="*/ 1536 h 10000"/>
                <a:gd name="connsiteX16" fmla="*/ 4153 w 9687"/>
                <a:gd name="connsiteY16" fmla="*/ 1312 h 10000"/>
                <a:gd name="connsiteX17" fmla="*/ 4312 w 9687"/>
                <a:gd name="connsiteY17" fmla="*/ 1109 h 10000"/>
                <a:gd name="connsiteX18" fmla="*/ 4472 w 9687"/>
                <a:gd name="connsiteY18" fmla="*/ 922 h 10000"/>
                <a:gd name="connsiteX19" fmla="*/ 4631 w 9687"/>
                <a:gd name="connsiteY19" fmla="*/ 758 h 10000"/>
                <a:gd name="connsiteX20" fmla="*/ 4805 w 9687"/>
                <a:gd name="connsiteY20" fmla="*/ 634 h 10000"/>
                <a:gd name="connsiteX21" fmla="*/ 4964 w 9687"/>
                <a:gd name="connsiteY21" fmla="*/ 512 h 10000"/>
                <a:gd name="connsiteX22" fmla="*/ 5137 w 9687"/>
                <a:gd name="connsiteY22" fmla="*/ 450 h 10000"/>
                <a:gd name="connsiteX23" fmla="*/ 5324 w 9687"/>
                <a:gd name="connsiteY23" fmla="*/ 388 h 10000"/>
                <a:gd name="connsiteX24" fmla="*/ 5513 w 9687"/>
                <a:gd name="connsiteY24" fmla="*/ 388 h 10000"/>
                <a:gd name="connsiteX25" fmla="*/ 5744 w 9687"/>
                <a:gd name="connsiteY25" fmla="*/ 410 h 10000"/>
                <a:gd name="connsiteX26" fmla="*/ 5975 w 9687"/>
                <a:gd name="connsiteY26" fmla="*/ 492 h 10000"/>
                <a:gd name="connsiteX27" fmla="*/ 6178 w 9687"/>
                <a:gd name="connsiteY27" fmla="*/ 634 h 10000"/>
                <a:gd name="connsiteX28" fmla="*/ 6397 w 9687"/>
                <a:gd name="connsiteY28" fmla="*/ 780 h 10000"/>
                <a:gd name="connsiteX29" fmla="*/ 6583 w 9687"/>
                <a:gd name="connsiteY29" fmla="*/ 985 h 10000"/>
                <a:gd name="connsiteX30" fmla="*/ 6787 w 9687"/>
                <a:gd name="connsiteY30" fmla="*/ 1250 h 10000"/>
                <a:gd name="connsiteX31" fmla="*/ 6960 w 9687"/>
                <a:gd name="connsiteY31" fmla="*/ 1536 h 10000"/>
                <a:gd name="connsiteX32" fmla="*/ 7164 w 9687"/>
                <a:gd name="connsiteY32" fmla="*/ 1864 h 10000"/>
                <a:gd name="connsiteX33" fmla="*/ 7324 w 9687"/>
                <a:gd name="connsiteY33" fmla="*/ 2213 h 10000"/>
                <a:gd name="connsiteX34" fmla="*/ 7496 w 9687"/>
                <a:gd name="connsiteY34" fmla="*/ 2602 h 10000"/>
                <a:gd name="connsiteX35" fmla="*/ 7655 w 9687"/>
                <a:gd name="connsiteY35" fmla="*/ 2990 h 10000"/>
                <a:gd name="connsiteX36" fmla="*/ 7842 w 9687"/>
                <a:gd name="connsiteY36" fmla="*/ 3424 h 10000"/>
                <a:gd name="connsiteX37" fmla="*/ 8161 w 9687"/>
                <a:gd name="connsiteY37" fmla="*/ 4344 h 10000"/>
                <a:gd name="connsiteX38" fmla="*/ 8494 w 9687"/>
                <a:gd name="connsiteY38" fmla="*/ 5328 h 10000"/>
                <a:gd name="connsiteX39" fmla="*/ 9159 w 9687"/>
                <a:gd name="connsiteY39" fmla="*/ 7398 h 10000"/>
                <a:gd name="connsiteX40" fmla="*/ 9522 w 9687"/>
                <a:gd name="connsiteY40" fmla="*/ 8464 h 10000"/>
                <a:gd name="connsiteX41" fmla="*/ 9681 w 9687"/>
                <a:gd name="connsiteY41" fmla="*/ 4528 h 10000"/>
                <a:gd name="connsiteX42" fmla="*/ 9321 w 9687"/>
                <a:gd name="connsiteY42" fmla="*/ 3730 h 10000"/>
                <a:gd name="connsiteX43" fmla="*/ 9144 w 9687"/>
                <a:gd name="connsiteY43" fmla="*/ 3340 h 10000"/>
                <a:gd name="connsiteX44" fmla="*/ 8957 w 9687"/>
                <a:gd name="connsiteY44" fmla="*/ 2972 h 10000"/>
                <a:gd name="connsiteX45" fmla="*/ 8768 w 9687"/>
                <a:gd name="connsiteY45" fmla="*/ 2602 h 10000"/>
                <a:gd name="connsiteX46" fmla="*/ 8568 w 9687"/>
                <a:gd name="connsiteY46" fmla="*/ 2252 h 10000"/>
                <a:gd name="connsiteX47" fmla="*/ 8365 w 9687"/>
                <a:gd name="connsiteY47" fmla="*/ 1925 h 10000"/>
                <a:gd name="connsiteX48" fmla="*/ 8148 w 9687"/>
                <a:gd name="connsiteY48" fmla="*/ 1641 h 10000"/>
                <a:gd name="connsiteX49" fmla="*/ 7915 w 9687"/>
                <a:gd name="connsiteY49" fmla="*/ 1334 h 10000"/>
                <a:gd name="connsiteX50" fmla="*/ 7699 w 9687"/>
                <a:gd name="connsiteY50" fmla="*/ 1086 h 10000"/>
                <a:gd name="connsiteX51" fmla="*/ 7453 w 9687"/>
                <a:gd name="connsiteY51" fmla="*/ 863 h 10000"/>
                <a:gd name="connsiteX52" fmla="*/ 7206 w 9687"/>
                <a:gd name="connsiteY52" fmla="*/ 656 h 10000"/>
                <a:gd name="connsiteX53" fmla="*/ 6946 w 9687"/>
                <a:gd name="connsiteY53" fmla="*/ 470 h 10000"/>
                <a:gd name="connsiteX54" fmla="*/ 6686 w 9687"/>
                <a:gd name="connsiteY54" fmla="*/ 307 h 10000"/>
                <a:gd name="connsiteX55" fmla="*/ 6411 w 9687"/>
                <a:gd name="connsiteY55" fmla="*/ 184 h 10000"/>
                <a:gd name="connsiteX56" fmla="*/ 6119 w 9687"/>
                <a:gd name="connsiteY56" fmla="*/ 101 h 10000"/>
                <a:gd name="connsiteX57" fmla="*/ 5817 w 9687"/>
                <a:gd name="connsiteY57" fmla="*/ 21 h 10000"/>
                <a:gd name="connsiteX58" fmla="*/ 5513 w 9687"/>
                <a:gd name="connsiteY58" fmla="*/ 0 h 10000"/>
                <a:gd name="connsiteX59" fmla="*/ 5252 w 9687"/>
                <a:gd name="connsiteY59" fmla="*/ 21 h 10000"/>
                <a:gd name="connsiteX60" fmla="*/ 5008 w 9687"/>
                <a:gd name="connsiteY60" fmla="*/ 61 h 10000"/>
                <a:gd name="connsiteX61" fmla="*/ 4762 w 9687"/>
                <a:gd name="connsiteY61" fmla="*/ 124 h 10000"/>
                <a:gd name="connsiteX62" fmla="*/ 4545 w 9687"/>
                <a:gd name="connsiteY62" fmla="*/ 184 h 10000"/>
                <a:gd name="connsiteX63" fmla="*/ 4312 w 9687"/>
                <a:gd name="connsiteY63" fmla="*/ 285 h 10000"/>
                <a:gd name="connsiteX64" fmla="*/ 4080 w 9687"/>
                <a:gd name="connsiteY64" fmla="*/ 388 h 10000"/>
                <a:gd name="connsiteX65" fmla="*/ 3879 w 9687"/>
                <a:gd name="connsiteY65" fmla="*/ 532 h 10000"/>
                <a:gd name="connsiteX66" fmla="*/ 3661 w 9687"/>
                <a:gd name="connsiteY66" fmla="*/ 698 h 10000"/>
                <a:gd name="connsiteX67" fmla="*/ 3474 w 9687"/>
                <a:gd name="connsiteY67" fmla="*/ 881 h 10000"/>
                <a:gd name="connsiteX68" fmla="*/ 3271 w 9687"/>
                <a:gd name="connsiteY68" fmla="*/ 1065 h 10000"/>
                <a:gd name="connsiteX69" fmla="*/ 3083 w 9687"/>
                <a:gd name="connsiteY69" fmla="*/ 1271 h 10000"/>
                <a:gd name="connsiteX70" fmla="*/ 2894 w 9687"/>
                <a:gd name="connsiteY70" fmla="*/ 1497 h 10000"/>
                <a:gd name="connsiteX71" fmla="*/ 2721 w 9687"/>
                <a:gd name="connsiteY71" fmla="*/ 1720 h 10000"/>
                <a:gd name="connsiteX72" fmla="*/ 2532 w 9687"/>
                <a:gd name="connsiteY72" fmla="*/ 1989 h 10000"/>
                <a:gd name="connsiteX73" fmla="*/ 2200 w 9687"/>
                <a:gd name="connsiteY73" fmla="*/ 2540 h 10000"/>
                <a:gd name="connsiteX74" fmla="*/ 1882 w 9687"/>
                <a:gd name="connsiteY74" fmla="*/ 3116 h 10000"/>
                <a:gd name="connsiteX75" fmla="*/ 1579 w 9687"/>
                <a:gd name="connsiteY75" fmla="*/ 3730 h 10000"/>
                <a:gd name="connsiteX76" fmla="*/ 1288 w 9687"/>
                <a:gd name="connsiteY76" fmla="*/ 4386 h 10000"/>
                <a:gd name="connsiteX77" fmla="*/ 1013 w 9687"/>
                <a:gd name="connsiteY77" fmla="*/ 5062 h 10000"/>
                <a:gd name="connsiteX78" fmla="*/ 753 w 9687"/>
                <a:gd name="connsiteY78" fmla="*/ 5737 h 10000"/>
                <a:gd name="connsiteX79" fmla="*/ 494 w 9687"/>
                <a:gd name="connsiteY79" fmla="*/ 6455 h 10000"/>
                <a:gd name="connsiteX80" fmla="*/ 0 w 9687"/>
                <a:gd name="connsiteY80" fmla="*/ 7890 h 10000"/>
                <a:gd name="connsiteX0" fmla="*/ 0 w 9994"/>
                <a:gd name="connsiteY0" fmla="*/ 7890 h 10000"/>
                <a:gd name="connsiteX1" fmla="*/ 0 w 9994"/>
                <a:gd name="connsiteY1" fmla="*/ 7890 h 10000"/>
                <a:gd name="connsiteX2" fmla="*/ 374 w 9994"/>
                <a:gd name="connsiteY2" fmla="*/ 8955 h 10000"/>
                <a:gd name="connsiteX3" fmla="*/ 717 w 9994"/>
                <a:gd name="connsiteY3" fmla="*/ 10000 h 10000"/>
                <a:gd name="connsiteX4" fmla="*/ 1061 w 9994"/>
                <a:gd name="connsiteY4" fmla="*/ 9222 h 10000"/>
                <a:gd name="connsiteX5" fmla="*/ 1374 w 9994"/>
                <a:gd name="connsiteY5" fmla="*/ 8403 h 10000"/>
                <a:gd name="connsiteX6" fmla="*/ 1703 w 9994"/>
                <a:gd name="connsiteY6" fmla="*/ 7602 h 10000"/>
                <a:gd name="connsiteX7" fmla="*/ 1986 w 9994"/>
                <a:gd name="connsiteY7" fmla="*/ 6782 h 10000"/>
                <a:gd name="connsiteX8" fmla="*/ 2554 w 9994"/>
                <a:gd name="connsiteY8" fmla="*/ 5165 h 10000"/>
                <a:gd name="connsiteX9" fmla="*/ 2840 w 9994"/>
                <a:gd name="connsiteY9" fmla="*/ 4386 h 10000"/>
                <a:gd name="connsiteX10" fmla="*/ 3108 w 9994"/>
                <a:gd name="connsiteY10" fmla="*/ 3647 h 10000"/>
                <a:gd name="connsiteX11" fmla="*/ 3390 w 9994"/>
                <a:gd name="connsiteY11" fmla="*/ 2972 h 10000"/>
                <a:gd name="connsiteX12" fmla="*/ 3674 w 9994"/>
                <a:gd name="connsiteY12" fmla="*/ 2357 h 10000"/>
                <a:gd name="connsiteX13" fmla="*/ 3824 w 9994"/>
                <a:gd name="connsiteY13" fmla="*/ 2048 h 10000"/>
                <a:gd name="connsiteX14" fmla="*/ 3974 w 9994"/>
                <a:gd name="connsiteY14" fmla="*/ 1803 h 10000"/>
                <a:gd name="connsiteX15" fmla="*/ 4138 w 9994"/>
                <a:gd name="connsiteY15" fmla="*/ 1536 h 10000"/>
                <a:gd name="connsiteX16" fmla="*/ 4287 w 9994"/>
                <a:gd name="connsiteY16" fmla="*/ 1312 h 10000"/>
                <a:gd name="connsiteX17" fmla="*/ 4451 w 9994"/>
                <a:gd name="connsiteY17" fmla="*/ 1109 h 10000"/>
                <a:gd name="connsiteX18" fmla="*/ 4616 w 9994"/>
                <a:gd name="connsiteY18" fmla="*/ 922 h 10000"/>
                <a:gd name="connsiteX19" fmla="*/ 4781 w 9994"/>
                <a:gd name="connsiteY19" fmla="*/ 758 h 10000"/>
                <a:gd name="connsiteX20" fmla="*/ 4960 w 9994"/>
                <a:gd name="connsiteY20" fmla="*/ 634 h 10000"/>
                <a:gd name="connsiteX21" fmla="*/ 5124 w 9994"/>
                <a:gd name="connsiteY21" fmla="*/ 512 h 10000"/>
                <a:gd name="connsiteX22" fmla="*/ 5303 w 9994"/>
                <a:gd name="connsiteY22" fmla="*/ 450 h 10000"/>
                <a:gd name="connsiteX23" fmla="*/ 5496 w 9994"/>
                <a:gd name="connsiteY23" fmla="*/ 388 h 10000"/>
                <a:gd name="connsiteX24" fmla="*/ 5691 w 9994"/>
                <a:gd name="connsiteY24" fmla="*/ 388 h 10000"/>
                <a:gd name="connsiteX25" fmla="*/ 5930 w 9994"/>
                <a:gd name="connsiteY25" fmla="*/ 410 h 10000"/>
                <a:gd name="connsiteX26" fmla="*/ 6168 w 9994"/>
                <a:gd name="connsiteY26" fmla="*/ 492 h 10000"/>
                <a:gd name="connsiteX27" fmla="*/ 6378 w 9994"/>
                <a:gd name="connsiteY27" fmla="*/ 634 h 10000"/>
                <a:gd name="connsiteX28" fmla="*/ 6604 w 9994"/>
                <a:gd name="connsiteY28" fmla="*/ 780 h 10000"/>
                <a:gd name="connsiteX29" fmla="*/ 6796 w 9994"/>
                <a:gd name="connsiteY29" fmla="*/ 985 h 10000"/>
                <a:gd name="connsiteX30" fmla="*/ 7006 w 9994"/>
                <a:gd name="connsiteY30" fmla="*/ 1250 h 10000"/>
                <a:gd name="connsiteX31" fmla="*/ 7185 w 9994"/>
                <a:gd name="connsiteY31" fmla="*/ 1536 h 10000"/>
                <a:gd name="connsiteX32" fmla="*/ 7395 w 9994"/>
                <a:gd name="connsiteY32" fmla="*/ 1864 h 10000"/>
                <a:gd name="connsiteX33" fmla="*/ 7561 w 9994"/>
                <a:gd name="connsiteY33" fmla="*/ 2213 h 10000"/>
                <a:gd name="connsiteX34" fmla="*/ 7738 w 9994"/>
                <a:gd name="connsiteY34" fmla="*/ 2602 h 10000"/>
                <a:gd name="connsiteX35" fmla="*/ 7902 w 9994"/>
                <a:gd name="connsiteY35" fmla="*/ 2990 h 10000"/>
                <a:gd name="connsiteX36" fmla="*/ 8095 w 9994"/>
                <a:gd name="connsiteY36" fmla="*/ 3424 h 10000"/>
                <a:gd name="connsiteX37" fmla="*/ 8425 w 9994"/>
                <a:gd name="connsiteY37" fmla="*/ 4344 h 10000"/>
                <a:gd name="connsiteX38" fmla="*/ 8768 w 9994"/>
                <a:gd name="connsiteY38" fmla="*/ 5328 h 10000"/>
                <a:gd name="connsiteX39" fmla="*/ 9455 w 9994"/>
                <a:gd name="connsiteY39" fmla="*/ 7398 h 10000"/>
                <a:gd name="connsiteX40" fmla="*/ 9994 w 9994"/>
                <a:gd name="connsiteY40" fmla="*/ 4528 h 10000"/>
                <a:gd name="connsiteX41" fmla="*/ 9622 w 9994"/>
                <a:gd name="connsiteY41" fmla="*/ 3730 h 10000"/>
                <a:gd name="connsiteX42" fmla="*/ 9439 w 9994"/>
                <a:gd name="connsiteY42" fmla="*/ 3340 h 10000"/>
                <a:gd name="connsiteX43" fmla="*/ 9246 w 9994"/>
                <a:gd name="connsiteY43" fmla="*/ 2972 h 10000"/>
                <a:gd name="connsiteX44" fmla="*/ 9051 w 9994"/>
                <a:gd name="connsiteY44" fmla="*/ 2602 h 10000"/>
                <a:gd name="connsiteX45" fmla="*/ 8845 w 9994"/>
                <a:gd name="connsiteY45" fmla="*/ 2252 h 10000"/>
                <a:gd name="connsiteX46" fmla="*/ 8635 w 9994"/>
                <a:gd name="connsiteY46" fmla="*/ 1925 h 10000"/>
                <a:gd name="connsiteX47" fmla="*/ 8411 w 9994"/>
                <a:gd name="connsiteY47" fmla="*/ 1641 h 10000"/>
                <a:gd name="connsiteX48" fmla="*/ 8171 w 9994"/>
                <a:gd name="connsiteY48" fmla="*/ 1334 h 10000"/>
                <a:gd name="connsiteX49" fmla="*/ 7948 w 9994"/>
                <a:gd name="connsiteY49" fmla="*/ 1086 h 10000"/>
                <a:gd name="connsiteX50" fmla="*/ 7694 w 9994"/>
                <a:gd name="connsiteY50" fmla="*/ 863 h 10000"/>
                <a:gd name="connsiteX51" fmla="*/ 7439 w 9994"/>
                <a:gd name="connsiteY51" fmla="*/ 656 h 10000"/>
                <a:gd name="connsiteX52" fmla="*/ 7170 w 9994"/>
                <a:gd name="connsiteY52" fmla="*/ 470 h 10000"/>
                <a:gd name="connsiteX53" fmla="*/ 6902 w 9994"/>
                <a:gd name="connsiteY53" fmla="*/ 307 h 10000"/>
                <a:gd name="connsiteX54" fmla="*/ 6618 w 9994"/>
                <a:gd name="connsiteY54" fmla="*/ 184 h 10000"/>
                <a:gd name="connsiteX55" fmla="*/ 6317 w 9994"/>
                <a:gd name="connsiteY55" fmla="*/ 101 h 10000"/>
                <a:gd name="connsiteX56" fmla="*/ 6005 w 9994"/>
                <a:gd name="connsiteY56" fmla="*/ 21 h 10000"/>
                <a:gd name="connsiteX57" fmla="*/ 5691 w 9994"/>
                <a:gd name="connsiteY57" fmla="*/ 0 h 10000"/>
                <a:gd name="connsiteX58" fmla="*/ 5422 w 9994"/>
                <a:gd name="connsiteY58" fmla="*/ 21 h 10000"/>
                <a:gd name="connsiteX59" fmla="*/ 5170 w 9994"/>
                <a:gd name="connsiteY59" fmla="*/ 61 h 10000"/>
                <a:gd name="connsiteX60" fmla="*/ 4916 w 9994"/>
                <a:gd name="connsiteY60" fmla="*/ 124 h 10000"/>
                <a:gd name="connsiteX61" fmla="*/ 4692 w 9994"/>
                <a:gd name="connsiteY61" fmla="*/ 184 h 10000"/>
                <a:gd name="connsiteX62" fmla="*/ 4451 w 9994"/>
                <a:gd name="connsiteY62" fmla="*/ 285 h 10000"/>
                <a:gd name="connsiteX63" fmla="*/ 4212 w 9994"/>
                <a:gd name="connsiteY63" fmla="*/ 388 h 10000"/>
                <a:gd name="connsiteX64" fmla="*/ 4004 w 9994"/>
                <a:gd name="connsiteY64" fmla="*/ 532 h 10000"/>
                <a:gd name="connsiteX65" fmla="*/ 3779 w 9994"/>
                <a:gd name="connsiteY65" fmla="*/ 698 h 10000"/>
                <a:gd name="connsiteX66" fmla="*/ 3586 w 9994"/>
                <a:gd name="connsiteY66" fmla="*/ 881 h 10000"/>
                <a:gd name="connsiteX67" fmla="*/ 3377 w 9994"/>
                <a:gd name="connsiteY67" fmla="*/ 1065 h 10000"/>
                <a:gd name="connsiteX68" fmla="*/ 3183 w 9994"/>
                <a:gd name="connsiteY68" fmla="*/ 1271 h 10000"/>
                <a:gd name="connsiteX69" fmla="*/ 2988 w 9994"/>
                <a:gd name="connsiteY69" fmla="*/ 1497 h 10000"/>
                <a:gd name="connsiteX70" fmla="*/ 2809 w 9994"/>
                <a:gd name="connsiteY70" fmla="*/ 1720 h 10000"/>
                <a:gd name="connsiteX71" fmla="*/ 2614 w 9994"/>
                <a:gd name="connsiteY71" fmla="*/ 1989 h 10000"/>
                <a:gd name="connsiteX72" fmla="*/ 2271 w 9994"/>
                <a:gd name="connsiteY72" fmla="*/ 2540 h 10000"/>
                <a:gd name="connsiteX73" fmla="*/ 1943 w 9994"/>
                <a:gd name="connsiteY73" fmla="*/ 3116 h 10000"/>
                <a:gd name="connsiteX74" fmla="*/ 1630 w 9994"/>
                <a:gd name="connsiteY74" fmla="*/ 3730 h 10000"/>
                <a:gd name="connsiteX75" fmla="*/ 1330 w 9994"/>
                <a:gd name="connsiteY75" fmla="*/ 4386 h 10000"/>
                <a:gd name="connsiteX76" fmla="*/ 1046 w 9994"/>
                <a:gd name="connsiteY76" fmla="*/ 5062 h 10000"/>
                <a:gd name="connsiteX77" fmla="*/ 777 w 9994"/>
                <a:gd name="connsiteY77" fmla="*/ 5737 h 10000"/>
                <a:gd name="connsiteX78" fmla="*/ 510 w 9994"/>
                <a:gd name="connsiteY78" fmla="*/ 6455 h 10000"/>
                <a:gd name="connsiteX79" fmla="*/ 0 w 9994"/>
                <a:gd name="connsiteY7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8773 w 10000"/>
                <a:gd name="connsiteY38" fmla="*/ 5328 h 10000"/>
                <a:gd name="connsiteX39" fmla="*/ 10000 w 10000"/>
                <a:gd name="connsiteY39" fmla="*/ 4528 h 10000"/>
                <a:gd name="connsiteX40" fmla="*/ 9628 w 10000"/>
                <a:gd name="connsiteY40" fmla="*/ 3730 h 10000"/>
                <a:gd name="connsiteX41" fmla="*/ 9445 w 10000"/>
                <a:gd name="connsiteY41" fmla="*/ 3340 h 10000"/>
                <a:gd name="connsiteX42" fmla="*/ 9252 w 10000"/>
                <a:gd name="connsiteY42" fmla="*/ 2972 h 10000"/>
                <a:gd name="connsiteX43" fmla="*/ 9056 w 10000"/>
                <a:gd name="connsiteY43" fmla="*/ 2602 h 10000"/>
                <a:gd name="connsiteX44" fmla="*/ 8850 w 10000"/>
                <a:gd name="connsiteY44" fmla="*/ 2252 h 10000"/>
                <a:gd name="connsiteX45" fmla="*/ 8640 w 10000"/>
                <a:gd name="connsiteY45" fmla="*/ 1925 h 10000"/>
                <a:gd name="connsiteX46" fmla="*/ 8416 w 10000"/>
                <a:gd name="connsiteY46" fmla="*/ 1641 h 10000"/>
                <a:gd name="connsiteX47" fmla="*/ 8176 w 10000"/>
                <a:gd name="connsiteY47" fmla="*/ 1334 h 10000"/>
                <a:gd name="connsiteX48" fmla="*/ 7953 w 10000"/>
                <a:gd name="connsiteY48" fmla="*/ 1086 h 10000"/>
                <a:gd name="connsiteX49" fmla="*/ 7699 w 10000"/>
                <a:gd name="connsiteY49" fmla="*/ 863 h 10000"/>
                <a:gd name="connsiteX50" fmla="*/ 7443 w 10000"/>
                <a:gd name="connsiteY50" fmla="*/ 656 h 10000"/>
                <a:gd name="connsiteX51" fmla="*/ 7174 w 10000"/>
                <a:gd name="connsiteY51" fmla="*/ 470 h 10000"/>
                <a:gd name="connsiteX52" fmla="*/ 6906 w 10000"/>
                <a:gd name="connsiteY52" fmla="*/ 307 h 10000"/>
                <a:gd name="connsiteX53" fmla="*/ 6622 w 10000"/>
                <a:gd name="connsiteY53" fmla="*/ 184 h 10000"/>
                <a:gd name="connsiteX54" fmla="*/ 6321 w 10000"/>
                <a:gd name="connsiteY54" fmla="*/ 101 h 10000"/>
                <a:gd name="connsiteX55" fmla="*/ 6009 w 10000"/>
                <a:gd name="connsiteY55" fmla="*/ 21 h 10000"/>
                <a:gd name="connsiteX56" fmla="*/ 5694 w 10000"/>
                <a:gd name="connsiteY56" fmla="*/ 0 h 10000"/>
                <a:gd name="connsiteX57" fmla="*/ 5425 w 10000"/>
                <a:gd name="connsiteY57" fmla="*/ 21 h 10000"/>
                <a:gd name="connsiteX58" fmla="*/ 5173 w 10000"/>
                <a:gd name="connsiteY58" fmla="*/ 61 h 10000"/>
                <a:gd name="connsiteX59" fmla="*/ 4919 w 10000"/>
                <a:gd name="connsiteY59" fmla="*/ 124 h 10000"/>
                <a:gd name="connsiteX60" fmla="*/ 4695 w 10000"/>
                <a:gd name="connsiteY60" fmla="*/ 184 h 10000"/>
                <a:gd name="connsiteX61" fmla="*/ 4454 w 10000"/>
                <a:gd name="connsiteY61" fmla="*/ 285 h 10000"/>
                <a:gd name="connsiteX62" fmla="*/ 4215 w 10000"/>
                <a:gd name="connsiteY62" fmla="*/ 388 h 10000"/>
                <a:gd name="connsiteX63" fmla="*/ 4006 w 10000"/>
                <a:gd name="connsiteY63" fmla="*/ 532 h 10000"/>
                <a:gd name="connsiteX64" fmla="*/ 3781 w 10000"/>
                <a:gd name="connsiteY64" fmla="*/ 698 h 10000"/>
                <a:gd name="connsiteX65" fmla="*/ 3588 w 10000"/>
                <a:gd name="connsiteY65" fmla="*/ 881 h 10000"/>
                <a:gd name="connsiteX66" fmla="*/ 3379 w 10000"/>
                <a:gd name="connsiteY66" fmla="*/ 1065 h 10000"/>
                <a:gd name="connsiteX67" fmla="*/ 3185 w 10000"/>
                <a:gd name="connsiteY67" fmla="*/ 1271 h 10000"/>
                <a:gd name="connsiteX68" fmla="*/ 2990 w 10000"/>
                <a:gd name="connsiteY68" fmla="*/ 1497 h 10000"/>
                <a:gd name="connsiteX69" fmla="*/ 2811 w 10000"/>
                <a:gd name="connsiteY69" fmla="*/ 1720 h 10000"/>
                <a:gd name="connsiteX70" fmla="*/ 2616 w 10000"/>
                <a:gd name="connsiteY70" fmla="*/ 1989 h 10000"/>
                <a:gd name="connsiteX71" fmla="*/ 2272 w 10000"/>
                <a:gd name="connsiteY71" fmla="*/ 2540 h 10000"/>
                <a:gd name="connsiteX72" fmla="*/ 1944 w 10000"/>
                <a:gd name="connsiteY72" fmla="*/ 3116 h 10000"/>
                <a:gd name="connsiteX73" fmla="*/ 1631 w 10000"/>
                <a:gd name="connsiteY73" fmla="*/ 3730 h 10000"/>
                <a:gd name="connsiteX74" fmla="*/ 1331 w 10000"/>
                <a:gd name="connsiteY74" fmla="*/ 4386 h 10000"/>
                <a:gd name="connsiteX75" fmla="*/ 1047 w 10000"/>
                <a:gd name="connsiteY75" fmla="*/ 5062 h 10000"/>
                <a:gd name="connsiteX76" fmla="*/ 777 w 10000"/>
                <a:gd name="connsiteY76" fmla="*/ 5737 h 10000"/>
                <a:gd name="connsiteX77" fmla="*/ 510 w 10000"/>
                <a:gd name="connsiteY77" fmla="*/ 6455 h 10000"/>
                <a:gd name="connsiteX78" fmla="*/ 0 w 10000"/>
                <a:gd name="connsiteY7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10000 w 10000"/>
                <a:gd name="connsiteY38" fmla="*/ 4528 h 10000"/>
                <a:gd name="connsiteX39" fmla="*/ 9628 w 10000"/>
                <a:gd name="connsiteY39" fmla="*/ 3730 h 10000"/>
                <a:gd name="connsiteX40" fmla="*/ 9445 w 10000"/>
                <a:gd name="connsiteY40" fmla="*/ 3340 h 10000"/>
                <a:gd name="connsiteX41" fmla="*/ 9252 w 10000"/>
                <a:gd name="connsiteY41" fmla="*/ 2972 h 10000"/>
                <a:gd name="connsiteX42" fmla="*/ 9056 w 10000"/>
                <a:gd name="connsiteY42" fmla="*/ 2602 h 10000"/>
                <a:gd name="connsiteX43" fmla="*/ 8850 w 10000"/>
                <a:gd name="connsiteY43" fmla="*/ 2252 h 10000"/>
                <a:gd name="connsiteX44" fmla="*/ 8640 w 10000"/>
                <a:gd name="connsiteY44" fmla="*/ 1925 h 10000"/>
                <a:gd name="connsiteX45" fmla="*/ 8416 w 10000"/>
                <a:gd name="connsiteY45" fmla="*/ 1641 h 10000"/>
                <a:gd name="connsiteX46" fmla="*/ 8176 w 10000"/>
                <a:gd name="connsiteY46" fmla="*/ 1334 h 10000"/>
                <a:gd name="connsiteX47" fmla="*/ 7953 w 10000"/>
                <a:gd name="connsiteY47" fmla="*/ 1086 h 10000"/>
                <a:gd name="connsiteX48" fmla="*/ 7699 w 10000"/>
                <a:gd name="connsiteY48" fmla="*/ 863 h 10000"/>
                <a:gd name="connsiteX49" fmla="*/ 7443 w 10000"/>
                <a:gd name="connsiteY49" fmla="*/ 656 h 10000"/>
                <a:gd name="connsiteX50" fmla="*/ 7174 w 10000"/>
                <a:gd name="connsiteY50" fmla="*/ 470 h 10000"/>
                <a:gd name="connsiteX51" fmla="*/ 6906 w 10000"/>
                <a:gd name="connsiteY51" fmla="*/ 307 h 10000"/>
                <a:gd name="connsiteX52" fmla="*/ 6622 w 10000"/>
                <a:gd name="connsiteY52" fmla="*/ 184 h 10000"/>
                <a:gd name="connsiteX53" fmla="*/ 6321 w 10000"/>
                <a:gd name="connsiteY53" fmla="*/ 101 h 10000"/>
                <a:gd name="connsiteX54" fmla="*/ 6009 w 10000"/>
                <a:gd name="connsiteY54" fmla="*/ 21 h 10000"/>
                <a:gd name="connsiteX55" fmla="*/ 5694 w 10000"/>
                <a:gd name="connsiteY55" fmla="*/ 0 h 10000"/>
                <a:gd name="connsiteX56" fmla="*/ 5425 w 10000"/>
                <a:gd name="connsiteY56" fmla="*/ 21 h 10000"/>
                <a:gd name="connsiteX57" fmla="*/ 5173 w 10000"/>
                <a:gd name="connsiteY57" fmla="*/ 61 h 10000"/>
                <a:gd name="connsiteX58" fmla="*/ 4919 w 10000"/>
                <a:gd name="connsiteY58" fmla="*/ 124 h 10000"/>
                <a:gd name="connsiteX59" fmla="*/ 4695 w 10000"/>
                <a:gd name="connsiteY59" fmla="*/ 184 h 10000"/>
                <a:gd name="connsiteX60" fmla="*/ 4454 w 10000"/>
                <a:gd name="connsiteY60" fmla="*/ 285 h 10000"/>
                <a:gd name="connsiteX61" fmla="*/ 4215 w 10000"/>
                <a:gd name="connsiteY61" fmla="*/ 388 h 10000"/>
                <a:gd name="connsiteX62" fmla="*/ 4006 w 10000"/>
                <a:gd name="connsiteY62" fmla="*/ 532 h 10000"/>
                <a:gd name="connsiteX63" fmla="*/ 3781 w 10000"/>
                <a:gd name="connsiteY63" fmla="*/ 698 h 10000"/>
                <a:gd name="connsiteX64" fmla="*/ 3588 w 10000"/>
                <a:gd name="connsiteY64" fmla="*/ 881 h 10000"/>
                <a:gd name="connsiteX65" fmla="*/ 3379 w 10000"/>
                <a:gd name="connsiteY65" fmla="*/ 1065 h 10000"/>
                <a:gd name="connsiteX66" fmla="*/ 3185 w 10000"/>
                <a:gd name="connsiteY66" fmla="*/ 1271 h 10000"/>
                <a:gd name="connsiteX67" fmla="*/ 2990 w 10000"/>
                <a:gd name="connsiteY67" fmla="*/ 1497 h 10000"/>
                <a:gd name="connsiteX68" fmla="*/ 2811 w 10000"/>
                <a:gd name="connsiteY68" fmla="*/ 1720 h 10000"/>
                <a:gd name="connsiteX69" fmla="*/ 2616 w 10000"/>
                <a:gd name="connsiteY69" fmla="*/ 1989 h 10000"/>
                <a:gd name="connsiteX70" fmla="*/ 2272 w 10000"/>
                <a:gd name="connsiteY70" fmla="*/ 2540 h 10000"/>
                <a:gd name="connsiteX71" fmla="*/ 1944 w 10000"/>
                <a:gd name="connsiteY71" fmla="*/ 3116 h 10000"/>
                <a:gd name="connsiteX72" fmla="*/ 1631 w 10000"/>
                <a:gd name="connsiteY72" fmla="*/ 3730 h 10000"/>
                <a:gd name="connsiteX73" fmla="*/ 1331 w 10000"/>
                <a:gd name="connsiteY73" fmla="*/ 4386 h 10000"/>
                <a:gd name="connsiteX74" fmla="*/ 1047 w 10000"/>
                <a:gd name="connsiteY74" fmla="*/ 5062 h 10000"/>
                <a:gd name="connsiteX75" fmla="*/ 777 w 10000"/>
                <a:gd name="connsiteY75" fmla="*/ 5737 h 10000"/>
                <a:gd name="connsiteX76" fmla="*/ 510 w 10000"/>
                <a:gd name="connsiteY76" fmla="*/ 6455 h 10000"/>
                <a:gd name="connsiteX77" fmla="*/ 0 w 10000"/>
                <a:gd name="connsiteY77" fmla="*/ 7890 h 10000"/>
                <a:gd name="connsiteX0" fmla="*/ 0 w 9628"/>
                <a:gd name="connsiteY0" fmla="*/ 7890 h 10000"/>
                <a:gd name="connsiteX1" fmla="*/ 0 w 9628"/>
                <a:gd name="connsiteY1" fmla="*/ 7890 h 10000"/>
                <a:gd name="connsiteX2" fmla="*/ 374 w 9628"/>
                <a:gd name="connsiteY2" fmla="*/ 8955 h 10000"/>
                <a:gd name="connsiteX3" fmla="*/ 717 w 9628"/>
                <a:gd name="connsiteY3" fmla="*/ 10000 h 10000"/>
                <a:gd name="connsiteX4" fmla="*/ 1062 w 9628"/>
                <a:gd name="connsiteY4" fmla="*/ 9222 h 10000"/>
                <a:gd name="connsiteX5" fmla="*/ 1375 w 9628"/>
                <a:gd name="connsiteY5" fmla="*/ 8403 h 10000"/>
                <a:gd name="connsiteX6" fmla="*/ 1704 w 9628"/>
                <a:gd name="connsiteY6" fmla="*/ 7602 h 10000"/>
                <a:gd name="connsiteX7" fmla="*/ 1987 w 9628"/>
                <a:gd name="connsiteY7" fmla="*/ 6782 h 10000"/>
                <a:gd name="connsiteX8" fmla="*/ 2556 w 9628"/>
                <a:gd name="connsiteY8" fmla="*/ 5165 h 10000"/>
                <a:gd name="connsiteX9" fmla="*/ 2842 w 9628"/>
                <a:gd name="connsiteY9" fmla="*/ 4386 h 10000"/>
                <a:gd name="connsiteX10" fmla="*/ 3110 w 9628"/>
                <a:gd name="connsiteY10" fmla="*/ 3647 h 10000"/>
                <a:gd name="connsiteX11" fmla="*/ 3392 w 9628"/>
                <a:gd name="connsiteY11" fmla="*/ 2972 h 10000"/>
                <a:gd name="connsiteX12" fmla="*/ 3676 w 9628"/>
                <a:gd name="connsiteY12" fmla="*/ 2357 h 10000"/>
                <a:gd name="connsiteX13" fmla="*/ 3826 w 9628"/>
                <a:gd name="connsiteY13" fmla="*/ 2048 h 10000"/>
                <a:gd name="connsiteX14" fmla="*/ 3976 w 9628"/>
                <a:gd name="connsiteY14" fmla="*/ 1803 h 10000"/>
                <a:gd name="connsiteX15" fmla="*/ 4140 w 9628"/>
                <a:gd name="connsiteY15" fmla="*/ 1536 h 10000"/>
                <a:gd name="connsiteX16" fmla="*/ 4290 w 9628"/>
                <a:gd name="connsiteY16" fmla="*/ 1312 h 10000"/>
                <a:gd name="connsiteX17" fmla="*/ 4454 w 9628"/>
                <a:gd name="connsiteY17" fmla="*/ 1109 h 10000"/>
                <a:gd name="connsiteX18" fmla="*/ 4619 w 9628"/>
                <a:gd name="connsiteY18" fmla="*/ 922 h 10000"/>
                <a:gd name="connsiteX19" fmla="*/ 4784 w 9628"/>
                <a:gd name="connsiteY19" fmla="*/ 758 h 10000"/>
                <a:gd name="connsiteX20" fmla="*/ 4963 w 9628"/>
                <a:gd name="connsiteY20" fmla="*/ 634 h 10000"/>
                <a:gd name="connsiteX21" fmla="*/ 5127 w 9628"/>
                <a:gd name="connsiteY21" fmla="*/ 512 h 10000"/>
                <a:gd name="connsiteX22" fmla="*/ 5306 w 9628"/>
                <a:gd name="connsiteY22" fmla="*/ 450 h 10000"/>
                <a:gd name="connsiteX23" fmla="*/ 5499 w 9628"/>
                <a:gd name="connsiteY23" fmla="*/ 388 h 10000"/>
                <a:gd name="connsiteX24" fmla="*/ 5694 w 9628"/>
                <a:gd name="connsiteY24" fmla="*/ 388 h 10000"/>
                <a:gd name="connsiteX25" fmla="*/ 5934 w 9628"/>
                <a:gd name="connsiteY25" fmla="*/ 410 h 10000"/>
                <a:gd name="connsiteX26" fmla="*/ 6172 w 9628"/>
                <a:gd name="connsiteY26" fmla="*/ 492 h 10000"/>
                <a:gd name="connsiteX27" fmla="*/ 6382 w 9628"/>
                <a:gd name="connsiteY27" fmla="*/ 634 h 10000"/>
                <a:gd name="connsiteX28" fmla="*/ 6608 w 9628"/>
                <a:gd name="connsiteY28" fmla="*/ 780 h 10000"/>
                <a:gd name="connsiteX29" fmla="*/ 6800 w 9628"/>
                <a:gd name="connsiteY29" fmla="*/ 985 h 10000"/>
                <a:gd name="connsiteX30" fmla="*/ 7010 w 9628"/>
                <a:gd name="connsiteY30" fmla="*/ 1250 h 10000"/>
                <a:gd name="connsiteX31" fmla="*/ 7189 w 9628"/>
                <a:gd name="connsiteY31" fmla="*/ 1536 h 10000"/>
                <a:gd name="connsiteX32" fmla="*/ 7399 w 9628"/>
                <a:gd name="connsiteY32" fmla="*/ 1864 h 10000"/>
                <a:gd name="connsiteX33" fmla="*/ 7566 w 9628"/>
                <a:gd name="connsiteY33" fmla="*/ 2213 h 10000"/>
                <a:gd name="connsiteX34" fmla="*/ 7743 w 9628"/>
                <a:gd name="connsiteY34" fmla="*/ 2602 h 10000"/>
                <a:gd name="connsiteX35" fmla="*/ 7907 w 9628"/>
                <a:gd name="connsiteY35" fmla="*/ 2990 h 10000"/>
                <a:gd name="connsiteX36" fmla="*/ 8100 w 9628"/>
                <a:gd name="connsiteY36" fmla="*/ 3424 h 10000"/>
                <a:gd name="connsiteX37" fmla="*/ 8430 w 9628"/>
                <a:gd name="connsiteY37" fmla="*/ 4344 h 10000"/>
                <a:gd name="connsiteX38" fmla="*/ 9628 w 9628"/>
                <a:gd name="connsiteY38" fmla="*/ 3730 h 10000"/>
                <a:gd name="connsiteX39" fmla="*/ 9445 w 9628"/>
                <a:gd name="connsiteY39" fmla="*/ 3340 h 10000"/>
                <a:gd name="connsiteX40" fmla="*/ 9252 w 9628"/>
                <a:gd name="connsiteY40" fmla="*/ 2972 h 10000"/>
                <a:gd name="connsiteX41" fmla="*/ 9056 w 9628"/>
                <a:gd name="connsiteY41" fmla="*/ 2602 h 10000"/>
                <a:gd name="connsiteX42" fmla="*/ 8850 w 9628"/>
                <a:gd name="connsiteY42" fmla="*/ 2252 h 10000"/>
                <a:gd name="connsiteX43" fmla="*/ 8640 w 9628"/>
                <a:gd name="connsiteY43" fmla="*/ 1925 h 10000"/>
                <a:gd name="connsiteX44" fmla="*/ 8416 w 9628"/>
                <a:gd name="connsiteY44" fmla="*/ 1641 h 10000"/>
                <a:gd name="connsiteX45" fmla="*/ 8176 w 9628"/>
                <a:gd name="connsiteY45" fmla="*/ 1334 h 10000"/>
                <a:gd name="connsiteX46" fmla="*/ 7953 w 9628"/>
                <a:gd name="connsiteY46" fmla="*/ 1086 h 10000"/>
                <a:gd name="connsiteX47" fmla="*/ 7699 w 9628"/>
                <a:gd name="connsiteY47" fmla="*/ 863 h 10000"/>
                <a:gd name="connsiteX48" fmla="*/ 7443 w 9628"/>
                <a:gd name="connsiteY48" fmla="*/ 656 h 10000"/>
                <a:gd name="connsiteX49" fmla="*/ 7174 w 9628"/>
                <a:gd name="connsiteY49" fmla="*/ 470 h 10000"/>
                <a:gd name="connsiteX50" fmla="*/ 6906 w 9628"/>
                <a:gd name="connsiteY50" fmla="*/ 307 h 10000"/>
                <a:gd name="connsiteX51" fmla="*/ 6622 w 9628"/>
                <a:gd name="connsiteY51" fmla="*/ 184 h 10000"/>
                <a:gd name="connsiteX52" fmla="*/ 6321 w 9628"/>
                <a:gd name="connsiteY52" fmla="*/ 101 h 10000"/>
                <a:gd name="connsiteX53" fmla="*/ 6009 w 9628"/>
                <a:gd name="connsiteY53" fmla="*/ 21 h 10000"/>
                <a:gd name="connsiteX54" fmla="*/ 5694 w 9628"/>
                <a:gd name="connsiteY54" fmla="*/ 0 h 10000"/>
                <a:gd name="connsiteX55" fmla="*/ 5425 w 9628"/>
                <a:gd name="connsiteY55" fmla="*/ 21 h 10000"/>
                <a:gd name="connsiteX56" fmla="*/ 5173 w 9628"/>
                <a:gd name="connsiteY56" fmla="*/ 61 h 10000"/>
                <a:gd name="connsiteX57" fmla="*/ 4919 w 9628"/>
                <a:gd name="connsiteY57" fmla="*/ 124 h 10000"/>
                <a:gd name="connsiteX58" fmla="*/ 4695 w 9628"/>
                <a:gd name="connsiteY58" fmla="*/ 184 h 10000"/>
                <a:gd name="connsiteX59" fmla="*/ 4454 w 9628"/>
                <a:gd name="connsiteY59" fmla="*/ 285 h 10000"/>
                <a:gd name="connsiteX60" fmla="*/ 4215 w 9628"/>
                <a:gd name="connsiteY60" fmla="*/ 388 h 10000"/>
                <a:gd name="connsiteX61" fmla="*/ 4006 w 9628"/>
                <a:gd name="connsiteY61" fmla="*/ 532 h 10000"/>
                <a:gd name="connsiteX62" fmla="*/ 3781 w 9628"/>
                <a:gd name="connsiteY62" fmla="*/ 698 h 10000"/>
                <a:gd name="connsiteX63" fmla="*/ 3588 w 9628"/>
                <a:gd name="connsiteY63" fmla="*/ 881 h 10000"/>
                <a:gd name="connsiteX64" fmla="*/ 3379 w 9628"/>
                <a:gd name="connsiteY64" fmla="*/ 1065 h 10000"/>
                <a:gd name="connsiteX65" fmla="*/ 3185 w 9628"/>
                <a:gd name="connsiteY65" fmla="*/ 1271 h 10000"/>
                <a:gd name="connsiteX66" fmla="*/ 2990 w 9628"/>
                <a:gd name="connsiteY66" fmla="*/ 1497 h 10000"/>
                <a:gd name="connsiteX67" fmla="*/ 2811 w 9628"/>
                <a:gd name="connsiteY67" fmla="*/ 1720 h 10000"/>
                <a:gd name="connsiteX68" fmla="*/ 2616 w 9628"/>
                <a:gd name="connsiteY68" fmla="*/ 1989 h 10000"/>
                <a:gd name="connsiteX69" fmla="*/ 2272 w 9628"/>
                <a:gd name="connsiteY69" fmla="*/ 2540 h 10000"/>
                <a:gd name="connsiteX70" fmla="*/ 1944 w 9628"/>
                <a:gd name="connsiteY70" fmla="*/ 3116 h 10000"/>
                <a:gd name="connsiteX71" fmla="*/ 1631 w 9628"/>
                <a:gd name="connsiteY71" fmla="*/ 3730 h 10000"/>
                <a:gd name="connsiteX72" fmla="*/ 1331 w 9628"/>
                <a:gd name="connsiteY72" fmla="*/ 4386 h 10000"/>
                <a:gd name="connsiteX73" fmla="*/ 1047 w 9628"/>
                <a:gd name="connsiteY73" fmla="*/ 5062 h 10000"/>
                <a:gd name="connsiteX74" fmla="*/ 777 w 9628"/>
                <a:gd name="connsiteY74" fmla="*/ 5737 h 10000"/>
                <a:gd name="connsiteX75" fmla="*/ 510 w 9628"/>
                <a:gd name="connsiteY75" fmla="*/ 6455 h 10000"/>
                <a:gd name="connsiteX76" fmla="*/ 0 w 9628"/>
                <a:gd name="connsiteY7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88 w 10000"/>
                <a:gd name="connsiteY2" fmla="*/ 8955 h 10000"/>
                <a:gd name="connsiteX3" fmla="*/ 745 w 10000"/>
                <a:gd name="connsiteY3" fmla="*/ 10000 h 10000"/>
                <a:gd name="connsiteX4" fmla="*/ 1103 w 10000"/>
                <a:gd name="connsiteY4" fmla="*/ 9222 h 10000"/>
                <a:gd name="connsiteX5" fmla="*/ 1428 w 10000"/>
                <a:gd name="connsiteY5" fmla="*/ 8403 h 10000"/>
                <a:gd name="connsiteX6" fmla="*/ 1770 w 10000"/>
                <a:gd name="connsiteY6" fmla="*/ 7602 h 10000"/>
                <a:gd name="connsiteX7" fmla="*/ 2064 w 10000"/>
                <a:gd name="connsiteY7" fmla="*/ 6782 h 10000"/>
                <a:gd name="connsiteX8" fmla="*/ 2655 w 10000"/>
                <a:gd name="connsiteY8" fmla="*/ 5165 h 10000"/>
                <a:gd name="connsiteX9" fmla="*/ 2952 w 10000"/>
                <a:gd name="connsiteY9" fmla="*/ 4386 h 10000"/>
                <a:gd name="connsiteX10" fmla="*/ 3230 w 10000"/>
                <a:gd name="connsiteY10" fmla="*/ 3647 h 10000"/>
                <a:gd name="connsiteX11" fmla="*/ 3523 w 10000"/>
                <a:gd name="connsiteY11" fmla="*/ 2972 h 10000"/>
                <a:gd name="connsiteX12" fmla="*/ 3818 w 10000"/>
                <a:gd name="connsiteY12" fmla="*/ 2357 h 10000"/>
                <a:gd name="connsiteX13" fmla="*/ 3974 w 10000"/>
                <a:gd name="connsiteY13" fmla="*/ 2048 h 10000"/>
                <a:gd name="connsiteX14" fmla="*/ 4130 w 10000"/>
                <a:gd name="connsiteY14" fmla="*/ 1803 h 10000"/>
                <a:gd name="connsiteX15" fmla="*/ 4300 w 10000"/>
                <a:gd name="connsiteY15" fmla="*/ 1536 h 10000"/>
                <a:gd name="connsiteX16" fmla="*/ 4456 w 10000"/>
                <a:gd name="connsiteY16" fmla="*/ 1312 h 10000"/>
                <a:gd name="connsiteX17" fmla="*/ 4626 w 10000"/>
                <a:gd name="connsiteY17" fmla="*/ 1109 h 10000"/>
                <a:gd name="connsiteX18" fmla="*/ 4797 w 10000"/>
                <a:gd name="connsiteY18" fmla="*/ 922 h 10000"/>
                <a:gd name="connsiteX19" fmla="*/ 4969 w 10000"/>
                <a:gd name="connsiteY19" fmla="*/ 758 h 10000"/>
                <a:gd name="connsiteX20" fmla="*/ 5155 w 10000"/>
                <a:gd name="connsiteY20" fmla="*/ 634 h 10000"/>
                <a:gd name="connsiteX21" fmla="*/ 5325 w 10000"/>
                <a:gd name="connsiteY21" fmla="*/ 512 h 10000"/>
                <a:gd name="connsiteX22" fmla="*/ 5511 w 10000"/>
                <a:gd name="connsiteY22" fmla="*/ 450 h 10000"/>
                <a:gd name="connsiteX23" fmla="*/ 5711 w 10000"/>
                <a:gd name="connsiteY23" fmla="*/ 388 h 10000"/>
                <a:gd name="connsiteX24" fmla="*/ 5914 w 10000"/>
                <a:gd name="connsiteY24" fmla="*/ 388 h 10000"/>
                <a:gd name="connsiteX25" fmla="*/ 6163 w 10000"/>
                <a:gd name="connsiteY25" fmla="*/ 410 h 10000"/>
                <a:gd name="connsiteX26" fmla="*/ 6410 w 10000"/>
                <a:gd name="connsiteY26" fmla="*/ 492 h 10000"/>
                <a:gd name="connsiteX27" fmla="*/ 6629 w 10000"/>
                <a:gd name="connsiteY27" fmla="*/ 634 h 10000"/>
                <a:gd name="connsiteX28" fmla="*/ 6863 w 10000"/>
                <a:gd name="connsiteY28" fmla="*/ 780 h 10000"/>
                <a:gd name="connsiteX29" fmla="*/ 7063 w 10000"/>
                <a:gd name="connsiteY29" fmla="*/ 985 h 10000"/>
                <a:gd name="connsiteX30" fmla="*/ 7281 w 10000"/>
                <a:gd name="connsiteY30" fmla="*/ 1250 h 10000"/>
                <a:gd name="connsiteX31" fmla="*/ 7467 w 10000"/>
                <a:gd name="connsiteY31" fmla="*/ 1536 h 10000"/>
                <a:gd name="connsiteX32" fmla="*/ 7685 w 10000"/>
                <a:gd name="connsiteY32" fmla="*/ 1864 h 10000"/>
                <a:gd name="connsiteX33" fmla="*/ 7858 w 10000"/>
                <a:gd name="connsiteY33" fmla="*/ 2213 h 10000"/>
                <a:gd name="connsiteX34" fmla="*/ 8042 w 10000"/>
                <a:gd name="connsiteY34" fmla="*/ 2602 h 10000"/>
                <a:gd name="connsiteX35" fmla="*/ 8213 w 10000"/>
                <a:gd name="connsiteY35" fmla="*/ 2990 h 10000"/>
                <a:gd name="connsiteX36" fmla="*/ 8413 w 10000"/>
                <a:gd name="connsiteY36" fmla="*/ 3424 h 10000"/>
                <a:gd name="connsiteX37" fmla="*/ 8756 w 10000"/>
                <a:gd name="connsiteY37" fmla="*/ 4344 h 10000"/>
                <a:gd name="connsiteX38" fmla="*/ 10000 w 10000"/>
                <a:gd name="connsiteY38" fmla="*/ 3730 h 10000"/>
                <a:gd name="connsiteX39" fmla="*/ 9810 w 10000"/>
                <a:gd name="connsiteY39" fmla="*/ 3340 h 10000"/>
                <a:gd name="connsiteX40" fmla="*/ 9406 w 10000"/>
                <a:gd name="connsiteY40" fmla="*/ 2602 h 10000"/>
                <a:gd name="connsiteX41" fmla="*/ 9192 w 10000"/>
                <a:gd name="connsiteY41" fmla="*/ 2252 h 10000"/>
                <a:gd name="connsiteX42" fmla="*/ 8974 w 10000"/>
                <a:gd name="connsiteY42" fmla="*/ 1925 h 10000"/>
                <a:gd name="connsiteX43" fmla="*/ 8741 w 10000"/>
                <a:gd name="connsiteY43" fmla="*/ 1641 h 10000"/>
                <a:gd name="connsiteX44" fmla="*/ 8492 w 10000"/>
                <a:gd name="connsiteY44" fmla="*/ 1334 h 10000"/>
                <a:gd name="connsiteX45" fmla="*/ 8260 w 10000"/>
                <a:gd name="connsiteY45" fmla="*/ 1086 h 10000"/>
                <a:gd name="connsiteX46" fmla="*/ 7996 w 10000"/>
                <a:gd name="connsiteY46" fmla="*/ 863 h 10000"/>
                <a:gd name="connsiteX47" fmla="*/ 7731 w 10000"/>
                <a:gd name="connsiteY47" fmla="*/ 656 h 10000"/>
                <a:gd name="connsiteX48" fmla="*/ 7451 w 10000"/>
                <a:gd name="connsiteY48" fmla="*/ 470 h 10000"/>
                <a:gd name="connsiteX49" fmla="*/ 7173 w 10000"/>
                <a:gd name="connsiteY49" fmla="*/ 307 h 10000"/>
                <a:gd name="connsiteX50" fmla="*/ 6878 w 10000"/>
                <a:gd name="connsiteY50" fmla="*/ 184 h 10000"/>
                <a:gd name="connsiteX51" fmla="*/ 6565 w 10000"/>
                <a:gd name="connsiteY51" fmla="*/ 101 h 10000"/>
                <a:gd name="connsiteX52" fmla="*/ 6241 w 10000"/>
                <a:gd name="connsiteY52" fmla="*/ 21 h 10000"/>
                <a:gd name="connsiteX53" fmla="*/ 5914 w 10000"/>
                <a:gd name="connsiteY53" fmla="*/ 0 h 10000"/>
                <a:gd name="connsiteX54" fmla="*/ 5635 w 10000"/>
                <a:gd name="connsiteY54" fmla="*/ 21 h 10000"/>
                <a:gd name="connsiteX55" fmla="*/ 5373 w 10000"/>
                <a:gd name="connsiteY55" fmla="*/ 61 h 10000"/>
                <a:gd name="connsiteX56" fmla="*/ 5109 w 10000"/>
                <a:gd name="connsiteY56" fmla="*/ 124 h 10000"/>
                <a:gd name="connsiteX57" fmla="*/ 4876 w 10000"/>
                <a:gd name="connsiteY57" fmla="*/ 184 h 10000"/>
                <a:gd name="connsiteX58" fmla="*/ 4626 w 10000"/>
                <a:gd name="connsiteY58" fmla="*/ 285 h 10000"/>
                <a:gd name="connsiteX59" fmla="*/ 4378 w 10000"/>
                <a:gd name="connsiteY59" fmla="*/ 388 h 10000"/>
                <a:gd name="connsiteX60" fmla="*/ 4161 w 10000"/>
                <a:gd name="connsiteY60" fmla="*/ 532 h 10000"/>
                <a:gd name="connsiteX61" fmla="*/ 3927 w 10000"/>
                <a:gd name="connsiteY61" fmla="*/ 698 h 10000"/>
                <a:gd name="connsiteX62" fmla="*/ 3727 w 10000"/>
                <a:gd name="connsiteY62" fmla="*/ 881 h 10000"/>
                <a:gd name="connsiteX63" fmla="*/ 3510 w 10000"/>
                <a:gd name="connsiteY63" fmla="*/ 1065 h 10000"/>
                <a:gd name="connsiteX64" fmla="*/ 3308 w 10000"/>
                <a:gd name="connsiteY64" fmla="*/ 1271 h 10000"/>
                <a:gd name="connsiteX65" fmla="*/ 3106 w 10000"/>
                <a:gd name="connsiteY65" fmla="*/ 1497 h 10000"/>
                <a:gd name="connsiteX66" fmla="*/ 2920 w 10000"/>
                <a:gd name="connsiteY66" fmla="*/ 1720 h 10000"/>
                <a:gd name="connsiteX67" fmla="*/ 2717 w 10000"/>
                <a:gd name="connsiteY67" fmla="*/ 1989 h 10000"/>
                <a:gd name="connsiteX68" fmla="*/ 2360 w 10000"/>
                <a:gd name="connsiteY68" fmla="*/ 2540 h 10000"/>
                <a:gd name="connsiteX69" fmla="*/ 2019 w 10000"/>
                <a:gd name="connsiteY69" fmla="*/ 3116 h 10000"/>
                <a:gd name="connsiteX70" fmla="*/ 1694 w 10000"/>
                <a:gd name="connsiteY70" fmla="*/ 3730 h 10000"/>
                <a:gd name="connsiteX71" fmla="*/ 1382 w 10000"/>
                <a:gd name="connsiteY71" fmla="*/ 4386 h 10000"/>
                <a:gd name="connsiteX72" fmla="*/ 1087 w 10000"/>
                <a:gd name="connsiteY72" fmla="*/ 5062 h 10000"/>
                <a:gd name="connsiteX73" fmla="*/ 807 w 10000"/>
                <a:gd name="connsiteY73" fmla="*/ 5737 h 10000"/>
                <a:gd name="connsiteX74" fmla="*/ 530 w 10000"/>
                <a:gd name="connsiteY74" fmla="*/ 6455 h 10000"/>
                <a:gd name="connsiteX75" fmla="*/ 0 w 10000"/>
                <a:gd name="connsiteY75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388 w 10013"/>
                <a:gd name="connsiteY2" fmla="*/ 8955 h 10000"/>
                <a:gd name="connsiteX3" fmla="*/ 745 w 10013"/>
                <a:gd name="connsiteY3" fmla="*/ 10000 h 10000"/>
                <a:gd name="connsiteX4" fmla="*/ 1103 w 10013"/>
                <a:gd name="connsiteY4" fmla="*/ 9222 h 10000"/>
                <a:gd name="connsiteX5" fmla="*/ 1428 w 10013"/>
                <a:gd name="connsiteY5" fmla="*/ 8403 h 10000"/>
                <a:gd name="connsiteX6" fmla="*/ 1770 w 10013"/>
                <a:gd name="connsiteY6" fmla="*/ 7602 h 10000"/>
                <a:gd name="connsiteX7" fmla="*/ 2064 w 10013"/>
                <a:gd name="connsiteY7" fmla="*/ 6782 h 10000"/>
                <a:gd name="connsiteX8" fmla="*/ 2655 w 10013"/>
                <a:gd name="connsiteY8" fmla="*/ 5165 h 10000"/>
                <a:gd name="connsiteX9" fmla="*/ 2952 w 10013"/>
                <a:gd name="connsiteY9" fmla="*/ 4386 h 10000"/>
                <a:gd name="connsiteX10" fmla="*/ 3230 w 10013"/>
                <a:gd name="connsiteY10" fmla="*/ 3647 h 10000"/>
                <a:gd name="connsiteX11" fmla="*/ 3523 w 10013"/>
                <a:gd name="connsiteY11" fmla="*/ 2972 h 10000"/>
                <a:gd name="connsiteX12" fmla="*/ 3818 w 10013"/>
                <a:gd name="connsiteY12" fmla="*/ 2357 h 10000"/>
                <a:gd name="connsiteX13" fmla="*/ 3974 w 10013"/>
                <a:gd name="connsiteY13" fmla="*/ 2048 h 10000"/>
                <a:gd name="connsiteX14" fmla="*/ 4130 w 10013"/>
                <a:gd name="connsiteY14" fmla="*/ 1803 h 10000"/>
                <a:gd name="connsiteX15" fmla="*/ 4300 w 10013"/>
                <a:gd name="connsiteY15" fmla="*/ 1536 h 10000"/>
                <a:gd name="connsiteX16" fmla="*/ 4456 w 10013"/>
                <a:gd name="connsiteY16" fmla="*/ 1312 h 10000"/>
                <a:gd name="connsiteX17" fmla="*/ 4626 w 10013"/>
                <a:gd name="connsiteY17" fmla="*/ 1109 h 10000"/>
                <a:gd name="connsiteX18" fmla="*/ 4797 w 10013"/>
                <a:gd name="connsiteY18" fmla="*/ 922 h 10000"/>
                <a:gd name="connsiteX19" fmla="*/ 4969 w 10013"/>
                <a:gd name="connsiteY19" fmla="*/ 758 h 10000"/>
                <a:gd name="connsiteX20" fmla="*/ 5155 w 10013"/>
                <a:gd name="connsiteY20" fmla="*/ 634 h 10000"/>
                <a:gd name="connsiteX21" fmla="*/ 5325 w 10013"/>
                <a:gd name="connsiteY21" fmla="*/ 512 h 10000"/>
                <a:gd name="connsiteX22" fmla="*/ 5511 w 10013"/>
                <a:gd name="connsiteY22" fmla="*/ 450 h 10000"/>
                <a:gd name="connsiteX23" fmla="*/ 5711 w 10013"/>
                <a:gd name="connsiteY23" fmla="*/ 388 h 10000"/>
                <a:gd name="connsiteX24" fmla="*/ 5914 w 10013"/>
                <a:gd name="connsiteY24" fmla="*/ 388 h 10000"/>
                <a:gd name="connsiteX25" fmla="*/ 6163 w 10013"/>
                <a:gd name="connsiteY25" fmla="*/ 410 h 10000"/>
                <a:gd name="connsiteX26" fmla="*/ 6410 w 10013"/>
                <a:gd name="connsiteY26" fmla="*/ 492 h 10000"/>
                <a:gd name="connsiteX27" fmla="*/ 6629 w 10013"/>
                <a:gd name="connsiteY27" fmla="*/ 634 h 10000"/>
                <a:gd name="connsiteX28" fmla="*/ 6863 w 10013"/>
                <a:gd name="connsiteY28" fmla="*/ 780 h 10000"/>
                <a:gd name="connsiteX29" fmla="*/ 7063 w 10013"/>
                <a:gd name="connsiteY29" fmla="*/ 985 h 10000"/>
                <a:gd name="connsiteX30" fmla="*/ 7281 w 10013"/>
                <a:gd name="connsiteY30" fmla="*/ 1250 h 10000"/>
                <a:gd name="connsiteX31" fmla="*/ 7467 w 10013"/>
                <a:gd name="connsiteY31" fmla="*/ 1536 h 10000"/>
                <a:gd name="connsiteX32" fmla="*/ 7685 w 10013"/>
                <a:gd name="connsiteY32" fmla="*/ 1864 h 10000"/>
                <a:gd name="connsiteX33" fmla="*/ 7858 w 10013"/>
                <a:gd name="connsiteY33" fmla="*/ 2213 h 10000"/>
                <a:gd name="connsiteX34" fmla="*/ 8042 w 10013"/>
                <a:gd name="connsiteY34" fmla="*/ 2602 h 10000"/>
                <a:gd name="connsiteX35" fmla="*/ 8213 w 10013"/>
                <a:gd name="connsiteY35" fmla="*/ 2990 h 10000"/>
                <a:gd name="connsiteX36" fmla="*/ 8413 w 10013"/>
                <a:gd name="connsiteY36" fmla="*/ 3424 h 10000"/>
                <a:gd name="connsiteX37" fmla="*/ 8756 w 10013"/>
                <a:gd name="connsiteY37" fmla="*/ 4344 h 10000"/>
                <a:gd name="connsiteX38" fmla="*/ 10000 w 10013"/>
                <a:gd name="connsiteY38" fmla="*/ 3730 h 10000"/>
                <a:gd name="connsiteX39" fmla="*/ 9406 w 10013"/>
                <a:gd name="connsiteY39" fmla="*/ 2602 h 10000"/>
                <a:gd name="connsiteX40" fmla="*/ 9192 w 10013"/>
                <a:gd name="connsiteY40" fmla="*/ 2252 h 10000"/>
                <a:gd name="connsiteX41" fmla="*/ 8974 w 10013"/>
                <a:gd name="connsiteY41" fmla="*/ 1925 h 10000"/>
                <a:gd name="connsiteX42" fmla="*/ 8741 w 10013"/>
                <a:gd name="connsiteY42" fmla="*/ 1641 h 10000"/>
                <a:gd name="connsiteX43" fmla="*/ 8492 w 10013"/>
                <a:gd name="connsiteY43" fmla="*/ 1334 h 10000"/>
                <a:gd name="connsiteX44" fmla="*/ 8260 w 10013"/>
                <a:gd name="connsiteY44" fmla="*/ 1086 h 10000"/>
                <a:gd name="connsiteX45" fmla="*/ 7996 w 10013"/>
                <a:gd name="connsiteY45" fmla="*/ 863 h 10000"/>
                <a:gd name="connsiteX46" fmla="*/ 7731 w 10013"/>
                <a:gd name="connsiteY46" fmla="*/ 656 h 10000"/>
                <a:gd name="connsiteX47" fmla="*/ 7451 w 10013"/>
                <a:gd name="connsiteY47" fmla="*/ 470 h 10000"/>
                <a:gd name="connsiteX48" fmla="*/ 7173 w 10013"/>
                <a:gd name="connsiteY48" fmla="*/ 307 h 10000"/>
                <a:gd name="connsiteX49" fmla="*/ 6878 w 10013"/>
                <a:gd name="connsiteY49" fmla="*/ 184 h 10000"/>
                <a:gd name="connsiteX50" fmla="*/ 6565 w 10013"/>
                <a:gd name="connsiteY50" fmla="*/ 101 h 10000"/>
                <a:gd name="connsiteX51" fmla="*/ 6241 w 10013"/>
                <a:gd name="connsiteY51" fmla="*/ 21 h 10000"/>
                <a:gd name="connsiteX52" fmla="*/ 5914 w 10013"/>
                <a:gd name="connsiteY52" fmla="*/ 0 h 10000"/>
                <a:gd name="connsiteX53" fmla="*/ 5635 w 10013"/>
                <a:gd name="connsiteY53" fmla="*/ 21 h 10000"/>
                <a:gd name="connsiteX54" fmla="*/ 5373 w 10013"/>
                <a:gd name="connsiteY54" fmla="*/ 61 h 10000"/>
                <a:gd name="connsiteX55" fmla="*/ 5109 w 10013"/>
                <a:gd name="connsiteY55" fmla="*/ 124 h 10000"/>
                <a:gd name="connsiteX56" fmla="*/ 4876 w 10013"/>
                <a:gd name="connsiteY56" fmla="*/ 184 h 10000"/>
                <a:gd name="connsiteX57" fmla="*/ 4626 w 10013"/>
                <a:gd name="connsiteY57" fmla="*/ 285 h 10000"/>
                <a:gd name="connsiteX58" fmla="*/ 4378 w 10013"/>
                <a:gd name="connsiteY58" fmla="*/ 388 h 10000"/>
                <a:gd name="connsiteX59" fmla="*/ 4161 w 10013"/>
                <a:gd name="connsiteY59" fmla="*/ 532 h 10000"/>
                <a:gd name="connsiteX60" fmla="*/ 3927 w 10013"/>
                <a:gd name="connsiteY60" fmla="*/ 698 h 10000"/>
                <a:gd name="connsiteX61" fmla="*/ 3727 w 10013"/>
                <a:gd name="connsiteY61" fmla="*/ 881 h 10000"/>
                <a:gd name="connsiteX62" fmla="*/ 3510 w 10013"/>
                <a:gd name="connsiteY62" fmla="*/ 1065 h 10000"/>
                <a:gd name="connsiteX63" fmla="*/ 3308 w 10013"/>
                <a:gd name="connsiteY63" fmla="*/ 1271 h 10000"/>
                <a:gd name="connsiteX64" fmla="*/ 3106 w 10013"/>
                <a:gd name="connsiteY64" fmla="*/ 1497 h 10000"/>
                <a:gd name="connsiteX65" fmla="*/ 2920 w 10013"/>
                <a:gd name="connsiteY65" fmla="*/ 1720 h 10000"/>
                <a:gd name="connsiteX66" fmla="*/ 2717 w 10013"/>
                <a:gd name="connsiteY66" fmla="*/ 1989 h 10000"/>
                <a:gd name="connsiteX67" fmla="*/ 2360 w 10013"/>
                <a:gd name="connsiteY67" fmla="*/ 2540 h 10000"/>
                <a:gd name="connsiteX68" fmla="*/ 2019 w 10013"/>
                <a:gd name="connsiteY68" fmla="*/ 3116 h 10000"/>
                <a:gd name="connsiteX69" fmla="*/ 1694 w 10013"/>
                <a:gd name="connsiteY69" fmla="*/ 3730 h 10000"/>
                <a:gd name="connsiteX70" fmla="*/ 1382 w 10013"/>
                <a:gd name="connsiteY70" fmla="*/ 4386 h 10000"/>
                <a:gd name="connsiteX71" fmla="*/ 1087 w 10013"/>
                <a:gd name="connsiteY71" fmla="*/ 5062 h 10000"/>
                <a:gd name="connsiteX72" fmla="*/ 807 w 10013"/>
                <a:gd name="connsiteY72" fmla="*/ 5737 h 10000"/>
                <a:gd name="connsiteX73" fmla="*/ 530 w 10013"/>
                <a:gd name="connsiteY73" fmla="*/ 6455 h 10000"/>
                <a:gd name="connsiteX74" fmla="*/ 0 w 10013"/>
                <a:gd name="connsiteY74" fmla="*/ 7890 h 10000"/>
                <a:gd name="connsiteX0" fmla="*/ 0 w 9406"/>
                <a:gd name="connsiteY0" fmla="*/ 7890 h 10000"/>
                <a:gd name="connsiteX1" fmla="*/ 0 w 9406"/>
                <a:gd name="connsiteY1" fmla="*/ 7890 h 10000"/>
                <a:gd name="connsiteX2" fmla="*/ 388 w 9406"/>
                <a:gd name="connsiteY2" fmla="*/ 8955 h 10000"/>
                <a:gd name="connsiteX3" fmla="*/ 745 w 9406"/>
                <a:gd name="connsiteY3" fmla="*/ 10000 h 10000"/>
                <a:gd name="connsiteX4" fmla="*/ 1103 w 9406"/>
                <a:gd name="connsiteY4" fmla="*/ 9222 h 10000"/>
                <a:gd name="connsiteX5" fmla="*/ 1428 w 9406"/>
                <a:gd name="connsiteY5" fmla="*/ 8403 h 10000"/>
                <a:gd name="connsiteX6" fmla="*/ 1770 w 9406"/>
                <a:gd name="connsiteY6" fmla="*/ 7602 h 10000"/>
                <a:gd name="connsiteX7" fmla="*/ 2064 w 9406"/>
                <a:gd name="connsiteY7" fmla="*/ 6782 h 10000"/>
                <a:gd name="connsiteX8" fmla="*/ 2655 w 9406"/>
                <a:gd name="connsiteY8" fmla="*/ 5165 h 10000"/>
                <a:gd name="connsiteX9" fmla="*/ 2952 w 9406"/>
                <a:gd name="connsiteY9" fmla="*/ 4386 h 10000"/>
                <a:gd name="connsiteX10" fmla="*/ 3230 w 9406"/>
                <a:gd name="connsiteY10" fmla="*/ 3647 h 10000"/>
                <a:gd name="connsiteX11" fmla="*/ 3523 w 9406"/>
                <a:gd name="connsiteY11" fmla="*/ 2972 h 10000"/>
                <a:gd name="connsiteX12" fmla="*/ 3818 w 9406"/>
                <a:gd name="connsiteY12" fmla="*/ 2357 h 10000"/>
                <a:gd name="connsiteX13" fmla="*/ 3974 w 9406"/>
                <a:gd name="connsiteY13" fmla="*/ 2048 h 10000"/>
                <a:gd name="connsiteX14" fmla="*/ 4130 w 9406"/>
                <a:gd name="connsiteY14" fmla="*/ 1803 h 10000"/>
                <a:gd name="connsiteX15" fmla="*/ 4300 w 9406"/>
                <a:gd name="connsiteY15" fmla="*/ 1536 h 10000"/>
                <a:gd name="connsiteX16" fmla="*/ 4456 w 9406"/>
                <a:gd name="connsiteY16" fmla="*/ 1312 h 10000"/>
                <a:gd name="connsiteX17" fmla="*/ 4626 w 9406"/>
                <a:gd name="connsiteY17" fmla="*/ 1109 h 10000"/>
                <a:gd name="connsiteX18" fmla="*/ 4797 w 9406"/>
                <a:gd name="connsiteY18" fmla="*/ 922 h 10000"/>
                <a:gd name="connsiteX19" fmla="*/ 4969 w 9406"/>
                <a:gd name="connsiteY19" fmla="*/ 758 h 10000"/>
                <a:gd name="connsiteX20" fmla="*/ 5155 w 9406"/>
                <a:gd name="connsiteY20" fmla="*/ 634 h 10000"/>
                <a:gd name="connsiteX21" fmla="*/ 5325 w 9406"/>
                <a:gd name="connsiteY21" fmla="*/ 512 h 10000"/>
                <a:gd name="connsiteX22" fmla="*/ 5511 w 9406"/>
                <a:gd name="connsiteY22" fmla="*/ 450 h 10000"/>
                <a:gd name="connsiteX23" fmla="*/ 5711 w 9406"/>
                <a:gd name="connsiteY23" fmla="*/ 388 h 10000"/>
                <a:gd name="connsiteX24" fmla="*/ 5914 w 9406"/>
                <a:gd name="connsiteY24" fmla="*/ 388 h 10000"/>
                <a:gd name="connsiteX25" fmla="*/ 6163 w 9406"/>
                <a:gd name="connsiteY25" fmla="*/ 410 h 10000"/>
                <a:gd name="connsiteX26" fmla="*/ 6410 w 9406"/>
                <a:gd name="connsiteY26" fmla="*/ 492 h 10000"/>
                <a:gd name="connsiteX27" fmla="*/ 6629 w 9406"/>
                <a:gd name="connsiteY27" fmla="*/ 634 h 10000"/>
                <a:gd name="connsiteX28" fmla="*/ 6863 w 9406"/>
                <a:gd name="connsiteY28" fmla="*/ 780 h 10000"/>
                <a:gd name="connsiteX29" fmla="*/ 7063 w 9406"/>
                <a:gd name="connsiteY29" fmla="*/ 985 h 10000"/>
                <a:gd name="connsiteX30" fmla="*/ 7281 w 9406"/>
                <a:gd name="connsiteY30" fmla="*/ 1250 h 10000"/>
                <a:gd name="connsiteX31" fmla="*/ 7467 w 9406"/>
                <a:gd name="connsiteY31" fmla="*/ 1536 h 10000"/>
                <a:gd name="connsiteX32" fmla="*/ 7685 w 9406"/>
                <a:gd name="connsiteY32" fmla="*/ 1864 h 10000"/>
                <a:gd name="connsiteX33" fmla="*/ 7858 w 9406"/>
                <a:gd name="connsiteY33" fmla="*/ 2213 h 10000"/>
                <a:gd name="connsiteX34" fmla="*/ 8042 w 9406"/>
                <a:gd name="connsiteY34" fmla="*/ 2602 h 10000"/>
                <a:gd name="connsiteX35" fmla="*/ 8213 w 9406"/>
                <a:gd name="connsiteY35" fmla="*/ 2990 h 10000"/>
                <a:gd name="connsiteX36" fmla="*/ 8413 w 9406"/>
                <a:gd name="connsiteY36" fmla="*/ 3424 h 10000"/>
                <a:gd name="connsiteX37" fmla="*/ 8756 w 9406"/>
                <a:gd name="connsiteY37" fmla="*/ 4344 h 10000"/>
                <a:gd name="connsiteX38" fmla="*/ 9406 w 9406"/>
                <a:gd name="connsiteY38" fmla="*/ 2602 h 10000"/>
                <a:gd name="connsiteX39" fmla="*/ 9192 w 9406"/>
                <a:gd name="connsiteY39" fmla="*/ 2252 h 10000"/>
                <a:gd name="connsiteX40" fmla="*/ 8974 w 9406"/>
                <a:gd name="connsiteY40" fmla="*/ 1925 h 10000"/>
                <a:gd name="connsiteX41" fmla="*/ 8741 w 9406"/>
                <a:gd name="connsiteY41" fmla="*/ 1641 h 10000"/>
                <a:gd name="connsiteX42" fmla="*/ 8492 w 9406"/>
                <a:gd name="connsiteY42" fmla="*/ 1334 h 10000"/>
                <a:gd name="connsiteX43" fmla="*/ 8260 w 9406"/>
                <a:gd name="connsiteY43" fmla="*/ 1086 h 10000"/>
                <a:gd name="connsiteX44" fmla="*/ 7996 w 9406"/>
                <a:gd name="connsiteY44" fmla="*/ 863 h 10000"/>
                <a:gd name="connsiteX45" fmla="*/ 7731 w 9406"/>
                <a:gd name="connsiteY45" fmla="*/ 656 h 10000"/>
                <a:gd name="connsiteX46" fmla="*/ 7451 w 9406"/>
                <a:gd name="connsiteY46" fmla="*/ 470 h 10000"/>
                <a:gd name="connsiteX47" fmla="*/ 7173 w 9406"/>
                <a:gd name="connsiteY47" fmla="*/ 307 h 10000"/>
                <a:gd name="connsiteX48" fmla="*/ 6878 w 9406"/>
                <a:gd name="connsiteY48" fmla="*/ 184 h 10000"/>
                <a:gd name="connsiteX49" fmla="*/ 6565 w 9406"/>
                <a:gd name="connsiteY49" fmla="*/ 101 h 10000"/>
                <a:gd name="connsiteX50" fmla="*/ 6241 w 9406"/>
                <a:gd name="connsiteY50" fmla="*/ 21 h 10000"/>
                <a:gd name="connsiteX51" fmla="*/ 5914 w 9406"/>
                <a:gd name="connsiteY51" fmla="*/ 0 h 10000"/>
                <a:gd name="connsiteX52" fmla="*/ 5635 w 9406"/>
                <a:gd name="connsiteY52" fmla="*/ 21 h 10000"/>
                <a:gd name="connsiteX53" fmla="*/ 5373 w 9406"/>
                <a:gd name="connsiteY53" fmla="*/ 61 h 10000"/>
                <a:gd name="connsiteX54" fmla="*/ 5109 w 9406"/>
                <a:gd name="connsiteY54" fmla="*/ 124 h 10000"/>
                <a:gd name="connsiteX55" fmla="*/ 4876 w 9406"/>
                <a:gd name="connsiteY55" fmla="*/ 184 h 10000"/>
                <a:gd name="connsiteX56" fmla="*/ 4626 w 9406"/>
                <a:gd name="connsiteY56" fmla="*/ 285 h 10000"/>
                <a:gd name="connsiteX57" fmla="*/ 4378 w 9406"/>
                <a:gd name="connsiteY57" fmla="*/ 388 h 10000"/>
                <a:gd name="connsiteX58" fmla="*/ 4161 w 9406"/>
                <a:gd name="connsiteY58" fmla="*/ 532 h 10000"/>
                <a:gd name="connsiteX59" fmla="*/ 3927 w 9406"/>
                <a:gd name="connsiteY59" fmla="*/ 698 h 10000"/>
                <a:gd name="connsiteX60" fmla="*/ 3727 w 9406"/>
                <a:gd name="connsiteY60" fmla="*/ 881 h 10000"/>
                <a:gd name="connsiteX61" fmla="*/ 3510 w 9406"/>
                <a:gd name="connsiteY61" fmla="*/ 1065 h 10000"/>
                <a:gd name="connsiteX62" fmla="*/ 3308 w 9406"/>
                <a:gd name="connsiteY62" fmla="*/ 1271 h 10000"/>
                <a:gd name="connsiteX63" fmla="*/ 3106 w 9406"/>
                <a:gd name="connsiteY63" fmla="*/ 1497 h 10000"/>
                <a:gd name="connsiteX64" fmla="*/ 2920 w 9406"/>
                <a:gd name="connsiteY64" fmla="*/ 1720 h 10000"/>
                <a:gd name="connsiteX65" fmla="*/ 2717 w 9406"/>
                <a:gd name="connsiteY65" fmla="*/ 1989 h 10000"/>
                <a:gd name="connsiteX66" fmla="*/ 2360 w 9406"/>
                <a:gd name="connsiteY66" fmla="*/ 2540 h 10000"/>
                <a:gd name="connsiteX67" fmla="*/ 2019 w 9406"/>
                <a:gd name="connsiteY67" fmla="*/ 3116 h 10000"/>
                <a:gd name="connsiteX68" fmla="*/ 1694 w 9406"/>
                <a:gd name="connsiteY68" fmla="*/ 3730 h 10000"/>
                <a:gd name="connsiteX69" fmla="*/ 1382 w 9406"/>
                <a:gd name="connsiteY69" fmla="*/ 4386 h 10000"/>
                <a:gd name="connsiteX70" fmla="*/ 1087 w 9406"/>
                <a:gd name="connsiteY70" fmla="*/ 5062 h 10000"/>
                <a:gd name="connsiteX71" fmla="*/ 807 w 9406"/>
                <a:gd name="connsiteY71" fmla="*/ 5737 h 10000"/>
                <a:gd name="connsiteX72" fmla="*/ 530 w 9406"/>
                <a:gd name="connsiteY72" fmla="*/ 6455 h 10000"/>
                <a:gd name="connsiteX73" fmla="*/ 0 w 9406"/>
                <a:gd name="connsiteY7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13 w 10000"/>
                <a:gd name="connsiteY2" fmla="*/ 8955 h 10000"/>
                <a:gd name="connsiteX3" fmla="*/ 792 w 10000"/>
                <a:gd name="connsiteY3" fmla="*/ 10000 h 10000"/>
                <a:gd name="connsiteX4" fmla="*/ 1173 w 10000"/>
                <a:gd name="connsiteY4" fmla="*/ 9222 h 10000"/>
                <a:gd name="connsiteX5" fmla="*/ 1518 w 10000"/>
                <a:gd name="connsiteY5" fmla="*/ 8403 h 10000"/>
                <a:gd name="connsiteX6" fmla="*/ 1882 w 10000"/>
                <a:gd name="connsiteY6" fmla="*/ 7602 h 10000"/>
                <a:gd name="connsiteX7" fmla="*/ 2194 w 10000"/>
                <a:gd name="connsiteY7" fmla="*/ 6782 h 10000"/>
                <a:gd name="connsiteX8" fmla="*/ 2823 w 10000"/>
                <a:gd name="connsiteY8" fmla="*/ 5165 h 10000"/>
                <a:gd name="connsiteX9" fmla="*/ 3138 w 10000"/>
                <a:gd name="connsiteY9" fmla="*/ 4386 h 10000"/>
                <a:gd name="connsiteX10" fmla="*/ 3434 w 10000"/>
                <a:gd name="connsiteY10" fmla="*/ 3647 h 10000"/>
                <a:gd name="connsiteX11" fmla="*/ 3745 w 10000"/>
                <a:gd name="connsiteY11" fmla="*/ 2972 h 10000"/>
                <a:gd name="connsiteX12" fmla="*/ 4059 w 10000"/>
                <a:gd name="connsiteY12" fmla="*/ 2357 h 10000"/>
                <a:gd name="connsiteX13" fmla="*/ 4225 w 10000"/>
                <a:gd name="connsiteY13" fmla="*/ 2048 h 10000"/>
                <a:gd name="connsiteX14" fmla="*/ 4391 w 10000"/>
                <a:gd name="connsiteY14" fmla="*/ 1803 h 10000"/>
                <a:gd name="connsiteX15" fmla="*/ 4572 w 10000"/>
                <a:gd name="connsiteY15" fmla="*/ 1536 h 10000"/>
                <a:gd name="connsiteX16" fmla="*/ 4737 w 10000"/>
                <a:gd name="connsiteY16" fmla="*/ 1312 h 10000"/>
                <a:gd name="connsiteX17" fmla="*/ 4918 w 10000"/>
                <a:gd name="connsiteY17" fmla="*/ 1109 h 10000"/>
                <a:gd name="connsiteX18" fmla="*/ 5100 w 10000"/>
                <a:gd name="connsiteY18" fmla="*/ 922 h 10000"/>
                <a:gd name="connsiteX19" fmla="*/ 5283 w 10000"/>
                <a:gd name="connsiteY19" fmla="*/ 758 h 10000"/>
                <a:gd name="connsiteX20" fmla="*/ 5481 w 10000"/>
                <a:gd name="connsiteY20" fmla="*/ 634 h 10000"/>
                <a:gd name="connsiteX21" fmla="*/ 5661 w 10000"/>
                <a:gd name="connsiteY21" fmla="*/ 512 h 10000"/>
                <a:gd name="connsiteX22" fmla="*/ 5859 w 10000"/>
                <a:gd name="connsiteY22" fmla="*/ 450 h 10000"/>
                <a:gd name="connsiteX23" fmla="*/ 6072 w 10000"/>
                <a:gd name="connsiteY23" fmla="*/ 388 h 10000"/>
                <a:gd name="connsiteX24" fmla="*/ 6287 w 10000"/>
                <a:gd name="connsiteY24" fmla="*/ 388 h 10000"/>
                <a:gd name="connsiteX25" fmla="*/ 6552 w 10000"/>
                <a:gd name="connsiteY25" fmla="*/ 410 h 10000"/>
                <a:gd name="connsiteX26" fmla="*/ 6815 w 10000"/>
                <a:gd name="connsiteY26" fmla="*/ 492 h 10000"/>
                <a:gd name="connsiteX27" fmla="*/ 7048 w 10000"/>
                <a:gd name="connsiteY27" fmla="*/ 634 h 10000"/>
                <a:gd name="connsiteX28" fmla="*/ 7296 w 10000"/>
                <a:gd name="connsiteY28" fmla="*/ 780 h 10000"/>
                <a:gd name="connsiteX29" fmla="*/ 7509 w 10000"/>
                <a:gd name="connsiteY29" fmla="*/ 985 h 10000"/>
                <a:gd name="connsiteX30" fmla="*/ 7741 w 10000"/>
                <a:gd name="connsiteY30" fmla="*/ 1250 h 10000"/>
                <a:gd name="connsiteX31" fmla="*/ 7939 w 10000"/>
                <a:gd name="connsiteY31" fmla="*/ 1536 h 10000"/>
                <a:gd name="connsiteX32" fmla="*/ 8170 w 10000"/>
                <a:gd name="connsiteY32" fmla="*/ 1864 h 10000"/>
                <a:gd name="connsiteX33" fmla="*/ 8354 w 10000"/>
                <a:gd name="connsiteY33" fmla="*/ 2213 h 10000"/>
                <a:gd name="connsiteX34" fmla="*/ 8550 w 10000"/>
                <a:gd name="connsiteY34" fmla="*/ 2602 h 10000"/>
                <a:gd name="connsiteX35" fmla="*/ 8732 w 10000"/>
                <a:gd name="connsiteY35" fmla="*/ 2990 h 10000"/>
                <a:gd name="connsiteX36" fmla="*/ 8944 w 10000"/>
                <a:gd name="connsiteY36" fmla="*/ 3424 h 10000"/>
                <a:gd name="connsiteX37" fmla="*/ 10000 w 10000"/>
                <a:gd name="connsiteY37" fmla="*/ 2602 h 10000"/>
                <a:gd name="connsiteX38" fmla="*/ 9772 w 10000"/>
                <a:gd name="connsiteY38" fmla="*/ 2252 h 10000"/>
                <a:gd name="connsiteX39" fmla="*/ 9541 w 10000"/>
                <a:gd name="connsiteY39" fmla="*/ 1925 h 10000"/>
                <a:gd name="connsiteX40" fmla="*/ 9293 w 10000"/>
                <a:gd name="connsiteY40" fmla="*/ 1641 h 10000"/>
                <a:gd name="connsiteX41" fmla="*/ 9028 w 10000"/>
                <a:gd name="connsiteY41" fmla="*/ 1334 h 10000"/>
                <a:gd name="connsiteX42" fmla="*/ 8782 w 10000"/>
                <a:gd name="connsiteY42" fmla="*/ 1086 h 10000"/>
                <a:gd name="connsiteX43" fmla="*/ 8501 w 10000"/>
                <a:gd name="connsiteY43" fmla="*/ 863 h 10000"/>
                <a:gd name="connsiteX44" fmla="*/ 8219 w 10000"/>
                <a:gd name="connsiteY44" fmla="*/ 656 h 10000"/>
                <a:gd name="connsiteX45" fmla="*/ 7922 w 10000"/>
                <a:gd name="connsiteY45" fmla="*/ 470 h 10000"/>
                <a:gd name="connsiteX46" fmla="*/ 7626 w 10000"/>
                <a:gd name="connsiteY46" fmla="*/ 307 h 10000"/>
                <a:gd name="connsiteX47" fmla="*/ 7312 w 10000"/>
                <a:gd name="connsiteY47" fmla="*/ 184 h 10000"/>
                <a:gd name="connsiteX48" fmla="*/ 6980 w 10000"/>
                <a:gd name="connsiteY48" fmla="*/ 101 h 10000"/>
                <a:gd name="connsiteX49" fmla="*/ 6635 w 10000"/>
                <a:gd name="connsiteY49" fmla="*/ 21 h 10000"/>
                <a:gd name="connsiteX50" fmla="*/ 6287 w 10000"/>
                <a:gd name="connsiteY50" fmla="*/ 0 h 10000"/>
                <a:gd name="connsiteX51" fmla="*/ 5991 w 10000"/>
                <a:gd name="connsiteY51" fmla="*/ 21 h 10000"/>
                <a:gd name="connsiteX52" fmla="*/ 5712 w 10000"/>
                <a:gd name="connsiteY52" fmla="*/ 61 h 10000"/>
                <a:gd name="connsiteX53" fmla="*/ 5432 w 10000"/>
                <a:gd name="connsiteY53" fmla="*/ 124 h 10000"/>
                <a:gd name="connsiteX54" fmla="*/ 5184 w 10000"/>
                <a:gd name="connsiteY54" fmla="*/ 184 h 10000"/>
                <a:gd name="connsiteX55" fmla="*/ 4918 w 10000"/>
                <a:gd name="connsiteY55" fmla="*/ 285 h 10000"/>
                <a:gd name="connsiteX56" fmla="*/ 4654 w 10000"/>
                <a:gd name="connsiteY56" fmla="*/ 388 h 10000"/>
                <a:gd name="connsiteX57" fmla="*/ 4424 w 10000"/>
                <a:gd name="connsiteY57" fmla="*/ 532 h 10000"/>
                <a:gd name="connsiteX58" fmla="*/ 4175 w 10000"/>
                <a:gd name="connsiteY58" fmla="*/ 698 h 10000"/>
                <a:gd name="connsiteX59" fmla="*/ 3962 w 10000"/>
                <a:gd name="connsiteY59" fmla="*/ 881 h 10000"/>
                <a:gd name="connsiteX60" fmla="*/ 3732 w 10000"/>
                <a:gd name="connsiteY60" fmla="*/ 1065 h 10000"/>
                <a:gd name="connsiteX61" fmla="*/ 3517 w 10000"/>
                <a:gd name="connsiteY61" fmla="*/ 1271 h 10000"/>
                <a:gd name="connsiteX62" fmla="*/ 3302 w 10000"/>
                <a:gd name="connsiteY62" fmla="*/ 1497 h 10000"/>
                <a:gd name="connsiteX63" fmla="*/ 3104 w 10000"/>
                <a:gd name="connsiteY63" fmla="*/ 1720 h 10000"/>
                <a:gd name="connsiteX64" fmla="*/ 2889 w 10000"/>
                <a:gd name="connsiteY64" fmla="*/ 1989 h 10000"/>
                <a:gd name="connsiteX65" fmla="*/ 2509 w 10000"/>
                <a:gd name="connsiteY65" fmla="*/ 2540 h 10000"/>
                <a:gd name="connsiteX66" fmla="*/ 2147 w 10000"/>
                <a:gd name="connsiteY66" fmla="*/ 3116 h 10000"/>
                <a:gd name="connsiteX67" fmla="*/ 1801 w 10000"/>
                <a:gd name="connsiteY67" fmla="*/ 3730 h 10000"/>
                <a:gd name="connsiteX68" fmla="*/ 1469 w 10000"/>
                <a:gd name="connsiteY68" fmla="*/ 4386 h 10000"/>
                <a:gd name="connsiteX69" fmla="*/ 1156 w 10000"/>
                <a:gd name="connsiteY69" fmla="*/ 5062 h 10000"/>
                <a:gd name="connsiteX70" fmla="*/ 858 w 10000"/>
                <a:gd name="connsiteY70" fmla="*/ 5737 h 10000"/>
                <a:gd name="connsiteX71" fmla="*/ 563 w 10000"/>
                <a:gd name="connsiteY71" fmla="*/ 6455 h 10000"/>
                <a:gd name="connsiteX72" fmla="*/ 0 w 10000"/>
                <a:gd name="connsiteY72" fmla="*/ 7890 h 10000"/>
                <a:gd name="connsiteX0" fmla="*/ 0 w 9772"/>
                <a:gd name="connsiteY0" fmla="*/ 7890 h 10000"/>
                <a:gd name="connsiteX1" fmla="*/ 0 w 9772"/>
                <a:gd name="connsiteY1" fmla="*/ 7890 h 10000"/>
                <a:gd name="connsiteX2" fmla="*/ 413 w 9772"/>
                <a:gd name="connsiteY2" fmla="*/ 8955 h 10000"/>
                <a:gd name="connsiteX3" fmla="*/ 792 w 9772"/>
                <a:gd name="connsiteY3" fmla="*/ 10000 h 10000"/>
                <a:gd name="connsiteX4" fmla="*/ 1173 w 9772"/>
                <a:gd name="connsiteY4" fmla="*/ 9222 h 10000"/>
                <a:gd name="connsiteX5" fmla="*/ 1518 w 9772"/>
                <a:gd name="connsiteY5" fmla="*/ 8403 h 10000"/>
                <a:gd name="connsiteX6" fmla="*/ 1882 w 9772"/>
                <a:gd name="connsiteY6" fmla="*/ 7602 h 10000"/>
                <a:gd name="connsiteX7" fmla="*/ 2194 w 9772"/>
                <a:gd name="connsiteY7" fmla="*/ 6782 h 10000"/>
                <a:gd name="connsiteX8" fmla="*/ 2823 w 9772"/>
                <a:gd name="connsiteY8" fmla="*/ 5165 h 10000"/>
                <a:gd name="connsiteX9" fmla="*/ 3138 w 9772"/>
                <a:gd name="connsiteY9" fmla="*/ 4386 h 10000"/>
                <a:gd name="connsiteX10" fmla="*/ 3434 w 9772"/>
                <a:gd name="connsiteY10" fmla="*/ 3647 h 10000"/>
                <a:gd name="connsiteX11" fmla="*/ 3745 w 9772"/>
                <a:gd name="connsiteY11" fmla="*/ 2972 h 10000"/>
                <a:gd name="connsiteX12" fmla="*/ 4059 w 9772"/>
                <a:gd name="connsiteY12" fmla="*/ 2357 h 10000"/>
                <a:gd name="connsiteX13" fmla="*/ 4225 w 9772"/>
                <a:gd name="connsiteY13" fmla="*/ 2048 h 10000"/>
                <a:gd name="connsiteX14" fmla="*/ 4391 w 9772"/>
                <a:gd name="connsiteY14" fmla="*/ 1803 h 10000"/>
                <a:gd name="connsiteX15" fmla="*/ 4572 w 9772"/>
                <a:gd name="connsiteY15" fmla="*/ 1536 h 10000"/>
                <a:gd name="connsiteX16" fmla="*/ 4737 w 9772"/>
                <a:gd name="connsiteY16" fmla="*/ 1312 h 10000"/>
                <a:gd name="connsiteX17" fmla="*/ 4918 w 9772"/>
                <a:gd name="connsiteY17" fmla="*/ 1109 h 10000"/>
                <a:gd name="connsiteX18" fmla="*/ 5100 w 9772"/>
                <a:gd name="connsiteY18" fmla="*/ 922 h 10000"/>
                <a:gd name="connsiteX19" fmla="*/ 5283 w 9772"/>
                <a:gd name="connsiteY19" fmla="*/ 758 h 10000"/>
                <a:gd name="connsiteX20" fmla="*/ 5481 w 9772"/>
                <a:gd name="connsiteY20" fmla="*/ 634 h 10000"/>
                <a:gd name="connsiteX21" fmla="*/ 5661 w 9772"/>
                <a:gd name="connsiteY21" fmla="*/ 512 h 10000"/>
                <a:gd name="connsiteX22" fmla="*/ 5859 w 9772"/>
                <a:gd name="connsiteY22" fmla="*/ 450 h 10000"/>
                <a:gd name="connsiteX23" fmla="*/ 6072 w 9772"/>
                <a:gd name="connsiteY23" fmla="*/ 388 h 10000"/>
                <a:gd name="connsiteX24" fmla="*/ 6287 w 9772"/>
                <a:gd name="connsiteY24" fmla="*/ 388 h 10000"/>
                <a:gd name="connsiteX25" fmla="*/ 6552 w 9772"/>
                <a:gd name="connsiteY25" fmla="*/ 410 h 10000"/>
                <a:gd name="connsiteX26" fmla="*/ 6815 w 9772"/>
                <a:gd name="connsiteY26" fmla="*/ 492 h 10000"/>
                <a:gd name="connsiteX27" fmla="*/ 7048 w 9772"/>
                <a:gd name="connsiteY27" fmla="*/ 634 h 10000"/>
                <a:gd name="connsiteX28" fmla="*/ 7296 w 9772"/>
                <a:gd name="connsiteY28" fmla="*/ 780 h 10000"/>
                <a:gd name="connsiteX29" fmla="*/ 7509 w 9772"/>
                <a:gd name="connsiteY29" fmla="*/ 985 h 10000"/>
                <a:gd name="connsiteX30" fmla="*/ 7741 w 9772"/>
                <a:gd name="connsiteY30" fmla="*/ 1250 h 10000"/>
                <a:gd name="connsiteX31" fmla="*/ 7939 w 9772"/>
                <a:gd name="connsiteY31" fmla="*/ 1536 h 10000"/>
                <a:gd name="connsiteX32" fmla="*/ 8170 w 9772"/>
                <a:gd name="connsiteY32" fmla="*/ 1864 h 10000"/>
                <a:gd name="connsiteX33" fmla="*/ 8354 w 9772"/>
                <a:gd name="connsiteY33" fmla="*/ 2213 h 10000"/>
                <a:gd name="connsiteX34" fmla="*/ 8550 w 9772"/>
                <a:gd name="connsiteY34" fmla="*/ 2602 h 10000"/>
                <a:gd name="connsiteX35" fmla="*/ 8732 w 9772"/>
                <a:gd name="connsiteY35" fmla="*/ 2990 h 10000"/>
                <a:gd name="connsiteX36" fmla="*/ 8944 w 9772"/>
                <a:gd name="connsiteY36" fmla="*/ 3424 h 10000"/>
                <a:gd name="connsiteX37" fmla="*/ 9772 w 9772"/>
                <a:gd name="connsiteY37" fmla="*/ 2252 h 10000"/>
                <a:gd name="connsiteX38" fmla="*/ 9541 w 9772"/>
                <a:gd name="connsiteY38" fmla="*/ 1925 h 10000"/>
                <a:gd name="connsiteX39" fmla="*/ 9293 w 9772"/>
                <a:gd name="connsiteY39" fmla="*/ 1641 h 10000"/>
                <a:gd name="connsiteX40" fmla="*/ 9028 w 9772"/>
                <a:gd name="connsiteY40" fmla="*/ 1334 h 10000"/>
                <a:gd name="connsiteX41" fmla="*/ 8782 w 9772"/>
                <a:gd name="connsiteY41" fmla="*/ 1086 h 10000"/>
                <a:gd name="connsiteX42" fmla="*/ 8501 w 9772"/>
                <a:gd name="connsiteY42" fmla="*/ 863 h 10000"/>
                <a:gd name="connsiteX43" fmla="*/ 8219 w 9772"/>
                <a:gd name="connsiteY43" fmla="*/ 656 h 10000"/>
                <a:gd name="connsiteX44" fmla="*/ 7922 w 9772"/>
                <a:gd name="connsiteY44" fmla="*/ 470 h 10000"/>
                <a:gd name="connsiteX45" fmla="*/ 7626 w 9772"/>
                <a:gd name="connsiteY45" fmla="*/ 307 h 10000"/>
                <a:gd name="connsiteX46" fmla="*/ 7312 w 9772"/>
                <a:gd name="connsiteY46" fmla="*/ 184 h 10000"/>
                <a:gd name="connsiteX47" fmla="*/ 6980 w 9772"/>
                <a:gd name="connsiteY47" fmla="*/ 101 h 10000"/>
                <a:gd name="connsiteX48" fmla="*/ 6635 w 9772"/>
                <a:gd name="connsiteY48" fmla="*/ 21 h 10000"/>
                <a:gd name="connsiteX49" fmla="*/ 6287 w 9772"/>
                <a:gd name="connsiteY49" fmla="*/ 0 h 10000"/>
                <a:gd name="connsiteX50" fmla="*/ 5991 w 9772"/>
                <a:gd name="connsiteY50" fmla="*/ 21 h 10000"/>
                <a:gd name="connsiteX51" fmla="*/ 5712 w 9772"/>
                <a:gd name="connsiteY51" fmla="*/ 61 h 10000"/>
                <a:gd name="connsiteX52" fmla="*/ 5432 w 9772"/>
                <a:gd name="connsiteY52" fmla="*/ 124 h 10000"/>
                <a:gd name="connsiteX53" fmla="*/ 5184 w 9772"/>
                <a:gd name="connsiteY53" fmla="*/ 184 h 10000"/>
                <a:gd name="connsiteX54" fmla="*/ 4918 w 9772"/>
                <a:gd name="connsiteY54" fmla="*/ 285 h 10000"/>
                <a:gd name="connsiteX55" fmla="*/ 4654 w 9772"/>
                <a:gd name="connsiteY55" fmla="*/ 388 h 10000"/>
                <a:gd name="connsiteX56" fmla="*/ 4424 w 9772"/>
                <a:gd name="connsiteY56" fmla="*/ 532 h 10000"/>
                <a:gd name="connsiteX57" fmla="*/ 4175 w 9772"/>
                <a:gd name="connsiteY57" fmla="*/ 698 h 10000"/>
                <a:gd name="connsiteX58" fmla="*/ 3962 w 9772"/>
                <a:gd name="connsiteY58" fmla="*/ 881 h 10000"/>
                <a:gd name="connsiteX59" fmla="*/ 3732 w 9772"/>
                <a:gd name="connsiteY59" fmla="*/ 1065 h 10000"/>
                <a:gd name="connsiteX60" fmla="*/ 3517 w 9772"/>
                <a:gd name="connsiteY60" fmla="*/ 1271 h 10000"/>
                <a:gd name="connsiteX61" fmla="*/ 3302 w 9772"/>
                <a:gd name="connsiteY61" fmla="*/ 1497 h 10000"/>
                <a:gd name="connsiteX62" fmla="*/ 3104 w 9772"/>
                <a:gd name="connsiteY62" fmla="*/ 1720 h 10000"/>
                <a:gd name="connsiteX63" fmla="*/ 2889 w 9772"/>
                <a:gd name="connsiteY63" fmla="*/ 1989 h 10000"/>
                <a:gd name="connsiteX64" fmla="*/ 2509 w 9772"/>
                <a:gd name="connsiteY64" fmla="*/ 2540 h 10000"/>
                <a:gd name="connsiteX65" fmla="*/ 2147 w 9772"/>
                <a:gd name="connsiteY65" fmla="*/ 3116 h 10000"/>
                <a:gd name="connsiteX66" fmla="*/ 1801 w 9772"/>
                <a:gd name="connsiteY66" fmla="*/ 3730 h 10000"/>
                <a:gd name="connsiteX67" fmla="*/ 1469 w 9772"/>
                <a:gd name="connsiteY67" fmla="*/ 4386 h 10000"/>
                <a:gd name="connsiteX68" fmla="*/ 1156 w 9772"/>
                <a:gd name="connsiteY68" fmla="*/ 5062 h 10000"/>
                <a:gd name="connsiteX69" fmla="*/ 858 w 9772"/>
                <a:gd name="connsiteY69" fmla="*/ 5737 h 10000"/>
                <a:gd name="connsiteX70" fmla="*/ 563 w 9772"/>
                <a:gd name="connsiteY70" fmla="*/ 6455 h 10000"/>
                <a:gd name="connsiteX71" fmla="*/ 0 w 9772"/>
                <a:gd name="connsiteY7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23 w 10000"/>
                <a:gd name="connsiteY2" fmla="*/ 8955 h 10000"/>
                <a:gd name="connsiteX3" fmla="*/ 810 w 10000"/>
                <a:gd name="connsiteY3" fmla="*/ 10000 h 10000"/>
                <a:gd name="connsiteX4" fmla="*/ 1200 w 10000"/>
                <a:gd name="connsiteY4" fmla="*/ 9222 h 10000"/>
                <a:gd name="connsiteX5" fmla="*/ 1553 w 10000"/>
                <a:gd name="connsiteY5" fmla="*/ 8403 h 10000"/>
                <a:gd name="connsiteX6" fmla="*/ 1926 w 10000"/>
                <a:gd name="connsiteY6" fmla="*/ 7602 h 10000"/>
                <a:gd name="connsiteX7" fmla="*/ 2245 w 10000"/>
                <a:gd name="connsiteY7" fmla="*/ 6782 h 10000"/>
                <a:gd name="connsiteX8" fmla="*/ 2889 w 10000"/>
                <a:gd name="connsiteY8" fmla="*/ 5165 h 10000"/>
                <a:gd name="connsiteX9" fmla="*/ 3211 w 10000"/>
                <a:gd name="connsiteY9" fmla="*/ 4386 h 10000"/>
                <a:gd name="connsiteX10" fmla="*/ 3514 w 10000"/>
                <a:gd name="connsiteY10" fmla="*/ 3647 h 10000"/>
                <a:gd name="connsiteX11" fmla="*/ 3832 w 10000"/>
                <a:gd name="connsiteY11" fmla="*/ 2972 h 10000"/>
                <a:gd name="connsiteX12" fmla="*/ 4154 w 10000"/>
                <a:gd name="connsiteY12" fmla="*/ 2357 h 10000"/>
                <a:gd name="connsiteX13" fmla="*/ 4324 w 10000"/>
                <a:gd name="connsiteY13" fmla="*/ 2048 h 10000"/>
                <a:gd name="connsiteX14" fmla="*/ 4493 w 10000"/>
                <a:gd name="connsiteY14" fmla="*/ 1803 h 10000"/>
                <a:gd name="connsiteX15" fmla="*/ 4679 w 10000"/>
                <a:gd name="connsiteY15" fmla="*/ 1536 h 10000"/>
                <a:gd name="connsiteX16" fmla="*/ 4848 w 10000"/>
                <a:gd name="connsiteY16" fmla="*/ 1312 h 10000"/>
                <a:gd name="connsiteX17" fmla="*/ 5033 w 10000"/>
                <a:gd name="connsiteY17" fmla="*/ 1109 h 10000"/>
                <a:gd name="connsiteX18" fmla="*/ 5219 w 10000"/>
                <a:gd name="connsiteY18" fmla="*/ 922 h 10000"/>
                <a:gd name="connsiteX19" fmla="*/ 5406 w 10000"/>
                <a:gd name="connsiteY19" fmla="*/ 758 h 10000"/>
                <a:gd name="connsiteX20" fmla="*/ 5609 w 10000"/>
                <a:gd name="connsiteY20" fmla="*/ 634 h 10000"/>
                <a:gd name="connsiteX21" fmla="*/ 5793 w 10000"/>
                <a:gd name="connsiteY21" fmla="*/ 512 h 10000"/>
                <a:gd name="connsiteX22" fmla="*/ 5996 w 10000"/>
                <a:gd name="connsiteY22" fmla="*/ 450 h 10000"/>
                <a:gd name="connsiteX23" fmla="*/ 6214 w 10000"/>
                <a:gd name="connsiteY23" fmla="*/ 388 h 10000"/>
                <a:gd name="connsiteX24" fmla="*/ 6434 w 10000"/>
                <a:gd name="connsiteY24" fmla="*/ 388 h 10000"/>
                <a:gd name="connsiteX25" fmla="*/ 6705 w 10000"/>
                <a:gd name="connsiteY25" fmla="*/ 410 h 10000"/>
                <a:gd name="connsiteX26" fmla="*/ 6974 w 10000"/>
                <a:gd name="connsiteY26" fmla="*/ 492 h 10000"/>
                <a:gd name="connsiteX27" fmla="*/ 7212 w 10000"/>
                <a:gd name="connsiteY27" fmla="*/ 634 h 10000"/>
                <a:gd name="connsiteX28" fmla="*/ 7466 w 10000"/>
                <a:gd name="connsiteY28" fmla="*/ 780 h 10000"/>
                <a:gd name="connsiteX29" fmla="*/ 7684 w 10000"/>
                <a:gd name="connsiteY29" fmla="*/ 985 h 10000"/>
                <a:gd name="connsiteX30" fmla="*/ 7922 w 10000"/>
                <a:gd name="connsiteY30" fmla="*/ 1250 h 10000"/>
                <a:gd name="connsiteX31" fmla="*/ 8124 w 10000"/>
                <a:gd name="connsiteY31" fmla="*/ 1536 h 10000"/>
                <a:gd name="connsiteX32" fmla="*/ 8361 w 10000"/>
                <a:gd name="connsiteY32" fmla="*/ 1864 h 10000"/>
                <a:gd name="connsiteX33" fmla="*/ 8549 w 10000"/>
                <a:gd name="connsiteY33" fmla="*/ 2213 h 10000"/>
                <a:gd name="connsiteX34" fmla="*/ 8749 w 10000"/>
                <a:gd name="connsiteY34" fmla="*/ 2602 h 10000"/>
                <a:gd name="connsiteX35" fmla="*/ 8936 w 10000"/>
                <a:gd name="connsiteY35" fmla="*/ 2990 h 10000"/>
                <a:gd name="connsiteX36" fmla="*/ 10000 w 10000"/>
                <a:gd name="connsiteY36" fmla="*/ 2252 h 10000"/>
                <a:gd name="connsiteX37" fmla="*/ 9764 w 10000"/>
                <a:gd name="connsiteY37" fmla="*/ 1925 h 10000"/>
                <a:gd name="connsiteX38" fmla="*/ 9510 w 10000"/>
                <a:gd name="connsiteY38" fmla="*/ 1641 h 10000"/>
                <a:gd name="connsiteX39" fmla="*/ 9239 w 10000"/>
                <a:gd name="connsiteY39" fmla="*/ 1334 h 10000"/>
                <a:gd name="connsiteX40" fmla="*/ 8987 w 10000"/>
                <a:gd name="connsiteY40" fmla="*/ 1086 h 10000"/>
                <a:gd name="connsiteX41" fmla="*/ 8699 w 10000"/>
                <a:gd name="connsiteY41" fmla="*/ 863 h 10000"/>
                <a:gd name="connsiteX42" fmla="*/ 8411 w 10000"/>
                <a:gd name="connsiteY42" fmla="*/ 656 h 10000"/>
                <a:gd name="connsiteX43" fmla="*/ 8107 w 10000"/>
                <a:gd name="connsiteY43" fmla="*/ 470 h 10000"/>
                <a:gd name="connsiteX44" fmla="*/ 7804 w 10000"/>
                <a:gd name="connsiteY44" fmla="*/ 307 h 10000"/>
                <a:gd name="connsiteX45" fmla="*/ 7483 w 10000"/>
                <a:gd name="connsiteY45" fmla="*/ 184 h 10000"/>
                <a:gd name="connsiteX46" fmla="*/ 7143 w 10000"/>
                <a:gd name="connsiteY46" fmla="*/ 101 h 10000"/>
                <a:gd name="connsiteX47" fmla="*/ 6790 w 10000"/>
                <a:gd name="connsiteY47" fmla="*/ 21 h 10000"/>
                <a:gd name="connsiteX48" fmla="*/ 6434 w 10000"/>
                <a:gd name="connsiteY48" fmla="*/ 0 h 10000"/>
                <a:gd name="connsiteX49" fmla="*/ 6131 w 10000"/>
                <a:gd name="connsiteY49" fmla="*/ 21 h 10000"/>
                <a:gd name="connsiteX50" fmla="*/ 5845 w 10000"/>
                <a:gd name="connsiteY50" fmla="*/ 61 h 10000"/>
                <a:gd name="connsiteX51" fmla="*/ 5559 w 10000"/>
                <a:gd name="connsiteY51" fmla="*/ 124 h 10000"/>
                <a:gd name="connsiteX52" fmla="*/ 5305 w 10000"/>
                <a:gd name="connsiteY52" fmla="*/ 184 h 10000"/>
                <a:gd name="connsiteX53" fmla="*/ 5033 w 10000"/>
                <a:gd name="connsiteY53" fmla="*/ 285 h 10000"/>
                <a:gd name="connsiteX54" fmla="*/ 4763 w 10000"/>
                <a:gd name="connsiteY54" fmla="*/ 388 h 10000"/>
                <a:gd name="connsiteX55" fmla="*/ 4527 w 10000"/>
                <a:gd name="connsiteY55" fmla="*/ 532 h 10000"/>
                <a:gd name="connsiteX56" fmla="*/ 4272 w 10000"/>
                <a:gd name="connsiteY56" fmla="*/ 698 h 10000"/>
                <a:gd name="connsiteX57" fmla="*/ 4054 w 10000"/>
                <a:gd name="connsiteY57" fmla="*/ 881 h 10000"/>
                <a:gd name="connsiteX58" fmla="*/ 3819 w 10000"/>
                <a:gd name="connsiteY58" fmla="*/ 1065 h 10000"/>
                <a:gd name="connsiteX59" fmla="*/ 3599 w 10000"/>
                <a:gd name="connsiteY59" fmla="*/ 1271 h 10000"/>
                <a:gd name="connsiteX60" fmla="*/ 3379 w 10000"/>
                <a:gd name="connsiteY60" fmla="*/ 1497 h 10000"/>
                <a:gd name="connsiteX61" fmla="*/ 3176 w 10000"/>
                <a:gd name="connsiteY61" fmla="*/ 1720 h 10000"/>
                <a:gd name="connsiteX62" fmla="*/ 2956 w 10000"/>
                <a:gd name="connsiteY62" fmla="*/ 1989 h 10000"/>
                <a:gd name="connsiteX63" fmla="*/ 2568 w 10000"/>
                <a:gd name="connsiteY63" fmla="*/ 2540 h 10000"/>
                <a:gd name="connsiteX64" fmla="*/ 2197 w 10000"/>
                <a:gd name="connsiteY64" fmla="*/ 3116 h 10000"/>
                <a:gd name="connsiteX65" fmla="*/ 1843 w 10000"/>
                <a:gd name="connsiteY65" fmla="*/ 3730 h 10000"/>
                <a:gd name="connsiteX66" fmla="*/ 1503 w 10000"/>
                <a:gd name="connsiteY66" fmla="*/ 4386 h 10000"/>
                <a:gd name="connsiteX67" fmla="*/ 1183 w 10000"/>
                <a:gd name="connsiteY67" fmla="*/ 5062 h 10000"/>
                <a:gd name="connsiteX68" fmla="*/ 878 w 10000"/>
                <a:gd name="connsiteY68" fmla="*/ 5737 h 10000"/>
                <a:gd name="connsiteX69" fmla="*/ 576 w 10000"/>
                <a:gd name="connsiteY69" fmla="*/ 6455 h 10000"/>
                <a:gd name="connsiteX70" fmla="*/ 0 w 10000"/>
                <a:gd name="connsiteY70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423 w 10013"/>
                <a:gd name="connsiteY2" fmla="*/ 8955 h 10000"/>
                <a:gd name="connsiteX3" fmla="*/ 810 w 10013"/>
                <a:gd name="connsiteY3" fmla="*/ 10000 h 10000"/>
                <a:gd name="connsiteX4" fmla="*/ 1200 w 10013"/>
                <a:gd name="connsiteY4" fmla="*/ 9222 h 10000"/>
                <a:gd name="connsiteX5" fmla="*/ 1553 w 10013"/>
                <a:gd name="connsiteY5" fmla="*/ 8403 h 10000"/>
                <a:gd name="connsiteX6" fmla="*/ 1926 w 10013"/>
                <a:gd name="connsiteY6" fmla="*/ 7602 h 10000"/>
                <a:gd name="connsiteX7" fmla="*/ 2245 w 10013"/>
                <a:gd name="connsiteY7" fmla="*/ 6782 h 10000"/>
                <a:gd name="connsiteX8" fmla="*/ 2889 w 10013"/>
                <a:gd name="connsiteY8" fmla="*/ 5165 h 10000"/>
                <a:gd name="connsiteX9" fmla="*/ 3211 w 10013"/>
                <a:gd name="connsiteY9" fmla="*/ 4386 h 10000"/>
                <a:gd name="connsiteX10" fmla="*/ 3514 w 10013"/>
                <a:gd name="connsiteY10" fmla="*/ 3647 h 10000"/>
                <a:gd name="connsiteX11" fmla="*/ 3832 w 10013"/>
                <a:gd name="connsiteY11" fmla="*/ 2972 h 10000"/>
                <a:gd name="connsiteX12" fmla="*/ 4154 w 10013"/>
                <a:gd name="connsiteY12" fmla="*/ 2357 h 10000"/>
                <a:gd name="connsiteX13" fmla="*/ 4324 w 10013"/>
                <a:gd name="connsiteY13" fmla="*/ 2048 h 10000"/>
                <a:gd name="connsiteX14" fmla="*/ 4493 w 10013"/>
                <a:gd name="connsiteY14" fmla="*/ 1803 h 10000"/>
                <a:gd name="connsiteX15" fmla="*/ 4679 w 10013"/>
                <a:gd name="connsiteY15" fmla="*/ 1536 h 10000"/>
                <a:gd name="connsiteX16" fmla="*/ 4848 w 10013"/>
                <a:gd name="connsiteY16" fmla="*/ 1312 h 10000"/>
                <a:gd name="connsiteX17" fmla="*/ 5033 w 10013"/>
                <a:gd name="connsiteY17" fmla="*/ 1109 h 10000"/>
                <a:gd name="connsiteX18" fmla="*/ 5219 w 10013"/>
                <a:gd name="connsiteY18" fmla="*/ 922 h 10000"/>
                <a:gd name="connsiteX19" fmla="*/ 5406 w 10013"/>
                <a:gd name="connsiteY19" fmla="*/ 758 h 10000"/>
                <a:gd name="connsiteX20" fmla="*/ 5609 w 10013"/>
                <a:gd name="connsiteY20" fmla="*/ 634 h 10000"/>
                <a:gd name="connsiteX21" fmla="*/ 5793 w 10013"/>
                <a:gd name="connsiteY21" fmla="*/ 512 h 10000"/>
                <a:gd name="connsiteX22" fmla="*/ 5996 w 10013"/>
                <a:gd name="connsiteY22" fmla="*/ 450 h 10000"/>
                <a:gd name="connsiteX23" fmla="*/ 6214 w 10013"/>
                <a:gd name="connsiteY23" fmla="*/ 388 h 10000"/>
                <a:gd name="connsiteX24" fmla="*/ 6434 w 10013"/>
                <a:gd name="connsiteY24" fmla="*/ 388 h 10000"/>
                <a:gd name="connsiteX25" fmla="*/ 6705 w 10013"/>
                <a:gd name="connsiteY25" fmla="*/ 410 h 10000"/>
                <a:gd name="connsiteX26" fmla="*/ 6974 w 10013"/>
                <a:gd name="connsiteY26" fmla="*/ 492 h 10000"/>
                <a:gd name="connsiteX27" fmla="*/ 7212 w 10013"/>
                <a:gd name="connsiteY27" fmla="*/ 634 h 10000"/>
                <a:gd name="connsiteX28" fmla="*/ 7466 w 10013"/>
                <a:gd name="connsiteY28" fmla="*/ 780 h 10000"/>
                <a:gd name="connsiteX29" fmla="*/ 7684 w 10013"/>
                <a:gd name="connsiteY29" fmla="*/ 985 h 10000"/>
                <a:gd name="connsiteX30" fmla="*/ 7922 w 10013"/>
                <a:gd name="connsiteY30" fmla="*/ 1250 h 10000"/>
                <a:gd name="connsiteX31" fmla="*/ 8124 w 10013"/>
                <a:gd name="connsiteY31" fmla="*/ 1536 h 10000"/>
                <a:gd name="connsiteX32" fmla="*/ 8361 w 10013"/>
                <a:gd name="connsiteY32" fmla="*/ 1864 h 10000"/>
                <a:gd name="connsiteX33" fmla="*/ 8549 w 10013"/>
                <a:gd name="connsiteY33" fmla="*/ 2213 h 10000"/>
                <a:gd name="connsiteX34" fmla="*/ 8749 w 10013"/>
                <a:gd name="connsiteY34" fmla="*/ 2602 h 10000"/>
                <a:gd name="connsiteX35" fmla="*/ 8936 w 10013"/>
                <a:gd name="connsiteY35" fmla="*/ 2990 h 10000"/>
                <a:gd name="connsiteX36" fmla="*/ 10000 w 10013"/>
                <a:gd name="connsiteY36" fmla="*/ 2252 h 10000"/>
                <a:gd name="connsiteX37" fmla="*/ 9510 w 10013"/>
                <a:gd name="connsiteY37" fmla="*/ 1641 h 10000"/>
                <a:gd name="connsiteX38" fmla="*/ 9239 w 10013"/>
                <a:gd name="connsiteY38" fmla="*/ 1334 h 10000"/>
                <a:gd name="connsiteX39" fmla="*/ 8987 w 10013"/>
                <a:gd name="connsiteY39" fmla="*/ 1086 h 10000"/>
                <a:gd name="connsiteX40" fmla="*/ 8699 w 10013"/>
                <a:gd name="connsiteY40" fmla="*/ 863 h 10000"/>
                <a:gd name="connsiteX41" fmla="*/ 8411 w 10013"/>
                <a:gd name="connsiteY41" fmla="*/ 656 h 10000"/>
                <a:gd name="connsiteX42" fmla="*/ 8107 w 10013"/>
                <a:gd name="connsiteY42" fmla="*/ 470 h 10000"/>
                <a:gd name="connsiteX43" fmla="*/ 7804 w 10013"/>
                <a:gd name="connsiteY43" fmla="*/ 307 h 10000"/>
                <a:gd name="connsiteX44" fmla="*/ 7483 w 10013"/>
                <a:gd name="connsiteY44" fmla="*/ 184 h 10000"/>
                <a:gd name="connsiteX45" fmla="*/ 7143 w 10013"/>
                <a:gd name="connsiteY45" fmla="*/ 101 h 10000"/>
                <a:gd name="connsiteX46" fmla="*/ 6790 w 10013"/>
                <a:gd name="connsiteY46" fmla="*/ 21 h 10000"/>
                <a:gd name="connsiteX47" fmla="*/ 6434 w 10013"/>
                <a:gd name="connsiteY47" fmla="*/ 0 h 10000"/>
                <a:gd name="connsiteX48" fmla="*/ 6131 w 10013"/>
                <a:gd name="connsiteY48" fmla="*/ 21 h 10000"/>
                <a:gd name="connsiteX49" fmla="*/ 5845 w 10013"/>
                <a:gd name="connsiteY49" fmla="*/ 61 h 10000"/>
                <a:gd name="connsiteX50" fmla="*/ 5559 w 10013"/>
                <a:gd name="connsiteY50" fmla="*/ 124 h 10000"/>
                <a:gd name="connsiteX51" fmla="*/ 5305 w 10013"/>
                <a:gd name="connsiteY51" fmla="*/ 184 h 10000"/>
                <a:gd name="connsiteX52" fmla="*/ 5033 w 10013"/>
                <a:gd name="connsiteY52" fmla="*/ 285 h 10000"/>
                <a:gd name="connsiteX53" fmla="*/ 4763 w 10013"/>
                <a:gd name="connsiteY53" fmla="*/ 388 h 10000"/>
                <a:gd name="connsiteX54" fmla="*/ 4527 w 10013"/>
                <a:gd name="connsiteY54" fmla="*/ 532 h 10000"/>
                <a:gd name="connsiteX55" fmla="*/ 4272 w 10013"/>
                <a:gd name="connsiteY55" fmla="*/ 698 h 10000"/>
                <a:gd name="connsiteX56" fmla="*/ 4054 w 10013"/>
                <a:gd name="connsiteY56" fmla="*/ 881 h 10000"/>
                <a:gd name="connsiteX57" fmla="*/ 3819 w 10013"/>
                <a:gd name="connsiteY57" fmla="*/ 1065 h 10000"/>
                <a:gd name="connsiteX58" fmla="*/ 3599 w 10013"/>
                <a:gd name="connsiteY58" fmla="*/ 1271 h 10000"/>
                <a:gd name="connsiteX59" fmla="*/ 3379 w 10013"/>
                <a:gd name="connsiteY59" fmla="*/ 1497 h 10000"/>
                <a:gd name="connsiteX60" fmla="*/ 3176 w 10013"/>
                <a:gd name="connsiteY60" fmla="*/ 1720 h 10000"/>
                <a:gd name="connsiteX61" fmla="*/ 2956 w 10013"/>
                <a:gd name="connsiteY61" fmla="*/ 1989 h 10000"/>
                <a:gd name="connsiteX62" fmla="*/ 2568 w 10013"/>
                <a:gd name="connsiteY62" fmla="*/ 2540 h 10000"/>
                <a:gd name="connsiteX63" fmla="*/ 2197 w 10013"/>
                <a:gd name="connsiteY63" fmla="*/ 3116 h 10000"/>
                <a:gd name="connsiteX64" fmla="*/ 1843 w 10013"/>
                <a:gd name="connsiteY64" fmla="*/ 3730 h 10000"/>
                <a:gd name="connsiteX65" fmla="*/ 1503 w 10013"/>
                <a:gd name="connsiteY65" fmla="*/ 4386 h 10000"/>
                <a:gd name="connsiteX66" fmla="*/ 1183 w 10013"/>
                <a:gd name="connsiteY66" fmla="*/ 5062 h 10000"/>
                <a:gd name="connsiteX67" fmla="*/ 878 w 10013"/>
                <a:gd name="connsiteY67" fmla="*/ 5737 h 10000"/>
                <a:gd name="connsiteX68" fmla="*/ 576 w 10013"/>
                <a:gd name="connsiteY68" fmla="*/ 6455 h 10000"/>
                <a:gd name="connsiteX69" fmla="*/ 0 w 10013"/>
                <a:gd name="connsiteY69" fmla="*/ 7890 h 10000"/>
                <a:gd name="connsiteX0" fmla="*/ 0 w 9510"/>
                <a:gd name="connsiteY0" fmla="*/ 7890 h 10000"/>
                <a:gd name="connsiteX1" fmla="*/ 0 w 9510"/>
                <a:gd name="connsiteY1" fmla="*/ 7890 h 10000"/>
                <a:gd name="connsiteX2" fmla="*/ 423 w 9510"/>
                <a:gd name="connsiteY2" fmla="*/ 8955 h 10000"/>
                <a:gd name="connsiteX3" fmla="*/ 810 w 9510"/>
                <a:gd name="connsiteY3" fmla="*/ 10000 h 10000"/>
                <a:gd name="connsiteX4" fmla="*/ 1200 w 9510"/>
                <a:gd name="connsiteY4" fmla="*/ 9222 h 10000"/>
                <a:gd name="connsiteX5" fmla="*/ 1553 w 9510"/>
                <a:gd name="connsiteY5" fmla="*/ 8403 h 10000"/>
                <a:gd name="connsiteX6" fmla="*/ 1926 w 9510"/>
                <a:gd name="connsiteY6" fmla="*/ 7602 h 10000"/>
                <a:gd name="connsiteX7" fmla="*/ 2245 w 9510"/>
                <a:gd name="connsiteY7" fmla="*/ 6782 h 10000"/>
                <a:gd name="connsiteX8" fmla="*/ 2889 w 9510"/>
                <a:gd name="connsiteY8" fmla="*/ 5165 h 10000"/>
                <a:gd name="connsiteX9" fmla="*/ 3211 w 9510"/>
                <a:gd name="connsiteY9" fmla="*/ 4386 h 10000"/>
                <a:gd name="connsiteX10" fmla="*/ 3514 w 9510"/>
                <a:gd name="connsiteY10" fmla="*/ 3647 h 10000"/>
                <a:gd name="connsiteX11" fmla="*/ 3832 w 9510"/>
                <a:gd name="connsiteY11" fmla="*/ 2972 h 10000"/>
                <a:gd name="connsiteX12" fmla="*/ 4154 w 9510"/>
                <a:gd name="connsiteY12" fmla="*/ 2357 h 10000"/>
                <a:gd name="connsiteX13" fmla="*/ 4324 w 9510"/>
                <a:gd name="connsiteY13" fmla="*/ 2048 h 10000"/>
                <a:gd name="connsiteX14" fmla="*/ 4493 w 9510"/>
                <a:gd name="connsiteY14" fmla="*/ 1803 h 10000"/>
                <a:gd name="connsiteX15" fmla="*/ 4679 w 9510"/>
                <a:gd name="connsiteY15" fmla="*/ 1536 h 10000"/>
                <a:gd name="connsiteX16" fmla="*/ 4848 w 9510"/>
                <a:gd name="connsiteY16" fmla="*/ 1312 h 10000"/>
                <a:gd name="connsiteX17" fmla="*/ 5033 w 9510"/>
                <a:gd name="connsiteY17" fmla="*/ 1109 h 10000"/>
                <a:gd name="connsiteX18" fmla="*/ 5219 w 9510"/>
                <a:gd name="connsiteY18" fmla="*/ 922 h 10000"/>
                <a:gd name="connsiteX19" fmla="*/ 5406 w 9510"/>
                <a:gd name="connsiteY19" fmla="*/ 758 h 10000"/>
                <a:gd name="connsiteX20" fmla="*/ 5609 w 9510"/>
                <a:gd name="connsiteY20" fmla="*/ 634 h 10000"/>
                <a:gd name="connsiteX21" fmla="*/ 5793 w 9510"/>
                <a:gd name="connsiteY21" fmla="*/ 512 h 10000"/>
                <a:gd name="connsiteX22" fmla="*/ 5996 w 9510"/>
                <a:gd name="connsiteY22" fmla="*/ 450 h 10000"/>
                <a:gd name="connsiteX23" fmla="*/ 6214 w 9510"/>
                <a:gd name="connsiteY23" fmla="*/ 388 h 10000"/>
                <a:gd name="connsiteX24" fmla="*/ 6434 w 9510"/>
                <a:gd name="connsiteY24" fmla="*/ 388 h 10000"/>
                <a:gd name="connsiteX25" fmla="*/ 6705 w 9510"/>
                <a:gd name="connsiteY25" fmla="*/ 410 h 10000"/>
                <a:gd name="connsiteX26" fmla="*/ 6974 w 9510"/>
                <a:gd name="connsiteY26" fmla="*/ 492 h 10000"/>
                <a:gd name="connsiteX27" fmla="*/ 7212 w 9510"/>
                <a:gd name="connsiteY27" fmla="*/ 634 h 10000"/>
                <a:gd name="connsiteX28" fmla="*/ 7466 w 9510"/>
                <a:gd name="connsiteY28" fmla="*/ 780 h 10000"/>
                <a:gd name="connsiteX29" fmla="*/ 7684 w 9510"/>
                <a:gd name="connsiteY29" fmla="*/ 985 h 10000"/>
                <a:gd name="connsiteX30" fmla="*/ 7922 w 9510"/>
                <a:gd name="connsiteY30" fmla="*/ 1250 h 10000"/>
                <a:gd name="connsiteX31" fmla="*/ 8124 w 9510"/>
                <a:gd name="connsiteY31" fmla="*/ 1536 h 10000"/>
                <a:gd name="connsiteX32" fmla="*/ 8361 w 9510"/>
                <a:gd name="connsiteY32" fmla="*/ 1864 h 10000"/>
                <a:gd name="connsiteX33" fmla="*/ 8549 w 9510"/>
                <a:gd name="connsiteY33" fmla="*/ 2213 h 10000"/>
                <a:gd name="connsiteX34" fmla="*/ 8749 w 9510"/>
                <a:gd name="connsiteY34" fmla="*/ 2602 h 10000"/>
                <a:gd name="connsiteX35" fmla="*/ 8936 w 9510"/>
                <a:gd name="connsiteY35" fmla="*/ 2990 h 10000"/>
                <a:gd name="connsiteX36" fmla="*/ 9510 w 9510"/>
                <a:gd name="connsiteY36" fmla="*/ 1641 h 10000"/>
                <a:gd name="connsiteX37" fmla="*/ 9239 w 9510"/>
                <a:gd name="connsiteY37" fmla="*/ 1334 h 10000"/>
                <a:gd name="connsiteX38" fmla="*/ 8987 w 9510"/>
                <a:gd name="connsiteY38" fmla="*/ 1086 h 10000"/>
                <a:gd name="connsiteX39" fmla="*/ 8699 w 9510"/>
                <a:gd name="connsiteY39" fmla="*/ 863 h 10000"/>
                <a:gd name="connsiteX40" fmla="*/ 8411 w 9510"/>
                <a:gd name="connsiteY40" fmla="*/ 656 h 10000"/>
                <a:gd name="connsiteX41" fmla="*/ 8107 w 9510"/>
                <a:gd name="connsiteY41" fmla="*/ 470 h 10000"/>
                <a:gd name="connsiteX42" fmla="*/ 7804 w 9510"/>
                <a:gd name="connsiteY42" fmla="*/ 307 h 10000"/>
                <a:gd name="connsiteX43" fmla="*/ 7483 w 9510"/>
                <a:gd name="connsiteY43" fmla="*/ 184 h 10000"/>
                <a:gd name="connsiteX44" fmla="*/ 7143 w 9510"/>
                <a:gd name="connsiteY44" fmla="*/ 101 h 10000"/>
                <a:gd name="connsiteX45" fmla="*/ 6790 w 9510"/>
                <a:gd name="connsiteY45" fmla="*/ 21 h 10000"/>
                <a:gd name="connsiteX46" fmla="*/ 6434 w 9510"/>
                <a:gd name="connsiteY46" fmla="*/ 0 h 10000"/>
                <a:gd name="connsiteX47" fmla="*/ 6131 w 9510"/>
                <a:gd name="connsiteY47" fmla="*/ 21 h 10000"/>
                <a:gd name="connsiteX48" fmla="*/ 5845 w 9510"/>
                <a:gd name="connsiteY48" fmla="*/ 61 h 10000"/>
                <a:gd name="connsiteX49" fmla="*/ 5559 w 9510"/>
                <a:gd name="connsiteY49" fmla="*/ 124 h 10000"/>
                <a:gd name="connsiteX50" fmla="*/ 5305 w 9510"/>
                <a:gd name="connsiteY50" fmla="*/ 184 h 10000"/>
                <a:gd name="connsiteX51" fmla="*/ 5033 w 9510"/>
                <a:gd name="connsiteY51" fmla="*/ 285 h 10000"/>
                <a:gd name="connsiteX52" fmla="*/ 4763 w 9510"/>
                <a:gd name="connsiteY52" fmla="*/ 388 h 10000"/>
                <a:gd name="connsiteX53" fmla="*/ 4527 w 9510"/>
                <a:gd name="connsiteY53" fmla="*/ 532 h 10000"/>
                <a:gd name="connsiteX54" fmla="*/ 4272 w 9510"/>
                <a:gd name="connsiteY54" fmla="*/ 698 h 10000"/>
                <a:gd name="connsiteX55" fmla="*/ 4054 w 9510"/>
                <a:gd name="connsiteY55" fmla="*/ 881 h 10000"/>
                <a:gd name="connsiteX56" fmla="*/ 3819 w 9510"/>
                <a:gd name="connsiteY56" fmla="*/ 1065 h 10000"/>
                <a:gd name="connsiteX57" fmla="*/ 3599 w 9510"/>
                <a:gd name="connsiteY57" fmla="*/ 1271 h 10000"/>
                <a:gd name="connsiteX58" fmla="*/ 3379 w 9510"/>
                <a:gd name="connsiteY58" fmla="*/ 1497 h 10000"/>
                <a:gd name="connsiteX59" fmla="*/ 3176 w 9510"/>
                <a:gd name="connsiteY59" fmla="*/ 1720 h 10000"/>
                <a:gd name="connsiteX60" fmla="*/ 2956 w 9510"/>
                <a:gd name="connsiteY60" fmla="*/ 1989 h 10000"/>
                <a:gd name="connsiteX61" fmla="*/ 2568 w 9510"/>
                <a:gd name="connsiteY61" fmla="*/ 2540 h 10000"/>
                <a:gd name="connsiteX62" fmla="*/ 2197 w 9510"/>
                <a:gd name="connsiteY62" fmla="*/ 3116 h 10000"/>
                <a:gd name="connsiteX63" fmla="*/ 1843 w 9510"/>
                <a:gd name="connsiteY63" fmla="*/ 3730 h 10000"/>
                <a:gd name="connsiteX64" fmla="*/ 1503 w 9510"/>
                <a:gd name="connsiteY64" fmla="*/ 4386 h 10000"/>
                <a:gd name="connsiteX65" fmla="*/ 1183 w 9510"/>
                <a:gd name="connsiteY65" fmla="*/ 5062 h 10000"/>
                <a:gd name="connsiteX66" fmla="*/ 878 w 9510"/>
                <a:gd name="connsiteY66" fmla="*/ 5737 h 10000"/>
                <a:gd name="connsiteX67" fmla="*/ 576 w 9510"/>
                <a:gd name="connsiteY67" fmla="*/ 6455 h 10000"/>
                <a:gd name="connsiteX68" fmla="*/ 0 w 9510"/>
                <a:gd name="connsiteY6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45 w 10000"/>
                <a:gd name="connsiteY2" fmla="*/ 8955 h 10000"/>
                <a:gd name="connsiteX3" fmla="*/ 852 w 10000"/>
                <a:gd name="connsiteY3" fmla="*/ 10000 h 10000"/>
                <a:gd name="connsiteX4" fmla="*/ 1262 w 10000"/>
                <a:gd name="connsiteY4" fmla="*/ 9222 h 10000"/>
                <a:gd name="connsiteX5" fmla="*/ 1633 w 10000"/>
                <a:gd name="connsiteY5" fmla="*/ 8403 h 10000"/>
                <a:gd name="connsiteX6" fmla="*/ 2025 w 10000"/>
                <a:gd name="connsiteY6" fmla="*/ 7602 h 10000"/>
                <a:gd name="connsiteX7" fmla="*/ 2361 w 10000"/>
                <a:gd name="connsiteY7" fmla="*/ 6782 h 10000"/>
                <a:gd name="connsiteX8" fmla="*/ 3038 w 10000"/>
                <a:gd name="connsiteY8" fmla="*/ 5165 h 10000"/>
                <a:gd name="connsiteX9" fmla="*/ 3376 w 10000"/>
                <a:gd name="connsiteY9" fmla="*/ 4386 h 10000"/>
                <a:gd name="connsiteX10" fmla="*/ 3695 w 10000"/>
                <a:gd name="connsiteY10" fmla="*/ 3647 h 10000"/>
                <a:gd name="connsiteX11" fmla="*/ 4029 w 10000"/>
                <a:gd name="connsiteY11" fmla="*/ 2972 h 10000"/>
                <a:gd name="connsiteX12" fmla="*/ 4368 w 10000"/>
                <a:gd name="connsiteY12" fmla="*/ 2357 h 10000"/>
                <a:gd name="connsiteX13" fmla="*/ 4547 w 10000"/>
                <a:gd name="connsiteY13" fmla="*/ 2048 h 10000"/>
                <a:gd name="connsiteX14" fmla="*/ 4725 w 10000"/>
                <a:gd name="connsiteY14" fmla="*/ 1803 h 10000"/>
                <a:gd name="connsiteX15" fmla="*/ 4920 w 10000"/>
                <a:gd name="connsiteY15" fmla="*/ 1536 h 10000"/>
                <a:gd name="connsiteX16" fmla="*/ 5098 w 10000"/>
                <a:gd name="connsiteY16" fmla="*/ 1312 h 10000"/>
                <a:gd name="connsiteX17" fmla="*/ 5292 w 10000"/>
                <a:gd name="connsiteY17" fmla="*/ 1109 h 10000"/>
                <a:gd name="connsiteX18" fmla="*/ 5488 w 10000"/>
                <a:gd name="connsiteY18" fmla="*/ 922 h 10000"/>
                <a:gd name="connsiteX19" fmla="*/ 5685 w 10000"/>
                <a:gd name="connsiteY19" fmla="*/ 758 h 10000"/>
                <a:gd name="connsiteX20" fmla="*/ 5898 w 10000"/>
                <a:gd name="connsiteY20" fmla="*/ 634 h 10000"/>
                <a:gd name="connsiteX21" fmla="*/ 6091 w 10000"/>
                <a:gd name="connsiteY21" fmla="*/ 512 h 10000"/>
                <a:gd name="connsiteX22" fmla="*/ 6305 w 10000"/>
                <a:gd name="connsiteY22" fmla="*/ 450 h 10000"/>
                <a:gd name="connsiteX23" fmla="*/ 6534 w 10000"/>
                <a:gd name="connsiteY23" fmla="*/ 388 h 10000"/>
                <a:gd name="connsiteX24" fmla="*/ 6766 w 10000"/>
                <a:gd name="connsiteY24" fmla="*/ 388 h 10000"/>
                <a:gd name="connsiteX25" fmla="*/ 7050 w 10000"/>
                <a:gd name="connsiteY25" fmla="*/ 410 h 10000"/>
                <a:gd name="connsiteX26" fmla="*/ 7333 w 10000"/>
                <a:gd name="connsiteY26" fmla="*/ 492 h 10000"/>
                <a:gd name="connsiteX27" fmla="*/ 7584 w 10000"/>
                <a:gd name="connsiteY27" fmla="*/ 634 h 10000"/>
                <a:gd name="connsiteX28" fmla="*/ 7851 w 10000"/>
                <a:gd name="connsiteY28" fmla="*/ 780 h 10000"/>
                <a:gd name="connsiteX29" fmla="*/ 8080 w 10000"/>
                <a:gd name="connsiteY29" fmla="*/ 985 h 10000"/>
                <a:gd name="connsiteX30" fmla="*/ 8330 w 10000"/>
                <a:gd name="connsiteY30" fmla="*/ 1250 h 10000"/>
                <a:gd name="connsiteX31" fmla="*/ 8543 w 10000"/>
                <a:gd name="connsiteY31" fmla="*/ 1536 h 10000"/>
                <a:gd name="connsiteX32" fmla="*/ 8792 w 10000"/>
                <a:gd name="connsiteY32" fmla="*/ 1864 h 10000"/>
                <a:gd name="connsiteX33" fmla="*/ 8989 w 10000"/>
                <a:gd name="connsiteY33" fmla="*/ 2213 h 10000"/>
                <a:gd name="connsiteX34" fmla="*/ 9200 w 10000"/>
                <a:gd name="connsiteY34" fmla="*/ 2602 h 10000"/>
                <a:gd name="connsiteX35" fmla="*/ 10000 w 10000"/>
                <a:gd name="connsiteY35" fmla="*/ 1641 h 10000"/>
                <a:gd name="connsiteX36" fmla="*/ 9715 w 10000"/>
                <a:gd name="connsiteY36" fmla="*/ 1334 h 10000"/>
                <a:gd name="connsiteX37" fmla="*/ 9450 w 10000"/>
                <a:gd name="connsiteY37" fmla="*/ 1086 h 10000"/>
                <a:gd name="connsiteX38" fmla="*/ 9147 w 10000"/>
                <a:gd name="connsiteY38" fmla="*/ 863 h 10000"/>
                <a:gd name="connsiteX39" fmla="*/ 8844 w 10000"/>
                <a:gd name="connsiteY39" fmla="*/ 656 h 10000"/>
                <a:gd name="connsiteX40" fmla="*/ 8525 w 10000"/>
                <a:gd name="connsiteY40" fmla="*/ 470 h 10000"/>
                <a:gd name="connsiteX41" fmla="*/ 8206 w 10000"/>
                <a:gd name="connsiteY41" fmla="*/ 307 h 10000"/>
                <a:gd name="connsiteX42" fmla="*/ 7869 w 10000"/>
                <a:gd name="connsiteY42" fmla="*/ 184 h 10000"/>
                <a:gd name="connsiteX43" fmla="*/ 7511 w 10000"/>
                <a:gd name="connsiteY43" fmla="*/ 101 h 10000"/>
                <a:gd name="connsiteX44" fmla="*/ 7140 w 10000"/>
                <a:gd name="connsiteY44" fmla="*/ 21 h 10000"/>
                <a:gd name="connsiteX45" fmla="*/ 6766 w 10000"/>
                <a:gd name="connsiteY45" fmla="*/ 0 h 10000"/>
                <a:gd name="connsiteX46" fmla="*/ 6447 w 10000"/>
                <a:gd name="connsiteY46" fmla="*/ 21 h 10000"/>
                <a:gd name="connsiteX47" fmla="*/ 6146 w 10000"/>
                <a:gd name="connsiteY47" fmla="*/ 61 h 10000"/>
                <a:gd name="connsiteX48" fmla="*/ 5845 w 10000"/>
                <a:gd name="connsiteY48" fmla="*/ 124 h 10000"/>
                <a:gd name="connsiteX49" fmla="*/ 5578 w 10000"/>
                <a:gd name="connsiteY49" fmla="*/ 184 h 10000"/>
                <a:gd name="connsiteX50" fmla="*/ 5292 w 10000"/>
                <a:gd name="connsiteY50" fmla="*/ 285 h 10000"/>
                <a:gd name="connsiteX51" fmla="*/ 5008 w 10000"/>
                <a:gd name="connsiteY51" fmla="*/ 388 h 10000"/>
                <a:gd name="connsiteX52" fmla="*/ 4760 w 10000"/>
                <a:gd name="connsiteY52" fmla="*/ 532 h 10000"/>
                <a:gd name="connsiteX53" fmla="*/ 4492 w 10000"/>
                <a:gd name="connsiteY53" fmla="*/ 698 h 10000"/>
                <a:gd name="connsiteX54" fmla="*/ 4263 w 10000"/>
                <a:gd name="connsiteY54" fmla="*/ 881 h 10000"/>
                <a:gd name="connsiteX55" fmla="*/ 4016 w 10000"/>
                <a:gd name="connsiteY55" fmla="*/ 1065 h 10000"/>
                <a:gd name="connsiteX56" fmla="*/ 3784 w 10000"/>
                <a:gd name="connsiteY56" fmla="*/ 1271 h 10000"/>
                <a:gd name="connsiteX57" fmla="*/ 3553 w 10000"/>
                <a:gd name="connsiteY57" fmla="*/ 1497 h 10000"/>
                <a:gd name="connsiteX58" fmla="*/ 3340 w 10000"/>
                <a:gd name="connsiteY58" fmla="*/ 1720 h 10000"/>
                <a:gd name="connsiteX59" fmla="*/ 3108 w 10000"/>
                <a:gd name="connsiteY59" fmla="*/ 1989 h 10000"/>
                <a:gd name="connsiteX60" fmla="*/ 2700 w 10000"/>
                <a:gd name="connsiteY60" fmla="*/ 2540 h 10000"/>
                <a:gd name="connsiteX61" fmla="*/ 2310 w 10000"/>
                <a:gd name="connsiteY61" fmla="*/ 3116 h 10000"/>
                <a:gd name="connsiteX62" fmla="*/ 1938 w 10000"/>
                <a:gd name="connsiteY62" fmla="*/ 3730 h 10000"/>
                <a:gd name="connsiteX63" fmla="*/ 1580 w 10000"/>
                <a:gd name="connsiteY63" fmla="*/ 4386 h 10000"/>
                <a:gd name="connsiteX64" fmla="*/ 1244 w 10000"/>
                <a:gd name="connsiteY64" fmla="*/ 5062 h 10000"/>
                <a:gd name="connsiteX65" fmla="*/ 923 w 10000"/>
                <a:gd name="connsiteY65" fmla="*/ 5737 h 10000"/>
                <a:gd name="connsiteX66" fmla="*/ 606 w 10000"/>
                <a:gd name="connsiteY66" fmla="*/ 6455 h 10000"/>
                <a:gd name="connsiteX67" fmla="*/ 0 w 10000"/>
                <a:gd name="connsiteY67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9147 w 10002"/>
                <a:gd name="connsiteY37" fmla="*/ 863 h 10000"/>
                <a:gd name="connsiteX38" fmla="*/ 8844 w 10002"/>
                <a:gd name="connsiteY38" fmla="*/ 656 h 10000"/>
                <a:gd name="connsiteX39" fmla="*/ 8525 w 10002"/>
                <a:gd name="connsiteY39" fmla="*/ 470 h 10000"/>
                <a:gd name="connsiteX40" fmla="*/ 8206 w 10002"/>
                <a:gd name="connsiteY40" fmla="*/ 307 h 10000"/>
                <a:gd name="connsiteX41" fmla="*/ 7869 w 10002"/>
                <a:gd name="connsiteY41" fmla="*/ 184 h 10000"/>
                <a:gd name="connsiteX42" fmla="*/ 7511 w 10002"/>
                <a:gd name="connsiteY42" fmla="*/ 101 h 10000"/>
                <a:gd name="connsiteX43" fmla="*/ 7140 w 10002"/>
                <a:gd name="connsiteY43" fmla="*/ 21 h 10000"/>
                <a:gd name="connsiteX44" fmla="*/ 6766 w 10002"/>
                <a:gd name="connsiteY44" fmla="*/ 0 h 10000"/>
                <a:gd name="connsiteX45" fmla="*/ 6447 w 10002"/>
                <a:gd name="connsiteY45" fmla="*/ 21 h 10000"/>
                <a:gd name="connsiteX46" fmla="*/ 6146 w 10002"/>
                <a:gd name="connsiteY46" fmla="*/ 61 h 10000"/>
                <a:gd name="connsiteX47" fmla="*/ 5845 w 10002"/>
                <a:gd name="connsiteY47" fmla="*/ 124 h 10000"/>
                <a:gd name="connsiteX48" fmla="*/ 5578 w 10002"/>
                <a:gd name="connsiteY48" fmla="*/ 184 h 10000"/>
                <a:gd name="connsiteX49" fmla="*/ 5292 w 10002"/>
                <a:gd name="connsiteY49" fmla="*/ 285 h 10000"/>
                <a:gd name="connsiteX50" fmla="*/ 5008 w 10002"/>
                <a:gd name="connsiteY50" fmla="*/ 388 h 10000"/>
                <a:gd name="connsiteX51" fmla="*/ 4760 w 10002"/>
                <a:gd name="connsiteY51" fmla="*/ 532 h 10000"/>
                <a:gd name="connsiteX52" fmla="*/ 4492 w 10002"/>
                <a:gd name="connsiteY52" fmla="*/ 698 h 10000"/>
                <a:gd name="connsiteX53" fmla="*/ 4263 w 10002"/>
                <a:gd name="connsiteY53" fmla="*/ 881 h 10000"/>
                <a:gd name="connsiteX54" fmla="*/ 4016 w 10002"/>
                <a:gd name="connsiteY54" fmla="*/ 1065 h 10000"/>
                <a:gd name="connsiteX55" fmla="*/ 3784 w 10002"/>
                <a:gd name="connsiteY55" fmla="*/ 1271 h 10000"/>
                <a:gd name="connsiteX56" fmla="*/ 3553 w 10002"/>
                <a:gd name="connsiteY56" fmla="*/ 1497 h 10000"/>
                <a:gd name="connsiteX57" fmla="*/ 3340 w 10002"/>
                <a:gd name="connsiteY57" fmla="*/ 1720 h 10000"/>
                <a:gd name="connsiteX58" fmla="*/ 3108 w 10002"/>
                <a:gd name="connsiteY58" fmla="*/ 1989 h 10000"/>
                <a:gd name="connsiteX59" fmla="*/ 2700 w 10002"/>
                <a:gd name="connsiteY59" fmla="*/ 2540 h 10000"/>
                <a:gd name="connsiteX60" fmla="*/ 2310 w 10002"/>
                <a:gd name="connsiteY60" fmla="*/ 3116 h 10000"/>
                <a:gd name="connsiteX61" fmla="*/ 1938 w 10002"/>
                <a:gd name="connsiteY61" fmla="*/ 3730 h 10000"/>
                <a:gd name="connsiteX62" fmla="*/ 1580 w 10002"/>
                <a:gd name="connsiteY62" fmla="*/ 4386 h 10000"/>
                <a:gd name="connsiteX63" fmla="*/ 1244 w 10002"/>
                <a:gd name="connsiteY63" fmla="*/ 5062 h 10000"/>
                <a:gd name="connsiteX64" fmla="*/ 923 w 10002"/>
                <a:gd name="connsiteY64" fmla="*/ 5737 h 10000"/>
                <a:gd name="connsiteX65" fmla="*/ 606 w 10002"/>
                <a:gd name="connsiteY65" fmla="*/ 6455 h 10000"/>
                <a:gd name="connsiteX66" fmla="*/ 0 w 10002"/>
                <a:gd name="connsiteY66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8844 w 10002"/>
                <a:gd name="connsiteY37" fmla="*/ 656 h 10000"/>
                <a:gd name="connsiteX38" fmla="*/ 8525 w 10002"/>
                <a:gd name="connsiteY38" fmla="*/ 470 h 10000"/>
                <a:gd name="connsiteX39" fmla="*/ 8206 w 10002"/>
                <a:gd name="connsiteY39" fmla="*/ 307 h 10000"/>
                <a:gd name="connsiteX40" fmla="*/ 7869 w 10002"/>
                <a:gd name="connsiteY40" fmla="*/ 184 h 10000"/>
                <a:gd name="connsiteX41" fmla="*/ 7511 w 10002"/>
                <a:gd name="connsiteY41" fmla="*/ 101 h 10000"/>
                <a:gd name="connsiteX42" fmla="*/ 7140 w 10002"/>
                <a:gd name="connsiteY42" fmla="*/ 21 h 10000"/>
                <a:gd name="connsiteX43" fmla="*/ 6766 w 10002"/>
                <a:gd name="connsiteY43" fmla="*/ 0 h 10000"/>
                <a:gd name="connsiteX44" fmla="*/ 6447 w 10002"/>
                <a:gd name="connsiteY44" fmla="*/ 21 h 10000"/>
                <a:gd name="connsiteX45" fmla="*/ 6146 w 10002"/>
                <a:gd name="connsiteY45" fmla="*/ 61 h 10000"/>
                <a:gd name="connsiteX46" fmla="*/ 5845 w 10002"/>
                <a:gd name="connsiteY46" fmla="*/ 124 h 10000"/>
                <a:gd name="connsiteX47" fmla="*/ 5578 w 10002"/>
                <a:gd name="connsiteY47" fmla="*/ 184 h 10000"/>
                <a:gd name="connsiteX48" fmla="*/ 5292 w 10002"/>
                <a:gd name="connsiteY48" fmla="*/ 285 h 10000"/>
                <a:gd name="connsiteX49" fmla="*/ 5008 w 10002"/>
                <a:gd name="connsiteY49" fmla="*/ 388 h 10000"/>
                <a:gd name="connsiteX50" fmla="*/ 4760 w 10002"/>
                <a:gd name="connsiteY50" fmla="*/ 532 h 10000"/>
                <a:gd name="connsiteX51" fmla="*/ 4492 w 10002"/>
                <a:gd name="connsiteY51" fmla="*/ 698 h 10000"/>
                <a:gd name="connsiteX52" fmla="*/ 4263 w 10002"/>
                <a:gd name="connsiteY52" fmla="*/ 881 h 10000"/>
                <a:gd name="connsiteX53" fmla="*/ 4016 w 10002"/>
                <a:gd name="connsiteY53" fmla="*/ 1065 h 10000"/>
                <a:gd name="connsiteX54" fmla="*/ 3784 w 10002"/>
                <a:gd name="connsiteY54" fmla="*/ 1271 h 10000"/>
                <a:gd name="connsiteX55" fmla="*/ 3553 w 10002"/>
                <a:gd name="connsiteY55" fmla="*/ 1497 h 10000"/>
                <a:gd name="connsiteX56" fmla="*/ 3340 w 10002"/>
                <a:gd name="connsiteY56" fmla="*/ 1720 h 10000"/>
                <a:gd name="connsiteX57" fmla="*/ 3108 w 10002"/>
                <a:gd name="connsiteY57" fmla="*/ 1989 h 10000"/>
                <a:gd name="connsiteX58" fmla="*/ 2700 w 10002"/>
                <a:gd name="connsiteY58" fmla="*/ 2540 h 10000"/>
                <a:gd name="connsiteX59" fmla="*/ 2310 w 10002"/>
                <a:gd name="connsiteY59" fmla="*/ 3116 h 10000"/>
                <a:gd name="connsiteX60" fmla="*/ 1938 w 10002"/>
                <a:gd name="connsiteY60" fmla="*/ 3730 h 10000"/>
                <a:gd name="connsiteX61" fmla="*/ 1580 w 10002"/>
                <a:gd name="connsiteY61" fmla="*/ 4386 h 10000"/>
                <a:gd name="connsiteX62" fmla="*/ 1244 w 10002"/>
                <a:gd name="connsiteY62" fmla="*/ 5062 h 10000"/>
                <a:gd name="connsiteX63" fmla="*/ 923 w 10002"/>
                <a:gd name="connsiteY63" fmla="*/ 5737 h 10000"/>
                <a:gd name="connsiteX64" fmla="*/ 606 w 10002"/>
                <a:gd name="connsiteY64" fmla="*/ 6455 h 10000"/>
                <a:gd name="connsiteX65" fmla="*/ 0 w 10002"/>
                <a:gd name="connsiteY65" fmla="*/ 7890 h 10000"/>
                <a:gd name="connsiteX0" fmla="*/ 0 w 9459"/>
                <a:gd name="connsiteY0" fmla="*/ 7890 h 10000"/>
                <a:gd name="connsiteX1" fmla="*/ 0 w 9459"/>
                <a:gd name="connsiteY1" fmla="*/ 7890 h 10000"/>
                <a:gd name="connsiteX2" fmla="*/ 445 w 9459"/>
                <a:gd name="connsiteY2" fmla="*/ 8955 h 10000"/>
                <a:gd name="connsiteX3" fmla="*/ 852 w 9459"/>
                <a:gd name="connsiteY3" fmla="*/ 10000 h 10000"/>
                <a:gd name="connsiteX4" fmla="*/ 1262 w 9459"/>
                <a:gd name="connsiteY4" fmla="*/ 9222 h 10000"/>
                <a:gd name="connsiteX5" fmla="*/ 1633 w 9459"/>
                <a:gd name="connsiteY5" fmla="*/ 8403 h 10000"/>
                <a:gd name="connsiteX6" fmla="*/ 2025 w 9459"/>
                <a:gd name="connsiteY6" fmla="*/ 7602 h 10000"/>
                <a:gd name="connsiteX7" fmla="*/ 2361 w 9459"/>
                <a:gd name="connsiteY7" fmla="*/ 6782 h 10000"/>
                <a:gd name="connsiteX8" fmla="*/ 3038 w 9459"/>
                <a:gd name="connsiteY8" fmla="*/ 5165 h 10000"/>
                <a:gd name="connsiteX9" fmla="*/ 3376 w 9459"/>
                <a:gd name="connsiteY9" fmla="*/ 4386 h 10000"/>
                <a:gd name="connsiteX10" fmla="*/ 3695 w 9459"/>
                <a:gd name="connsiteY10" fmla="*/ 3647 h 10000"/>
                <a:gd name="connsiteX11" fmla="*/ 4029 w 9459"/>
                <a:gd name="connsiteY11" fmla="*/ 2972 h 10000"/>
                <a:gd name="connsiteX12" fmla="*/ 4368 w 9459"/>
                <a:gd name="connsiteY12" fmla="*/ 2357 h 10000"/>
                <a:gd name="connsiteX13" fmla="*/ 4547 w 9459"/>
                <a:gd name="connsiteY13" fmla="*/ 2048 h 10000"/>
                <a:gd name="connsiteX14" fmla="*/ 4725 w 9459"/>
                <a:gd name="connsiteY14" fmla="*/ 1803 h 10000"/>
                <a:gd name="connsiteX15" fmla="*/ 4920 w 9459"/>
                <a:gd name="connsiteY15" fmla="*/ 1536 h 10000"/>
                <a:gd name="connsiteX16" fmla="*/ 5098 w 9459"/>
                <a:gd name="connsiteY16" fmla="*/ 1312 h 10000"/>
                <a:gd name="connsiteX17" fmla="*/ 5292 w 9459"/>
                <a:gd name="connsiteY17" fmla="*/ 1109 h 10000"/>
                <a:gd name="connsiteX18" fmla="*/ 5488 w 9459"/>
                <a:gd name="connsiteY18" fmla="*/ 922 h 10000"/>
                <a:gd name="connsiteX19" fmla="*/ 5685 w 9459"/>
                <a:gd name="connsiteY19" fmla="*/ 758 h 10000"/>
                <a:gd name="connsiteX20" fmla="*/ 5898 w 9459"/>
                <a:gd name="connsiteY20" fmla="*/ 634 h 10000"/>
                <a:gd name="connsiteX21" fmla="*/ 6091 w 9459"/>
                <a:gd name="connsiteY21" fmla="*/ 512 h 10000"/>
                <a:gd name="connsiteX22" fmla="*/ 6305 w 9459"/>
                <a:gd name="connsiteY22" fmla="*/ 450 h 10000"/>
                <a:gd name="connsiteX23" fmla="*/ 6534 w 9459"/>
                <a:gd name="connsiteY23" fmla="*/ 388 h 10000"/>
                <a:gd name="connsiteX24" fmla="*/ 6766 w 9459"/>
                <a:gd name="connsiteY24" fmla="*/ 388 h 10000"/>
                <a:gd name="connsiteX25" fmla="*/ 7050 w 9459"/>
                <a:gd name="connsiteY25" fmla="*/ 410 h 10000"/>
                <a:gd name="connsiteX26" fmla="*/ 7333 w 9459"/>
                <a:gd name="connsiteY26" fmla="*/ 492 h 10000"/>
                <a:gd name="connsiteX27" fmla="*/ 7584 w 9459"/>
                <a:gd name="connsiteY27" fmla="*/ 634 h 10000"/>
                <a:gd name="connsiteX28" fmla="*/ 7851 w 9459"/>
                <a:gd name="connsiteY28" fmla="*/ 780 h 10000"/>
                <a:gd name="connsiteX29" fmla="*/ 8080 w 9459"/>
                <a:gd name="connsiteY29" fmla="*/ 985 h 10000"/>
                <a:gd name="connsiteX30" fmla="*/ 8330 w 9459"/>
                <a:gd name="connsiteY30" fmla="*/ 1250 h 10000"/>
                <a:gd name="connsiteX31" fmla="*/ 8543 w 9459"/>
                <a:gd name="connsiteY31" fmla="*/ 1536 h 10000"/>
                <a:gd name="connsiteX32" fmla="*/ 8792 w 9459"/>
                <a:gd name="connsiteY32" fmla="*/ 1864 h 10000"/>
                <a:gd name="connsiteX33" fmla="*/ 8989 w 9459"/>
                <a:gd name="connsiteY33" fmla="*/ 2213 h 10000"/>
                <a:gd name="connsiteX34" fmla="*/ 9200 w 9459"/>
                <a:gd name="connsiteY34" fmla="*/ 2602 h 10000"/>
                <a:gd name="connsiteX35" fmla="*/ 9450 w 9459"/>
                <a:gd name="connsiteY35" fmla="*/ 1086 h 10000"/>
                <a:gd name="connsiteX36" fmla="*/ 8844 w 9459"/>
                <a:gd name="connsiteY36" fmla="*/ 656 h 10000"/>
                <a:gd name="connsiteX37" fmla="*/ 8525 w 9459"/>
                <a:gd name="connsiteY37" fmla="*/ 470 h 10000"/>
                <a:gd name="connsiteX38" fmla="*/ 8206 w 9459"/>
                <a:gd name="connsiteY38" fmla="*/ 307 h 10000"/>
                <a:gd name="connsiteX39" fmla="*/ 7869 w 9459"/>
                <a:gd name="connsiteY39" fmla="*/ 184 h 10000"/>
                <a:gd name="connsiteX40" fmla="*/ 7511 w 9459"/>
                <a:gd name="connsiteY40" fmla="*/ 101 h 10000"/>
                <a:gd name="connsiteX41" fmla="*/ 7140 w 9459"/>
                <a:gd name="connsiteY41" fmla="*/ 21 h 10000"/>
                <a:gd name="connsiteX42" fmla="*/ 6766 w 9459"/>
                <a:gd name="connsiteY42" fmla="*/ 0 h 10000"/>
                <a:gd name="connsiteX43" fmla="*/ 6447 w 9459"/>
                <a:gd name="connsiteY43" fmla="*/ 21 h 10000"/>
                <a:gd name="connsiteX44" fmla="*/ 6146 w 9459"/>
                <a:gd name="connsiteY44" fmla="*/ 61 h 10000"/>
                <a:gd name="connsiteX45" fmla="*/ 5845 w 9459"/>
                <a:gd name="connsiteY45" fmla="*/ 124 h 10000"/>
                <a:gd name="connsiteX46" fmla="*/ 5578 w 9459"/>
                <a:gd name="connsiteY46" fmla="*/ 184 h 10000"/>
                <a:gd name="connsiteX47" fmla="*/ 5292 w 9459"/>
                <a:gd name="connsiteY47" fmla="*/ 285 h 10000"/>
                <a:gd name="connsiteX48" fmla="*/ 5008 w 9459"/>
                <a:gd name="connsiteY48" fmla="*/ 388 h 10000"/>
                <a:gd name="connsiteX49" fmla="*/ 4760 w 9459"/>
                <a:gd name="connsiteY49" fmla="*/ 532 h 10000"/>
                <a:gd name="connsiteX50" fmla="*/ 4492 w 9459"/>
                <a:gd name="connsiteY50" fmla="*/ 698 h 10000"/>
                <a:gd name="connsiteX51" fmla="*/ 4263 w 9459"/>
                <a:gd name="connsiteY51" fmla="*/ 881 h 10000"/>
                <a:gd name="connsiteX52" fmla="*/ 4016 w 9459"/>
                <a:gd name="connsiteY52" fmla="*/ 1065 h 10000"/>
                <a:gd name="connsiteX53" fmla="*/ 3784 w 9459"/>
                <a:gd name="connsiteY53" fmla="*/ 1271 h 10000"/>
                <a:gd name="connsiteX54" fmla="*/ 3553 w 9459"/>
                <a:gd name="connsiteY54" fmla="*/ 1497 h 10000"/>
                <a:gd name="connsiteX55" fmla="*/ 3340 w 9459"/>
                <a:gd name="connsiteY55" fmla="*/ 1720 h 10000"/>
                <a:gd name="connsiteX56" fmla="*/ 3108 w 9459"/>
                <a:gd name="connsiteY56" fmla="*/ 1989 h 10000"/>
                <a:gd name="connsiteX57" fmla="*/ 2700 w 9459"/>
                <a:gd name="connsiteY57" fmla="*/ 2540 h 10000"/>
                <a:gd name="connsiteX58" fmla="*/ 2310 w 9459"/>
                <a:gd name="connsiteY58" fmla="*/ 3116 h 10000"/>
                <a:gd name="connsiteX59" fmla="*/ 1938 w 9459"/>
                <a:gd name="connsiteY59" fmla="*/ 3730 h 10000"/>
                <a:gd name="connsiteX60" fmla="*/ 1580 w 9459"/>
                <a:gd name="connsiteY60" fmla="*/ 4386 h 10000"/>
                <a:gd name="connsiteX61" fmla="*/ 1244 w 9459"/>
                <a:gd name="connsiteY61" fmla="*/ 5062 h 10000"/>
                <a:gd name="connsiteX62" fmla="*/ 923 w 9459"/>
                <a:gd name="connsiteY62" fmla="*/ 5737 h 10000"/>
                <a:gd name="connsiteX63" fmla="*/ 606 w 9459"/>
                <a:gd name="connsiteY63" fmla="*/ 6455 h 10000"/>
                <a:gd name="connsiteX64" fmla="*/ 0 w 9459"/>
                <a:gd name="connsiteY64" fmla="*/ 7890 h 10000"/>
                <a:gd name="connsiteX0" fmla="*/ 0 w 9821"/>
                <a:gd name="connsiteY0" fmla="*/ 7890 h 10000"/>
                <a:gd name="connsiteX1" fmla="*/ 0 w 9821"/>
                <a:gd name="connsiteY1" fmla="*/ 7890 h 10000"/>
                <a:gd name="connsiteX2" fmla="*/ 470 w 9821"/>
                <a:gd name="connsiteY2" fmla="*/ 8955 h 10000"/>
                <a:gd name="connsiteX3" fmla="*/ 901 w 9821"/>
                <a:gd name="connsiteY3" fmla="*/ 10000 h 10000"/>
                <a:gd name="connsiteX4" fmla="*/ 1334 w 9821"/>
                <a:gd name="connsiteY4" fmla="*/ 9222 h 10000"/>
                <a:gd name="connsiteX5" fmla="*/ 1726 w 9821"/>
                <a:gd name="connsiteY5" fmla="*/ 8403 h 10000"/>
                <a:gd name="connsiteX6" fmla="*/ 2141 w 9821"/>
                <a:gd name="connsiteY6" fmla="*/ 7602 h 10000"/>
                <a:gd name="connsiteX7" fmla="*/ 2496 w 9821"/>
                <a:gd name="connsiteY7" fmla="*/ 6782 h 10000"/>
                <a:gd name="connsiteX8" fmla="*/ 3212 w 9821"/>
                <a:gd name="connsiteY8" fmla="*/ 5165 h 10000"/>
                <a:gd name="connsiteX9" fmla="*/ 3569 w 9821"/>
                <a:gd name="connsiteY9" fmla="*/ 4386 h 10000"/>
                <a:gd name="connsiteX10" fmla="*/ 3906 w 9821"/>
                <a:gd name="connsiteY10" fmla="*/ 3647 h 10000"/>
                <a:gd name="connsiteX11" fmla="*/ 4259 w 9821"/>
                <a:gd name="connsiteY11" fmla="*/ 2972 h 10000"/>
                <a:gd name="connsiteX12" fmla="*/ 4618 w 9821"/>
                <a:gd name="connsiteY12" fmla="*/ 2357 h 10000"/>
                <a:gd name="connsiteX13" fmla="*/ 4807 w 9821"/>
                <a:gd name="connsiteY13" fmla="*/ 2048 h 10000"/>
                <a:gd name="connsiteX14" fmla="*/ 4995 w 9821"/>
                <a:gd name="connsiteY14" fmla="*/ 1803 h 10000"/>
                <a:gd name="connsiteX15" fmla="*/ 5201 w 9821"/>
                <a:gd name="connsiteY15" fmla="*/ 1536 h 10000"/>
                <a:gd name="connsiteX16" fmla="*/ 5390 w 9821"/>
                <a:gd name="connsiteY16" fmla="*/ 1312 h 10000"/>
                <a:gd name="connsiteX17" fmla="*/ 5595 w 9821"/>
                <a:gd name="connsiteY17" fmla="*/ 1109 h 10000"/>
                <a:gd name="connsiteX18" fmla="*/ 5802 w 9821"/>
                <a:gd name="connsiteY18" fmla="*/ 922 h 10000"/>
                <a:gd name="connsiteX19" fmla="*/ 6010 w 9821"/>
                <a:gd name="connsiteY19" fmla="*/ 758 h 10000"/>
                <a:gd name="connsiteX20" fmla="*/ 6235 w 9821"/>
                <a:gd name="connsiteY20" fmla="*/ 634 h 10000"/>
                <a:gd name="connsiteX21" fmla="*/ 6439 w 9821"/>
                <a:gd name="connsiteY21" fmla="*/ 512 h 10000"/>
                <a:gd name="connsiteX22" fmla="*/ 6666 w 9821"/>
                <a:gd name="connsiteY22" fmla="*/ 450 h 10000"/>
                <a:gd name="connsiteX23" fmla="*/ 6908 w 9821"/>
                <a:gd name="connsiteY23" fmla="*/ 388 h 10000"/>
                <a:gd name="connsiteX24" fmla="*/ 7153 w 9821"/>
                <a:gd name="connsiteY24" fmla="*/ 388 h 10000"/>
                <a:gd name="connsiteX25" fmla="*/ 7453 w 9821"/>
                <a:gd name="connsiteY25" fmla="*/ 410 h 10000"/>
                <a:gd name="connsiteX26" fmla="*/ 7752 w 9821"/>
                <a:gd name="connsiteY26" fmla="*/ 492 h 10000"/>
                <a:gd name="connsiteX27" fmla="*/ 8018 w 9821"/>
                <a:gd name="connsiteY27" fmla="*/ 634 h 10000"/>
                <a:gd name="connsiteX28" fmla="*/ 8300 w 9821"/>
                <a:gd name="connsiteY28" fmla="*/ 780 h 10000"/>
                <a:gd name="connsiteX29" fmla="*/ 8542 w 9821"/>
                <a:gd name="connsiteY29" fmla="*/ 985 h 10000"/>
                <a:gd name="connsiteX30" fmla="*/ 8806 w 9821"/>
                <a:gd name="connsiteY30" fmla="*/ 1250 h 10000"/>
                <a:gd name="connsiteX31" fmla="*/ 9032 w 9821"/>
                <a:gd name="connsiteY31" fmla="*/ 1536 h 10000"/>
                <a:gd name="connsiteX32" fmla="*/ 9295 w 9821"/>
                <a:gd name="connsiteY32" fmla="*/ 1864 h 10000"/>
                <a:gd name="connsiteX33" fmla="*/ 9503 w 9821"/>
                <a:gd name="connsiteY33" fmla="*/ 2213 h 10000"/>
                <a:gd name="connsiteX34" fmla="*/ 9726 w 9821"/>
                <a:gd name="connsiteY34" fmla="*/ 2602 h 10000"/>
                <a:gd name="connsiteX35" fmla="*/ 9792 w 9821"/>
                <a:gd name="connsiteY35" fmla="*/ 1086 h 10000"/>
                <a:gd name="connsiteX36" fmla="*/ 9350 w 9821"/>
                <a:gd name="connsiteY36" fmla="*/ 656 h 10000"/>
                <a:gd name="connsiteX37" fmla="*/ 9013 w 9821"/>
                <a:gd name="connsiteY37" fmla="*/ 470 h 10000"/>
                <a:gd name="connsiteX38" fmla="*/ 8675 w 9821"/>
                <a:gd name="connsiteY38" fmla="*/ 307 h 10000"/>
                <a:gd name="connsiteX39" fmla="*/ 8319 w 9821"/>
                <a:gd name="connsiteY39" fmla="*/ 184 h 10000"/>
                <a:gd name="connsiteX40" fmla="*/ 7941 w 9821"/>
                <a:gd name="connsiteY40" fmla="*/ 101 h 10000"/>
                <a:gd name="connsiteX41" fmla="*/ 7548 w 9821"/>
                <a:gd name="connsiteY41" fmla="*/ 21 h 10000"/>
                <a:gd name="connsiteX42" fmla="*/ 7153 w 9821"/>
                <a:gd name="connsiteY42" fmla="*/ 0 h 10000"/>
                <a:gd name="connsiteX43" fmla="*/ 6816 w 9821"/>
                <a:gd name="connsiteY43" fmla="*/ 21 h 10000"/>
                <a:gd name="connsiteX44" fmla="*/ 6498 w 9821"/>
                <a:gd name="connsiteY44" fmla="*/ 61 h 10000"/>
                <a:gd name="connsiteX45" fmla="*/ 6179 w 9821"/>
                <a:gd name="connsiteY45" fmla="*/ 124 h 10000"/>
                <a:gd name="connsiteX46" fmla="*/ 5897 w 9821"/>
                <a:gd name="connsiteY46" fmla="*/ 184 h 10000"/>
                <a:gd name="connsiteX47" fmla="*/ 5595 w 9821"/>
                <a:gd name="connsiteY47" fmla="*/ 285 h 10000"/>
                <a:gd name="connsiteX48" fmla="*/ 5294 w 9821"/>
                <a:gd name="connsiteY48" fmla="*/ 388 h 10000"/>
                <a:gd name="connsiteX49" fmla="*/ 5032 w 9821"/>
                <a:gd name="connsiteY49" fmla="*/ 532 h 10000"/>
                <a:gd name="connsiteX50" fmla="*/ 4749 w 9821"/>
                <a:gd name="connsiteY50" fmla="*/ 698 h 10000"/>
                <a:gd name="connsiteX51" fmla="*/ 4507 w 9821"/>
                <a:gd name="connsiteY51" fmla="*/ 881 h 10000"/>
                <a:gd name="connsiteX52" fmla="*/ 4246 w 9821"/>
                <a:gd name="connsiteY52" fmla="*/ 1065 h 10000"/>
                <a:gd name="connsiteX53" fmla="*/ 4000 w 9821"/>
                <a:gd name="connsiteY53" fmla="*/ 1271 h 10000"/>
                <a:gd name="connsiteX54" fmla="*/ 3756 w 9821"/>
                <a:gd name="connsiteY54" fmla="*/ 1497 h 10000"/>
                <a:gd name="connsiteX55" fmla="*/ 3531 w 9821"/>
                <a:gd name="connsiteY55" fmla="*/ 1720 h 10000"/>
                <a:gd name="connsiteX56" fmla="*/ 3286 w 9821"/>
                <a:gd name="connsiteY56" fmla="*/ 1989 h 10000"/>
                <a:gd name="connsiteX57" fmla="*/ 2854 w 9821"/>
                <a:gd name="connsiteY57" fmla="*/ 2540 h 10000"/>
                <a:gd name="connsiteX58" fmla="*/ 2442 w 9821"/>
                <a:gd name="connsiteY58" fmla="*/ 3116 h 10000"/>
                <a:gd name="connsiteX59" fmla="*/ 2049 w 9821"/>
                <a:gd name="connsiteY59" fmla="*/ 3730 h 10000"/>
                <a:gd name="connsiteX60" fmla="*/ 1670 w 9821"/>
                <a:gd name="connsiteY60" fmla="*/ 4386 h 10000"/>
                <a:gd name="connsiteX61" fmla="*/ 1315 w 9821"/>
                <a:gd name="connsiteY61" fmla="*/ 5062 h 10000"/>
                <a:gd name="connsiteX62" fmla="*/ 976 w 9821"/>
                <a:gd name="connsiteY62" fmla="*/ 5737 h 10000"/>
                <a:gd name="connsiteX63" fmla="*/ 641 w 9821"/>
                <a:gd name="connsiteY63" fmla="*/ 6455 h 10000"/>
                <a:gd name="connsiteX64" fmla="*/ 0 w 9821"/>
                <a:gd name="connsiteY64" fmla="*/ 7890 h 10000"/>
                <a:gd name="connsiteX0" fmla="*/ 0 w 9903"/>
                <a:gd name="connsiteY0" fmla="*/ 7890 h 10000"/>
                <a:gd name="connsiteX1" fmla="*/ 0 w 9903"/>
                <a:gd name="connsiteY1" fmla="*/ 7890 h 10000"/>
                <a:gd name="connsiteX2" fmla="*/ 479 w 9903"/>
                <a:gd name="connsiteY2" fmla="*/ 8955 h 10000"/>
                <a:gd name="connsiteX3" fmla="*/ 917 w 9903"/>
                <a:gd name="connsiteY3" fmla="*/ 10000 h 10000"/>
                <a:gd name="connsiteX4" fmla="*/ 1358 w 9903"/>
                <a:gd name="connsiteY4" fmla="*/ 9222 h 10000"/>
                <a:gd name="connsiteX5" fmla="*/ 1757 w 9903"/>
                <a:gd name="connsiteY5" fmla="*/ 8403 h 10000"/>
                <a:gd name="connsiteX6" fmla="*/ 2180 w 9903"/>
                <a:gd name="connsiteY6" fmla="*/ 7602 h 10000"/>
                <a:gd name="connsiteX7" fmla="*/ 2541 w 9903"/>
                <a:gd name="connsiteY7" fmla="*/ 6782 h 10000"/>
                <a:gd name="connsiteX8" fmla="*/ 3271 w 9903"/>
                <a:gd name="connsiteY8" fmla="*/ 5165 h 10000"/>
                <a:gd name="connsiteX9" fmla="*/ 3634 w 9903"/>
                <a:gd name="connsiteY9" fmla="*/ 4386 h 10000"/>
                <a:gd name="connsiteX10" fmla="*/ 3977 w 9903"/>
                <a:gd name="connsiteY10" fmla="*/ 3647 h 10000"/>
                <a:gd name="connsiteX11" fmla="*/ 4337 w 9903"/>
                <a:gd name="connsiteY11" fmla="*/ 2972 h 10000"/>
                <a:gd name="connsiteX12" fmla="*/ 4702 w 9903"/>
                <a:gd name="connsiteY12" fmla="*/ 2357 h 10000"/>
                <a:gd name="connsiteX13" fmla="*/ 4895 w 9903"/>
                <a:gd name="connsiteY13" fmla="*/ 2048 h 10000"/>
                <a:gd name="connsiteX14" fmla="*/ 5086 w 9903"/>
                <a:gd name="connsiteY14" fmla="*/ 1803 h 10000"/>
                <a:gd name="connsiteX15" fmla="*/ 5296 w 9903"/>
                <a:gd name="connsiteY15" fmla="*/ 1536 h 10000"/>
                <a:gd name="connsiteX16" fmla="*/ 5488 w 9903"/>
                <a:gd name="connsiteY16" fmla="*/ 1312 h 10000"/>
                <a:gd name="connsiteX17" fmla="*/ 5697 w 9903"/>
                <a:gd name="connsiteY17" fmla="*/ 1109 h 10000"/>
                <a:gd name="connsiteX18" fmla="*/ 5908 w 9903"/>
                <a:gd name="connsiteY18" fmla="*/ 922 h 10000"/>
                <a:gd name="connsiteX19" fmla="*/ 6120 w 9903"/>
                <a:gd name="connsiteY19" fmla="*/ 758 h 10000"/>
                <a:gd name="connsiteX20" fmla="*/ 6349 w 9903"/>
                <a:gd name="connsiteY20" fmla="*/ 634 h 10000"/>
                <a:gd name="connsiteX21" fmla="*/ 6556 w 9903"/>
                <a:gd name="connsiteY21" fmla="*/ 512 h 10000"/>
                <a:gd name="connsiteX22" fmla="*/ 6787 w 9903"/>
                <a:gd name="connsiteY22" fmla="*/ 450 h 10000"/>
                <a:gd name="connsiteX23" fmla="*/ 7034 w 9903"/>
                <a:gd name="connsiteY23" fmla="*/ 388 h 10000"/>
                <a:gd name="connsiteX24" fmla="*/ 7283 w 9903"/>
                <a:gd name="connsiteY24" fmla="*/ 388 h 10000"/>
                <a:gd name="connsiteX25" fmla="*/ 7589 w 9903"/>
                <a:gd name="connsiteY25" fmla="*/ 410 h 10000"/>
                <a:gd name="connsiteX26" fmla="*/ 7893 w 9903"/>
                <a:gd name="connsiteY26" fmla="*/ 492 h 10000"/>
                <a:gd name="connsiteX27" fmla="*/ 8164 w 9903"/>
                <a:gd name="connsiteY27" fmla="*/ 634 h 10000"/>
                <a:gd name="connsiteX28" fmla="*/ 8451 w 9903"/>
                <a:gd name="connsiteY28" fmla="*/ 780 h 10000"/>
                <a:gd name="connsiteX29" fmla="*/ 8698 w 9903"/>
                <a:gd name="connsiteY29" fmla="*/ 985 h 10000"/>
                <a:gd name="connsiteX30" fmla="*/ 8967 w 9903"/>
                <a:gd name="connsiteY30" fmla="*/ 1250 h 10000"/>
                <a:gd name="connsiteX31" fmla="*/ 9197 w 9903"/>
                <a:gd name="connsiteY31" fmla="*/ 1536 h 10000"/>
                <a:gd name="connsiteX32" fmla="*/ 9464 w 9903"/>
                <a:gd name="connsiteY32" fmla="*/ 1864 h 10000"/>
                <a:gd name="connsiteX33" fmla="*/ 9676 w 9903"/>
                <a:gd name="connsiteY33" fmla="*/ 2213 h 10000"/>
                <a:gd name="connsiteX34" fmla="*/ 9903 w 9903"/>
                <a:gd name="connsiteY34" fmla="*/ 2602 h 10000"/>
                <a:gd name="connsiteX35" fmla="*/ 9520 w 9903"/>
                <a:gd name="connsiteY35" fmla="*/ 656 h 10000"/>
                <a:gd name="connsiteX36" fmla="*/ 9177 w 9903"/>
                <a:gd name="connsiteY36" fmla="*/ 470 h 10000"/>
                <a:gd name="connsiteX37" fmla="*/ 8833 w 9903"/>
                <a:gd name="connsiteY37" fmla="*/ 307 h 10000"/>
                <a:gd name="connsiteX38" fmla="*/ 8471 w 9903"/>
                <a:gd name="connsiteY38" fmla="*/ 184 h 10000"/>
                <a:gd name="connsiteX39" fmla="*/ 8086 w 9903"/>
                <a:gd name="connsiteY39" fmla="*/ 101 h 10000"/>
                <a:gd name="connsiteX40" fmla="*/ 7686 w 9903"/>
                <a:gd name="connsiteY40" fmla="*/ 21 h 10000"/>
                <a:gd name="connsiteX41" fmla="*/ 7283 w 9903"/>
                <a:gd name="connsiteY41" fmla="*/ 0 h 10000"/>
                <a:gd name="connsiteX42" fmla="*/ 6940 w 9903"/>
                <a:gd name="connsiteY42" fmla="*/ 21 h 10000"/>
                <a:gd name="connsiteX43" fmla="*/ 6616 w 9903"/>
                <a:gd name="connsiteY43" fmla="*/ 61 h 10000"/>
                <a:gd name="connsiteX44" fmla="*/ 6292 w 9903"/>
                <a:gd name="connsiteY44" fmla="*/ 124 h 10000"/>
                <a:gd name="connsiteX45" fmla="*/ 6004 w 9903"/>
                <a:gd name="connsiteY45" fmla="*/ 184 h 10000"/>
                <a:gd name="connsiteX46" fmla="*/ 5697 w 9903"/>
                <a:gd name="connsiteY46" fmla="*/ 285 h 10000"/>
                <a:gd name="connsiteX47" fmla="*/ 5390 w 9903"/>
                <a:gd name="connsiteY47" fmla="*/ 388 h 10000"/>
                <a:gd name="connsiteX48" fmla="*/ 5124 w 9903"/>
                <a:gd name="connsiteY48" fmla="*/ 532 h 10000"/>
                <a:gd name="connsiteX49" fmla="*/ 4836 w 9903"/>
                <a:gd name="connsiteY49" fmla="*/ 698 h 10000"/>
                <a:gd name="connsiteX50" fmla="*/ 4589 w 9903"/>
                <a:gd name="connsiteY50" fmla="*/ 881 h 10000"/>
                <a:gd name="connsiteX51" fmla="*/ 4323 w 9903"/>
                <a:gd name="connsiteY51" fmla="*/ 1065 h 10000"/>
                <a:gd name="connsiteX52" fmla="*/ 4073 w 9903"/>
                <a:gd name="connsiteY52" fmla="*/ 1271 h 10000"/>
                <a:gd name="connsiteX53" fmla="*/ 3824 w 9903"/>
                <a:gd name="connsiteY53" fmla="*/ 1497 h 10000"/>
                <a:gd name="connsiteX54" fmla="*/ 3595 w 9903"/>
                <a:gd name="connsiteY54" fmla="*/ 1720 h 10000"/>
                <a:gd name="connsiteX55" fmla="*/ 3346 w 9903"/>
                <a:gd name="connsiteY55" fmla="*/ 1989 h 10000"/>
                <a:gd name="connsiteX56" fmla="*/ 2906 w 9903"/>
                <a:gd name="connsiteY56" fmla="*/ 2540 h 10000"/>
                <a:gd name="connsiteX57" fmla="*/ 2487 w 9903"/>
                <a:gd name="connsiteY57" fmla="*/ 3116 h 10000"/>
                <a:gd name="connsiteX58" fmla="*/ 2086 w 9903"/>
                <a:gd name="connsiteY58" fmla="*/ 3730 h 10000"/>
                <a:gd name="connsiteX59" fmla="*/ 1700 w 9903"/>
                <a:gd name="connsiteY59" fmla="*/ 4386 h 10000"/>
                <a:gd name="connsiteX60" fmla="*/ 1339 w 9903"/>
                <a:gd name="connsiteY60" fmla="*/ 5062 h 10000"/>
                <a:gd name="connsiteX61" fmla="*/ 994 w 9903"/>
                <a:gd name="connsiteY61" fmla="*/ 5737 h 10000"/>
                <a:gd name="connsiteX62" fmla="*/ 653 w 9903"/>
                <a:gd name="connsiteY62" fmla="*/ 6455 h 10000"/>
                <a:gd name="connsiteX63" fmla="*/ 0 w 9903"/>
                <a:gd name="connsiteY63" fmla="*/ 7890 h 10000"/>
                <a:gd name="connsiteX0" fmla="*/ 0 w 9771"/>
                <a:gd name="connsiteY0" fmla="*/ 7890 h 10000"/>
                <a:gd name="connsiteX1" fmla="*/ 0 w 9771"/>
                <a:gd name="connsiteY1" fmla="*/ 7890 h 10000"/>
                <a:gd name="connsiteX2" fmla="*/ 484 w 9771"/>
                <a:gd name="connsiteY2" fmla="*/ 8955 h 10000"/>
                <a:gd name="connsiteX3" fmla="*/ 926 w 9771"/>
                <a:gd name="connsiteY3" fmla="*/ 10000 h 10000"/>
                <a:gd name="connsiteX4" fmla="*/ 1371 w 9771"/>
                <a:gd name="connsiteY4" fmla="*/ 9222 h 10000"/>
                <a:gd name="connsiteX5" fmla="*/ 1774 w 9771"/>
                <a:gd name="connsiteY5" fmla="*/ 8403 h 10000"/>
                <a:gd name="connsiteX6" fmla="*/ 2201 w 9771"/>
                <a:gd name="connsiteY6" fmla="*/ 7602 h 10000"/>
                <a:gd name="connsiteX7" fmla="*/ 2566 w 9771"/>
                <a:gd name="connsiteY7" fmla="*/ 6782 h 10000"/>
                <a:gd name="connsiteX8" fmla="*/ 3303 w 9771"/>
                <a:gd name="connsiteY8" fmla="*/ 5165 h 10000"/>
                <a:gd name="connsiteX9" fmla="*/ 3670 w 9771"/>
                <a:gd name="connsiteY9" fmla="*/ 4386 h 10000"/>
                <a:gd name="connsiteX10" fmla="*/ 4016 w 9771"/>
                <a:gd name="connsiteY10" fmla="*/ 3647 h 10000"/>
                <a:gd name="connsiteX11" fmla="*/ 4379 w 9771"/>
                <a:gd name="connsiteY11" fmla="*/ 2972 h 10000"/>
                <a:gd name="connsiteX12" fmla="*/ 4748 w 9771"/>
                <a:gd name="connsiteY12" fmla="*/ 2357 h 10000"/>
                <a:gd name="connsiteX13" fmla="*/ 4943 w 9771"/>
                <a:gd name="connsiteY13" fmla="*/ 2048 h 10000"/>
                <a:gd name="connsiteX14" fmla="*/ 5136 w 9771"/>
                <a:gd name="connsiteY14" fmla="*/ 1803 h 10000"/>
                <a:gd name="connsiteX15" fmla="*/ 5348 w 9771"/>
                <a:gd name="connsiteY15" fmla="*/ 1536 h 10000"/>
                <a:gd name="connsiteX16" fmla="*/ 5542 w 9771"/>
                <a:gd name="connsiteY16" fmla="*/ 1312 h 10000"/>
                <a:gd name="connsiteX17" fmla="*/ 5753 w 9771"/>
                <a:gd name="connsiteY17" fmla="*/ 1109 h 10000"/>
                <a:gd name="connsiteX18" fmla="*/ 5966 w 9771"/>
                <a:gd name="connsiteY18" fmla="*/ 922 h 10000"/>
                <a:gd name="connsiteX19" fmla="*/ 6180 w 9771"/>
                <a:gd name="connsiteY19" fmla="*/ 758 h 10000"/>
                <a:gd name="connsiteX20" fmla="*/ 6411 w 9771"/>
                <a:gd name="connsiteY20" fmla="*/ 634 h 10000"/>
                <a:gd name="connsiteX21" fmla="*/ 6620 w 9771"/>
                <a:gd name="connsiteY21" fmla="*/ 512 h 10000"/>
                <a:gd name="connsiteX22" fmla="*/ 6853 w 9771"/>
                <a:gd name="connsiteY22" fmla="*/ 450 h 10000"/>
                <a:gd name="connsiteX23" fmla="*/ 7103 w 9771"/>
                <a:gd name="connsiteY23" fmla="*/ 388 h 10000"/>
                <a:gd name="connsiteX24" fmla="*/ 7354 w 9771"/>
                <a:gd name="connsiteY24" fmla="*/ 388 h 10000"/>
                <a:gd name="connsiteX25" fmla="*/ 7663 w 9771"/>
                <a:gd name="connsiteY25" fmla="*/ 410 h 10000"/>
                <a:gd name="connsiteX26" fmla="*/ 7970 w 9771"/>
                <a:gd name="connsiteY26" fmla="*/ 492 h 10000"/>
                <a:gd name="connsiteX27" fmla="*/ 8244 w 9771"/>
                <a:gd name="connsiteY27" fmla="*/ 634 h 10000"/>
                <a:gd name="connsiteX28" fmla="*/ 8534 w 9771"/>
                <a:gd name="connsiteY28" fmla="*/ 780 h 10000"/>
                <a:gd name="connsiteX29" fmla="*/ 8783 w 9771"/>
                <a:gd name="connsiteY29" fmla="*/ 985 h 10000"/>
                <a:gd name="connsiteX30" fmla="*/ 9055 w 9771"/>
                <a:gd name="connsiteY30" fmla="*/ 1250 h 10000"/>
                <a:gd name="connsiteX31" fmla="*/ 9287 w 9771"/>
                <a:gd name="connsiteY31" fmla="*/ 1536 h 10000"/>
                <a:gd name="connsiteX32" fmla="*/ 9557 w 9771"/>
                <a:gd name="connsiteY32" fmla="*/ 1864 h 10000"/>
                <a:gd name="connsiteX33" fmla="*/ 9771 w 9771"/>
                <a:gd name="connsiteY33" fmla="*/ 2213 h 10000"/>
                <a:gd name="connsiteX34" fmla="*/ 9613 w 9771"/>
                <a:gd name="connsiteY34" fmla="*/ 656 h 10000"/>
                <a:gd name="connsiteX35" fmla="*/ 9267 w 9771"/>
                <a:gd name="connsiteY35" fmla="*/ 470 h 10000"/>
                <a:gd name="connsiteX36" fmla="*/ 8920 w 9771"/>
                <a:gd name="connsiteY36" fmla="*/ 307 h 10000"/>
                <a:gd name="connsiteX37" fmla="*/ 8554 w 9771"/>
                <a:gd name="connsiteY37" fmla="*/ 184 h 10000"/>
                <a:gd name="connsiteX38" fmla="*/ 8165 w 9771"/>
                <a:gd name="connsiteY38" fmla="*/ 101 h 10000"/>
                <a:gd name="connsiteX39" fmla="*/ 7761 w 9771"/>
                <a:gd name="connsiteY39" fmla="*/ 21 h 10000"/>
                <a:gd name="connsiteX40" fmla="*/ 7354 w 9771"/>
                <a:gd name="connsiteY40" fmla="*/ 0 h 10000"/>
                <a:gd name="connsiteX41" fmla="*/ 7008 w 9771"/>
                <a:gd name="connsiteY41" fmla="*/ 21 h 10000"/>
                <a:gd name="connsiteX42" fmla="*/ 6681 w 9771"/>
                <a:gd name="connsiteY42" fmla="*/ 61 h 10000"/>
                <a:gd name="connsiteX43" fmla="*/ 6354 w 9771"/>
                <a:gd name="connsiteY43" fmla="*/ 124 h 10000"/>
                <a:gd name="connsiteX44" fmla="*/ 6063 w 9771"/>
                <a:gd name="connsiteY44" fmla="*/ 184 h 10000"/>
                <a:gd name="connsiteX45" fmla="*/ 5753 w 9771"/>
                <a:gd name="connsiteY45" fmla="*/ 285 h 10000"/>
                <a:gd name="connsiteX46" fmla="*/ 5443 w 9771"/>
                <a:gd name="connsiteY46" fmla="*/ 388 h 10000"/>
                <a:gd name="connsiteX47" fmla="*/ 5174 w 9771"/>
                <a:gd name="connsiteY47" fmla="*/ 532 h 10000"/>
                <a:gd name="connsiteX48" fmla="*/ 4883 w 9771"/>
                <a:gd name="connsiteY48" fmla="*/ 698 h 10000"/>
                <a:gd name="connsiteX49" fmla="*/ 4634 w 9771"/>
                <a:gd name="connsiteY49" fmla="*/ 881 h 10000"/>
                <a:gd name="connsiteX50" fmla="*/ 4365 w 9771"/>
                <a:gd name="connsiteY50" fmla="*/ 1065 h 10000"/>
                <a:gd name="connsiteX51" fmla="*/ 4113 w 9771"/>
                <a:gd name="connsiteY51" fmla="*/ 1271 h 10000"/>
                <a:gd name="connsiteX52" fmla="*/ 3861 w 9771"/>
                <a:gd name="connsiteY52" fmla="*/ 1497 h 10000"/>
                <a:gd name="connsiteX53" fmla="*/ 3630 w 9771"/>
                <a:gd name="connsiteY53" fmla="*/ 1720 h 10000"/>
                <a:gd name="connsiteX54" fmla="*/ 3379 w 9771"/>
                <a:gd name="connsiteY54" fmla="*/ 1989 h 10000"/>
                <a:gd name="connsiteX55" fmla="*/ 2934 w 9771"/>
                <a:gd name="connsiteY55" fmla="*/ 2540 h 10000"/>
                <a:gd name="connsiteX56" fmla="*/ 2511 w 9771"/>
                <a:gd name="connsiteY56" fmla="*/ 3116 h 10000"/>
                <a:gd name="connsiteX57" fmla="*/ 2106 w 9771"/>
                <a:gd name="connsiteY57" fmla="*/ 3730 h 10000"/>
                <a:gd name="connsiteX58" fmla="*/ 1717 w 9771"/>
                <a:gd name="connsiteY58" fmla="*/ 4386 h 10000"/>
                <a:gd name="connsiteX59" fmla="*/ 1352 w 9771"/>
                <a:gd name="connsiteY59" fmla="*/ 5062 h 10000"/>
                <a:gd name="connsiteX60" fmla="*/ 1004 w 9771"/>
                <a:gd name="connsiteY60" fmla="*/ 5737 h 10000"/>
                <a:gd name="connsiteX61" fmla="*/ 659 w 9771"/>
                <a:gd name="connsiteY61" fmla="*/ 6455 h 10000"/>
                <a:gd name="connsiteX62" fmla="*/ 0 w 9771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110 w 10000"/>
                <a:gd name="connsiteY10" fmla="*/ 3647 h 10000"/>
                <a:gd name="connsiteX11" fmla="*/ 4482 w 10000"/>
                <a:gd name="connsiteY11" fmla="*/ 2972 h 10000"/>
                <a:gd name="connsiteX12" fmla="*/ 4859 w 10000"/>
                <a:gd name="connsiteY12" fmla="*/ 2357 h 10000"/>
                <a:gd name="connsiteX13" fmla="*/ 5059 w 10000"/>
                <a:gd name="connsiteY13" fmla="*/ 2048 h 10000"/>
                <a:gd name="connsiteX14" fmla="*/ 5256 w 10000"/>
                <a:gd name="connsiteY14" fmla="*/ 1803 h 10000"/>
                <a:gd name="connsiteX15" fmla="*/ 5473 w 10000"/>
                <a:gd name="connsiteY15" fmla="*/ 1536 h 10000"/>
                <a:gd name="connsiteX16" fmla="*/ 5672 w 10000"/>
                <a:gd name="connsiteY16" fmla="*/ 1312 h 10000"/>
                <a:gd name="connsiteX17" fmla="*/ 5888 w 10000"/>
                <a:gd name="connsiteY17" fmla="*/ 1109 h 10000"/>
                <a:gd name="connsiteX18" fmla="*/ 6106 w 10000"/>
                <a:gd name="connsiteY18" fmla="*/ 922 h 10000"/>
                <a:gd name="connsiteX19" fmla="*/ 6325 w 10000"/>
                <a:gd name="connsiteY19" fmla="*/ 758 h 10000"/>
                <a:gd name="connsiteX20" fmla="*/ 6561 w 10000"/>
                <a:gd name="connsiteY20" fmla="*/ 634 h 10000"/>
                <a:gd name="connsiteX21" fmla="*/ 6775 w 10000"/>
                <a:gd name="connsiteY21" fmla="*/ 512 h 10000"/>
                <a:gd name="connsiteX22" fmla="*/ 7014 w 10000"/>
                <a:gd name="connsiteY22" fmla="*/ 450 h 10000"/>
                <a:gd name="connsiteX23" fmla="*/ 7269 w 10000"/>
                <a:gd name="connsiteY23" fmla="*/ 388 h 10000"/>
                <a:gd name="connsiteX24" fmla="*/ 7526 w 10000"/>
                <a:gd name="connsiteY24" fmla="*/ 388 h 10000"/>
                <a:gd name="connsiteX25" fmla="*/ 7843 w 10000"/>
                <a:gd name="connsiteY25" fmla="*/ 410 h 10000"/>
                <a:gd name="connsiteX26" fmla="*/ 8157 w 10000"/>
                <a:gd name="connsiteY26" fmla="*/ 492 h 10000"/>
                <a:gd name="connsiteX27" fmla="*/ 8437 w 10000"/>
                <a:gd name="connsiteY27" fmla="*/ 634 h 10000"/>
                <a:gd name="connsiteX28" fmla="*/ 8734 w 10000"/>
                <a:gd name="connsiteY28" fmla="*/ 780 h 10000"/>
                <a:gd name="connsiteX29" fmla="*/ 8989 w 10000"/>
                <a:gd name="connsiteY29" fmla="*/ 985 h 10000"/>
                <a:gd name="connsiteX30" fmla="*/ 9267 w 10000"/>
                <a:gd name="connsiteY30" fmla="*/ 1250 h 10000"/>
                <a:gd name="connsiteX31" fmla="*/ 9505 w 10000"/>
                <a:gd name="connsiteY31" fmla="*/ 1536 h 10000"/>
                <a:gd name="connsiteX32" fmla="*/ 9781 w 10000"/>
                <a:gd name="connsiteY32" fmla="*/ 1864 h 10000"/>
                <a:gd name="connsiteX33" fmla="*/ 10000 w 10000"/>
                <a:gd name="connsiteY33" fmla="*/ 2213 h 10000"/>
                <a:gd name="connsiteX34" fmla="*/ 9838 w 10000"/>
                <a:gd name="connsiteY34" fmla="*/ 656 h 10000"/>
                <a:gd name="connsiteX35" fmla="*/ 9484 w 10000"/>
                <a:gd name="connsiteY35" fmla="*/ 470 h 10000"/>
                <a:gd name="connsiteX36" fmla="*/ 9129 w 10000"/>
                <a:gd name="connsiteY36" fmla="*/ 307 h 10000"/>
                <a:gd name="connsiteX37" fmla="*/ 8754 w 10000"/>
                <a:gd name="connsiteY37" fmla="*/ 184 h 10000"/>
                <a:gd name="connsiteX38" fmla="*/ 8356 w 10000"/>
                <a:gd name="connsiteY38" fmla="*/ 101 h 10000"/>
                <a:gd name="connsiteX39" fmla="*/ 7943 w 10000"/>
                <a:gd name="connsiteY39" fmla="*/ 21 h 10000"/>
                <a:gd name="connsiteX40" fmla="*/ 7526 w 10000"/>
                <a:gd name="connsiteY40" fmla="*/ 0 h 10000"/>
                <a:gd name="connsiteX41" fmla="*/ 7172 w 10000"/>
                <a:gd name="connsiteY41" fmla="*/ 21 h 10000"/>
                <a:gd name="connsiteX42" fmla="*/ 6838 w 10000"/>
                <a:gd name="connsiteY42" fmla="*/ 61 h 10000"/>
                <a:gd name="connsiteX43" fmla="*/ 6503 w 10000"/>
                <a:gd name="connsiteY43" fmla="*/ 124 h 10000"/>
                <a:gd name="connsiteX44" fmla="*/ 6205 w 10000"/>
                <a:gd name="connsiteY44" fmla="*/ 184 h 10000"/>
                <a:gd name="connsiteX45" fmla="*/ 5888 w 10000"/>
                <a:gd name="connsiteY45" fmla="*/ 285 h 10000"/>
                <a:gd name="connsiteX46" fmla="*/ 5571 w 10000"/>
                <a:gd name="connsiteY46" fmla="*/ 388 h 10000"/>
                <a:gd name="connsiteX47" fmla="*/ 5295 w 10000"/>
                <a:gd name="connsiteY47" fmla="*/ 532 h 10000"/>
                <a:gd name="connsiteX48" fmla="*/ 4997 w 10000"/>
                <a:gd name="connsiteY48" fmla="*/ 698 h 10000"/>
                <a:gd name="connsiteX49" fmla="*/ 4743 w 10000"/>
                <a:gd name="connsiteY49" fmla="*/ 881 h 10000"/>
                <a:gd name="connsiteX50" fmla="*/ 4467 w 10000"/>
                <a:gd name="connsiteY50" fmla="*/ 1065 h 10000"/>
                <a:gd name="connsiteX51" fmla="*/ 4209 w 10000"/>
                <a:gd name="connsiteY51" fmla="*/ 1271 h 10000"/>
                <a:gd name="connsiteX52" fmla="*/ 3951 w 10000"/>
                <a:gd name="connsiteY52" fmla="*/ 1497 h 10000"/>
                <a:gd name="connsiteX53" fmla="*/ 3715 w 10000"/>
                <a:gd name="connsiteY53" fmla="*/ 1720 h 10000"/>
                <a:gd name="connsiteX54" fmla="*/ 3458 w 10000"/>
                <a:gd name="connsiteY54" fmla="*/ 1989 h 10000"/>
                <a:gd name="connsiteX55" fmla="*/ 3003 w 10000"/>
                <a:gd name="connsiteY55" fmla="*/ 2540 h 10000"/>
                <a:gd name="connsiteX56" fmla="*/ 2570 w 10000"/>
                <a:gd name="connsiteY56" fmla="*/ 3116 h 10000"/>
                <a:gd name="connsiteX57" fmla="*/ 2155 w 10000"/>
                <a:gd name="connsiteY57" fmla="*/ 3730 h 10000"/>
                <a:gd name="connsiteX58" fmla="*/ 1757 w 10000"/>
                <a:gd name="connsiteY58" fmla="*/ 4386 h 10000"/>
                <a:gd name="connsiteX59" fmla="*/ 1384 w 10000"/>
                <a:gd name="connsiteY59" fmla="*/ 5062 h 10000"/>
                <a:gd name="connsiteX60" fmla="*/ 1028 w 10000"/>
                <a:gd name="connsiteY60" fmla="*/ 5737 h 10000"/>
                <a:gd name="connsiteX61" fmla="*/ 674 w 10000"/>
                <a:gd name="connsiteY61" fmla="*/ 6455 h 10000"/>
                <a:gd name="connsiteX62" fmla="*/ 0 w 10000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482 w 10000"/>
                <a:gd name="connsiteY10" fmla="*/ 2972 h 10000"/>
                <a:gd name="connsiteX11" fmla="*/ 4859 w 10000"/>
                <a:gd name="connsiteY11" fmla="*/ 2357 h 10000"/>
                <a:gd name="connsiteX12" fmla="*/ 5059 w 10000"/>
                <a:gd name="connsiteY12" fmla="*/ 2048 h 10000"/>
                <a:gd name="connsiteX13" fmla="*/ 5256 w 10000"/>
                <a:gd name="connsiteY13" fmla="*/ 1803 h 10000"/>
                <a:gd name="connsiteX14" fmla="*/ 5473 w 10000"/>
                <a:gd name="connsiteY14" fmla="*/ 1536 h 10000"/>
                <a:gd name="connsiteX15" fmla="*/ 5672 w 10000"/>
                <a:gd name="connsiteY15" fmla="*/ 1312 h 10000"/>
                <a:gd name="connsiteX16" fmla="*/ 5888 w 10000"/>
                <a:gd name="connsiteY16" fmla="*/ 1109 h 10000"/>
                <a:gd name="connsiteX17" fmla="*/ 6106 w 10000"/>
                <a:gd name="connsiteY17" fmla="*/ 922 h 10000"/>
                <a:gd name="connsiteX18" fmla="*/ 6325 w 10000"/>
                <a:gd name="connsiteY18" fmla="*/ 758 h 10000"/>
                <a:gd name="connsiteX19" fmla="*/ 6561 w 10000"/>
                <a:gd name="connsiteY19" fmla="*/ 634 h 10000"/>
                <a:gd name="connsiteX20" fmla="*/ 6775 w 10000"/>
                <a:gd name="connsiteY20" fmla="*/ 512 h 10000"/>
                <a:gd name="connsiteX21" fmla="*/ 7014 w 10000"/>
                <a:gd name="connsiteY21" fmla="*/ 450 h 10000"/>
                <a:gd name="connsiteX22" fmla="*/ 7269 w 10000"/>
                <a:gd name="connsiteY22" fmla="*/ 388 h 10000"/>
                <a:gd name="connsiteX23" fmla="*/ 7526 w 10000"/>
                <a:gd name="connsiteY23" fmla="*/ 388 h 10000"/>
                <a:gd name="connsiteX24" fmla="*/ 7843 w 10000"/>
                <a:gd name="connsiteY24" fmla="*/ 410 h 10000"/>
                <a:gd name="connsiteX25" fmla="*/ 8157 w 10000"/>
                <a:gd name="connsiteY25" fmla="*/ 492 h 10000"/>
                <a:gd name="connsiteX26" fmla="*/ 8437 w 10000"/>
                <a:gd name="connsiteY26" fmla="*/ 634 h 10000"/>
                <a:gd name="connsiteX27" fmla="*/ 8734 w 10000"/>
                <a:gd name="connsiteY27" fmla="*/ 780 h 10000"/>
                <a:gd name="connsiteX28" fmla="*/ 8989 w 10000"/>
                <a:gd name="connsiteY28" fmla="*/ 985 h 10000"/>
                <a:gd name="connsiteX29" fmla="*/ 9267 w 10000"/>
                <a:gd name="connsiteY29" fmla="*/ 1250 h 10000"/>
                <a:gd name="connsiteX30" fmla="*/ 9505 w 10000"/>
                <a:gd name="connsiteY30" fmla="*/ 1536 h 10000"/>
                <a:gd name="connsiteX31" fmla="*/ 9781 w 10000"/>
                <a:gd name="connsiteY31" fmla="*/ 1864 h 10000"/>
                <a:gd name="connsiteX32" fmla="*/ 10000 w 10000"/>
                <a:gd name="connsiteY32" fmla="*/ 2213 h 10000"/>
                <a:gd name="connsiteX33" fmla="*/ 9838 w 10000"/>
                <a:gd name="connsiteY33" fmla="*/ 656 h 10000"/>
                <a:gd name="connsiteX34" fmla="*/ 9484 w 10000"/>
                <a:gd name="connsiteY34" fmla="*/ 470 h 10000"/>
                <a:gd name="connsiteX35" fmla="*/ 9129 w 10000"/>
                <a:gd name="connsiteY35" fmla="*/ 307 h 10000"/>
                <a:gd name="connsiteX36" fmla="*/ 8754 w 10000"/>
                <a:gd name="connsiteY36" fmla="*/ 184 h 10000"/>
                <a:gd name="connsiteX37" fmla="*/ 8356 w 10000"/>
                <a:gd name="connsiteY37" fmla="*/ 101 h 10000"/>
                <a:gd name="connsiteX38" fmla="*/ 7943 w 10000"/>
                <a:gd name="connsiteY38" fmla="*/ 21 h 10000"/>
                <a:gd name="connsiteX39" fmla="*/ 7526 w 10000"/>
                <a:gd name="connsiteY39" fmla="*/ 0 h 10000"/>
                <a:gd name="connsiteX40" fmla="*/ 7172 w 10000"/>
                <a:gd name="connsiteY40" fmla="*/ 21 h 10000"/>
                <a:gd name="connsiteX41" fmla="*/ 6838 w 10000"/>
                <a:gd name="connsiteY41" fmla="*/ 61 h 10000"/>
                <a:gd name="connsiteX42" fmla="*/ 6503 w 10000"/>
                <a:gd name="connsiteY42" fmla="*/ 124 h 10000"/>
                <a:gd name="connsiteX43" fmla="*/ 6205 w 10000"/>
                <a:gd name="connsiteY43" fmla="*/ 184 h 10000"/>
                <a:gd name="connsiteX44" fmla="*/ 5888 w 10000"/>
                <a:gd name="connsiteY44" fmla="*/ 285 h 10000"/>
                <a:gd name="connsiteX45" fmla="*/ 5571 w 10000"/>
                <a:gd name="connsiteY45" fmla="*/ 388 h 10000"/>
                <a:gd name="connsiteX46" fmla="*/ 5295 w 10000"/>
                <a:gd name="connsiteY46" fmla="*/ 532 h 10000"/>
                <a:gd name="connsiteX47" fmla="*/ 4997 w 10000"/>
                <a:gd name="connsiteY47" fmla="*/ 698 h 10000"/>
                <a:gd name="connsiteX48" fmla="*/ 4743 w 10000"/>
                <a:gd name="connsiteY48" fmla="*/ 881 h 10000"/>
                <a:gd name="connsiteX49" fmla="*/ 4467 w 10000"/>
                <a:gd name="connsiteY49" fmla="*/ 1065 h 10000"/>
                <a:gd name="connsiteX50" fmla="*/ 4209 w 10000"/>
                <a:gd name="connsiteY50" fmla="*/ 1271 h 10000"/>
                <a:gd name="connsiteX51" fmla="*/ 3951 w 10000"/>
                <a:gd name="connsiteY51" fmla="*/ 1497 h 10000"/>
                <a:gd name="connsiteX52" fmla="*/ 3715 w 10000"/>
                <a:gd name="connsiteY52" fmla="*/ 1720 h 10000"/>
                <a:gd name="connsiteX53" fmla="*/ 3458 w 10000"/>
                <a:gd name="connsiteY53" fmla="*/ 1989 h 10000"/>
                <a:gd name="connsiteX54" fmla="*/ 3003 w 10000"/>
                <a:gd name="connsiteY54" fmla="*/ 2540 h 10000"/>
                <a:gd name="connsiteX55" fmla="*/ 2570 w 10000"/>
                <a:gd name="connsiteY55" fmla="*/ 3116 h 10000"/>
                <a:gd name="connsiteX56" fmla="*/ 2155 w 10000"/>
                <a:gd name="connsiteY56" fmla="*/ 3730 h 10000"/>
                <a:gd name="connsiteX57" fmla="*/ 1757 w 10000"/>
                <a:gd name="connsiteY57" fmla="*/ 4386 h 10000"/>
                <a:gd name="connsiteX58" fmla="*/ 1384 w 10000"/>
                <a:gd name="connsiteY58" fmla="*/ 5062 h 10000"/>
                <a:gd name="connsiteX59" fmla="*/ 1028 w 10000"/>
                <a:gd name="connsiteY59" fmla="*/ 5737 h 10000"/>
                <a:gd name="connsiteX60" fmla="*/ 674 w 10000"/>
                <a:gd name="connsiteY60" fmla="*/ 6455 h 10000"/>
                <a:gd name="connsiteX61" fmla="*/ 0 w 10000"/>
                <a:gd name="connsiteY6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256 w 10000"/>
                <a:gd name="connsiteY12" fmla="*/ 1803 h 10000"/>
                <a:gd name="connsiteX13" fmla="*/ 5473 w 10000"/>
                <a:gd name="connsiteY13" fmla="*/ 1536 h 10000"/>
                <a:gd name="connsiteX14" fmla="*/ 5672 w 10000"/>
                <a:gd name="connsiteY14" fmla="*/ 1312 h 10000"/>
                <a:gd name="connsiteX15" fmla="*/ 5888 w 10000"/>
                <a:gd name="connsiteY15" fmla="*/ 1109 h 10000"/>
                <a:gd name="connsiteX16" fmla="*/ 6106 w 10000"/>
                <a:gd name="connsiteY16" fmla="*/ 922 h 10000"/>
                <a:gd name="connsiteX17" fmla="*/ 6325 w 10000"/>
                <a:gd name="connsiteY17" fmla="*/ 758 h 10000"/>
                <a:gd name="connsiteX18" fmla="*/ 6561 w 10000"/>
                <a:gd name="connsiteY18" fmla="*/ 634 h 10000"/>
                <a:gd name="connsiteX19" fmla="*/ 6775 w 10000"/>
                <a:gd name="connsiteY19" fmla="*/ 512 h 10000"/>
                <a:gd name="connsiteX20" fmla="*/ 7014 w 10000"/>
                <a:gd name="connsiteY20" fmla="*/ 450 h 10000"/>
                <a:gd name="connsiteX21" fmla="*/ 7269 w 10000"/>
                <a:gd name="connsiteY21" fmla="*/ 388 h 10000"/>
                <a:gd name="connsiteX22" fmla="*/ 7526 w 10000"/>
                <a:gd name="connsiteY22" fmla="*/ 388 h 10000"/>
                <a:gd name="connsiteX23" fmla="*/ 7843 w 10000"/>
                <a:gd name="connsiteY23" fmla="*/ 410 h 10000"/>
                <a:gd name="connsiteX24" fmla="*/ 8157 w 10000"/>
                <a:gd name="connsiteY24" fmla="*/ 492 h 10000"/>
                <a:gd name="connsiteX25" fmla="*/ 8437 w 10000"/>
                <a:gd name="connsiteY25" fmla="*/ 634 h 10000"/>
                <a:gd name="connsiteX26" fmla="*/ 8734 w 10000"/>
                <a:gd name="connsiteY26" fmla="*/ 780 h 10000"/>
                <a:gd name="connsiteX27" fmla="*/ 8989 w 10000"/>
                <a:gd name="connsiteY27" fmla="*/ 985 h 10000"/>
                <a:gd name="connsiteX28" fmla="*/ 9267 w 10000"/>
                <a:gd name="connsiteY28" fmla="*/ 1250 h 10000"/>
                <a:gd name="connsiteX29" fmla="*/ 9505 w 10000"/>
                <a:gd name="connsiteY29" fmla="*/ 1536 h 10000"/>
                <a:gd name="connsiteX30" fmla="*/ 9781 w 10000"/>
                <a:gd name="connsiteY30" fmla="*/ 1864 h 10000"/>
                <a:gd name="connsiteX31" fmla="*/ 10000 w 10000"/>
                <a:gd name="connsiteY31" fmla="*/ 2213 h 10000"/>
                <a:gd name="connsiteX32" fmla="*/ 9838 w 10000"/>
                <a:gd name="connsiteY32" fmla="*/ 656 h 10000"/>
                <a:gd name="connsiteX33" fmla="*/ 9484 w 10000"/>
                <a:gd name="connsiteY33" fmla="*/ 470 h 10000"/>
                <a:gd name="connsiteX34" fmla="*/ 9129 w 10000"/>
                <a:gd name="connsiteY34" fmla="*/ 307 h 10000"/>
                <a:gd name="connsiteX35" fmla="*/ 8754 w 10000"/>
                <a:gd name="connsiteY35" fmla="*/ 184 h 10000"/>
                <a:gd name="connsiteX36" fmla="*/ 8356 w 10000"/>
                <a:gd name="connsiteY36" fmla="*/ 101 h 10000"/>
                <a:gd name="connsiteX37" fmla="*/ 7943 w 10000"/>
                <a:gd name="connsiteY37" fmla="*/ 21 h 10000"/>
                <a:gd name="connsiteX38" fmla="*/ 7526 w 10000"/>
                <a:gd name="connsiteY38" fmla="*/ 0 h 10000"/>
                <a:gd name="connsiteX39" fmla="*/ 7172 w 10000"/>
                <a:gd name="connsiteY39" fmla="*/ 21 h 10000"/>
                <a:gd name="connsiteX40" fmla="*/ 6838 w 10000"/>
                <a:gd name="connsiteY40" fmla="*/ 61 h 10000"/>
                <a:gd name="connsiteX41" fmla="*/ 6503 w 10000"/>
                <a:gd name="connsiteY41" fmla="*/ 124 h 10000"/>
                <a:gd name="connsiteX42" fmla="*/ 6205 w 10000"/>
                <a:gd name="connsiteY42" fmla="*/ 184 h 10000"/>
                <a:gd name="connsiteX43" fmla="*/ 5888 w 10000"/>
                <a:gd name="connsiteY43" fmla="*/ 285 h 10000"/>
                <a:gd name="connsiteX44" fmla="*/ 5571 w 10000"/>
                <a:gd name="connsiteY44" fmla="*/ 388 h 10000"/>
                <a:gd name="connsiteX45" fmla="*/ 5295 w 10000"/>
                <a:gd name="connsiteY45" fmla="*/ 532 h 10000"/>
                <a:gd name="connsiteX46" fmla="*/ 4997 w 10000"/>
                <a:gd name="connsiteY46" fmla="*/ 698 h 10000"/>
                <a:gd name="connsiteX47" fmla="*/ 4743 w 10000"/>
                <a:gd name="connsiteY47" fmla="*/ 881 h 10000"/>
                <a:gd name="connsiteX48" fmla="*/ 4467 w 10000"/>
                <a:gd name="connsiteY48" fmla="*/ 1065 h 10000"/>
                <a:gd name="connsiteX49" fmla="*/ 4209 w 10000"/>
                <a:gd name="connsiteY49" fmla="*/ 1271 h 10000"/>
                <a:gd name="connsiteX50" fmla="*/ 3951 w 10000"/>
                <a:gd name="connsiteY50" fmla="*/ 1497 h 10000"/>
                <a:gd name="connsiteX51" fmla="*/ 3715 w 10000"/>
                <a:gd name="connsiteY51" fmla="*/ 1720 h 10000"/>
                <a:gd name="connsiteX52" fmla="*/ 3458 w 10000"/>
                <a:gd name="connsiteY52" fmla="*/ 1989 h 10000"/>
                <a:gd name="connsiteX53" fmla="*/ 3003 w 10000"/>
                <a:gd name="connsiteY53" fmla="*/ 2540 h 10000"/>
                <a:gd name="connsiteX54" fmla="*/ 2570 w 10000"/>
                <a:gd name="connsiteY54" fmla="*/ 3116 h 10000"/>
                <a:gd name="connsiteX55" fmla="*/ 2155 w 10000"/>
                <a:gd name="connsiteY55" fmla="*/ 3730 h 10000"/>
                <a:gd name="connsiteX56" fmla="*/ 1757 w 10000"/>
                <a:gd name="connsiteY56" fmla="*/ 4386 h 10000"/>
                <a:gd name="connsiteX57" fmla="*/ 1384 w 10000"/>
                <a:gd name="connsiteY57" fmla="*/ 5062 h 10000"/>
                <a:gd name="connsiteX58" fmla="*/ 1028 w 10000"/>
                <a:gd name="connsiteY58" fmla="*/ 5737 h 10000"/>
                <a:gd name="connsiteX59" fmla="*/ 674 w 10000"/>
                <a:gd name="connsiteY59" fmla="*/ 6455 h 10000"/>
                <a:gd name="connsiteX60" fmla="*/ 0 w 10000"/>
                <a:gd name="connsiteY6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5888 w 10000"/>
                <a:gd name="connsiteY14" fmla="*/ 1109 h 10000"/>
                <a:gd name="connsiteX15" fmla="*/ 6106 w 10000"/>
                <a:gd name="connsiteY15" fmla="*/ 922 h 10000"/>
                <a:gd name="connsiteX16" fmla="*/ 6325 w 10000"/>
                <a:gd name="connsiteY16" fmla="*/ 758 h 10000"/>
                <a:gd name="connsiteX17" fmla="*/ 6561 w 10000"/>
                <a:gd name="connsiteY17" fmla="*/ 634 h 10000"/>
                <a:gd name="connsiteX18" fmla="*/ 6775 w 10000"/>
                <a:gd name="connsiteY18" fmla="*/ 512 h 10000"/>
                <a:gd name="connsiteX19" fmla="*/ 7014 w 10000"/>
                <a:gd name="connsiteY19" fmla="*/ 450 h 10000"/>
                <a:gd name="connsiteX20" fmla="*/ 7269 w 10000"/>
                <a:gd name="connsiteY20" fmla="*/ 388 h 10000"/>
                <a:gd name="connsiteX21" fmla="*/ 7526 w 10000"/>
                <a:gd name="connsiteY21" fmla="*/ 388 h 10000"/>
                <a:gd name="connsiteX22" fmla="*/ 7843 w 10000"/>
                <a:gd name="connsiteY22" fmla="*/ 410 h 10000"/>
                <a:gd name="connsiteX23" fmla="*/ 8157 w 10000"/>
                <a:gd name="connsiteY23" fmla="*/ 492 h 10000"/>
                <a:gd name="connsiteX24" fmla="*/ 8437 w 10000"/>
                <a:gd name="connsiteY24" fmla="*/ 634 h 10000"/>
                <a:gd name="connsiteX25" fmla="*/ 8734 w 10000"/>
                <a:gd name="connsiteY25" fmla="*/ 780 h 10000"/>
                <a:gd name="connsiteX26" fmla="*/ 8989 w 10000"/>
                <a:gd name="connsiteY26" fmla="*/ 985 h 10000"/>
                <a:gd name="connsiteX27" fmla="*/ 9267 w 10000"/>
                <a:gd name="connsiteY27" fmla="*/ 1250 h 10000"/>
                <a:gd name="connsiteX28" fmla="*/ 9505 w 10000"/>
                <a:gd name="connsiteY28" fmla="*/ 1536 h 10000"/>
                <a:gd name="connsiteX29" fmla="*/ 9781 w 10000"/>
                <a:gd name="connsiteY29" fmla="*/ 1864 h 10000"/>
                <a:gd name="connsiteX30" fmla="*/ 10000 w 10000"/>
                <a:gd name="connsiteY30" fmla="*/ 2213 h 10000"/>
                <a:gd name="connsiteX31" fmla="*/ 9838 w 10000"/>
                <a:gd name="connsiteY31" fmla="*/ 656 h 10000"/>
                <a:gd name="connsiteX32" fmla="*/ 9484 w 10000"/>
                <a:gd name="connsiteY32" fmla="*/ 470 h 10000"/>
                <a:gd name="connsiteX33" fmla="*/ 9129 w 10000"/>
                <a:gd name="connsiteY33" fmla="*/ 307 h 10000"/>
                <a:gd name="connsiteX34" fmla="*/ 8754 w 10000"/>
                <a:gd name="connsiteY34" fmla="*/ 184 h 10000"/>
                <a:gd name="connsiteX35" fmla="*/ 8356 w 10000"/>
                <a:gd name="connsiteY35" fmla="*/ 101 h 10000"/>
                <a:gd name="connsiteX36" fmla="*/ 7943 w 10000"/>
                <a:gd name="connsiteY36" fmla="*/ 21 h 10000"/>
                <a:gd name="connsiteX37" fmla="*/ 7526 w 10000"/>
                <a:gd name="connsiteY37" fmla="*/ 0 h 10000"/>
                <a:gd name="connsiteX38" fmla="*/ 7172 w 10000"/>
                <a:gd name="connsiteY38" fmla="*/ 21 h 10000"/>
                <a:gd name="connsiteX39" fmla="*/ 6838 w 10000"/>
                <a:gd name="connsiteY39" fmla="*/ 61 h 10000"/>
                <a:gd name="connsiteX40" fmla="*/ 6503 w 10000"/>
                <a:gd name="connsiteY40" fmla="*/ 124 h 10000"/>
                <a:gd name="connsiteX41" fmla="*/ 6205 w 10000"/>
                <a:gd name="connsiteY41" fmla="*/ 184 h 10000"/>
                <a:gd name="connsiteX42" fmla="*/ 5888 w 10000"/>
                <a:gd name="connsiteY42" fmla="*/ 285 h 10000"/>
                <a:gd name="connsiteX43" fmla="*/ 5571 w 10000"/>
                <a:gd name="connsiteY43" fmla="*/ 388 h 10000"/>
                <a:gd name="connsiteX44" fmla="*/ 5295 w 10000"/>
                <a:gd name="connsiteY44" fmla="*/ 532 h 10000"/>
                <a:gd name="connsiteX45" fmla="*/ 4997 w 10000"/>
                <a:gd name="connsiteY45" fmla="*/ 698 h 10000"/>
                <a:gd name="connsiteX46" fmla="*/ 4743 w 10000"/>
                <a:gd name="connsiteY46" fmla="*/ 881 h 10000"/>
                <a:gd name="connsiteX47" fmla="*/ 4467 w 10000"/>
                <a:gd name="connsiteY47" fmla="*/ 1065 h 10000"/>
                <a:gd name="connsiteX48" fmla="*/ 4209 w 10000"/>
                <a:gd name="connsiteY48" fmla="*/ 1271 h 10000"/>
                <a:gd name="connsiteX49" fmla="*/ 3951 w 10000"/>
                <a:gd name="connsiteY49" fmla="*/ 1497 h 10000"/>
                <a:gd name="connsiteX50" fmla="*/ 3715 w 10000"/>
                <a:gd name="connsiteY50" fmla="*/ 1720 h 10000"/>
                <a:gd name="connsiteX51" fmla="*/ 3458 w 10000"/>
                <a:gd name="connsiteY51" fmla="*/ 1989 h 10000"/>
                <a:gd name="connsiteX52" fmla="*/ 3003 w 10000"/>
                <a:gd name="connsiteY52" fmla="*/ 2540 h 10000"/>
                <a:gd name="connsiteX53" fmla="*/ 2570 w 10000"/>
                <a:gd name="connsiteY53" fmla="*/ 3116 h 10000"/>
                <a:gd name="connsiteX54" fmla="*/ 2155 w 10000"/>
                <a:gd name="connsiteY54" fmla="*/ 3730 h 10000"/>
                <a:gd name="connsiteX55" fmla="*/ 1757 w 10000"/>
                <a:gd name="connsiteY55" fmla="*/ 4386 h 10000"/>
                <a:gd name="connsiteX56" fmla="*/ 1384 w 10000"/>
                <a:gd name="connsiteY56" fmla="*/ 5062 h 10000"/>
                <a:gd name="connsiteX57" fmla="*/ 1028 w 10000"/>
                <a:gd name="connsiteY57" fmla="*/ 5737 h 10000"/>
                <a:gd name="connsiteX58" fmla="*/ 674 w 10000"/>
                <a:gd name="connsiteY58" fmla="*/ 6455 h 10000"/>
                <a:gd name="connsiteX59" fmla="*/ 0 w 10000"/>
                <a:gd name="connsiteY5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6106 w 10000"/>
                <a:gd name="connsiteY14" fmla="*/ 922 h 10000"/>
                <a:gd name="connsiteX15" fmla="*/ 6325 w 10000"/>
                <a:gd name="connsiteY15" fmla="*/ 758 h 10000"/>
                <a:gd name="connsiteX16" fmla="*/ 6561 w 10000"/>
                <a:gd name="connsiteY16" fmla="*/ 634 h 10000"/>
                <a:gd name="connsiteX17" fmla="*/ 6775 w 10000"/>
                <a:gd name="connsiteY17" fmla="*/ 512 h 10000"/>
                <a:gd name="connsiteX18" fmla="*/ 7014 w 10000"/>
                <a:gd name="connsiteY18" fmla="*/ 450 h 10000"/>
                <a:gd name="connsiteX19" fmla="*/ 7269 w 10000"/>
                <a:gd name="connsiteY19" fmla="*/ 388 h 10000"/>
                <a:gd name="connsiteX20" fmla="*/ 7526 w 10000"/>
                <a:gd name="connsiteY20" fmla="*/ 388 h 10000"/>
                <a:gd name="connsiteX21" fmla="*/ 7843 w 10000"/>
                <a:gd name="connsiteY21" fmla="*/ 410 h 10000"/>
                <a:gd name="connsiteX22" fmla="*/ 8157 w 10000"/>
                <a:gd name="connsiteY22" fmla="*/ 492 h 10000"/>
                <a:gd name="connsiteX23" fmla="*/ 8437 w 10000"/>
                <a:gd name="connsiteY23" fmla="*/ 634 h 10000"/>
                <a:gd name="connsiteX24" fmla="*/ 8734 w 10000"/>
                <a:gd name="connsiteY24" fmla="*/ 780 h 10000"/>
                <a:gd name="connsiteX25" fmla="*/ 8989 w 10000"/>
                <a:gd name="connsiteY25" fmla="*/ 985 h 10000"/>
                <a:gd name="connsiteX26" fmla="*/ 9267 w 10000"/>
                <a:gd name="connsiteY26" fmla="*/ 1250 h 10000"/>
                <a:gd name="connsiteX27" fmla="*/ 9505 w 10000"/>
                <a:gd name="connsiteY27" fmla="*/ 1536 h 10000"/>
                <a:gd name="connsiteX28" fmla="*/ 9781 w 10000"/>
                <a:gd name="connsiteY28" fmla="*/ 1864 h 10000"/>
                <a:gd name="connsiteX29" fmla="*/ 10000 w 10000"/>
                <a:gd name="connsiteY29" fmla="*/ 2213 h 10000"/>
                <a:gd name="connsiteX30" fmla="*/ 9838 w 10000"/>
                <a:gd name="connsiteY30" fmla="*/ 656 h 10000"/>
                <a:gd name="connsiteX31" fmla="*/ 9484 w 10000"/>
                <a:gd name="connsiteY31" fmla="*/ 470 h 10000"/>
                <a:gd name="connsiteX32" fmla="*/ 9129 w 10000"/>
                <a:gd name="connsiteY32" fmla="*/ 307 h 10000"/>
                <a:gd name="connsiteX33" fmla="*/ 8754 w 10000"/>
                <a:gd name="connsiteY33" fmla="*/ 184 h 10000"/>
                <a:gd name="connsiteX34" fmla="*/ 8356 w 10000"/>
                <a:gd name="connsiteY34" fmla="*/ 101 h 10000"/>
                <a:gd name="connsiteX35" fmla="*/ 7943 w 10000"/>
                <a:gd name="connsiteY35" fmla="*/ 21 h 10000"/>
                <a:gd name="connsiteX36" fmla="*/ 7526 w 10000"/>
                <a:gd name="connsiteY36" fmla="*/ 0 h 10000"/>
                <a:gd name="connsiteX37" fmla="*/ 7172 w 10000"/>
                <a:gd name="connsiteY37" fmla="*/ 21 h 10000"/>
                <a:gd name="connsiteX38" fmla="*/ 6838 w 10000"/>
                <a:gd name="connsiteY38" fmla="*/ 61 h 10000"/>
                <a:gd name="connsiteX39" fmla="*/ 6503 w 10000"/>
                <a:gd name="connsiteY39" fmla="*/ 124 h 10000"/>
                <a:gd name="connsiteX40" fmla="*/ 6205 w 10000"/>
                <a:gd name="connsiteY40" fmla="*/ 184 h 10000"/>
                <a:gd name="connsiteX41" fmla="*/ 5888 w 10000"/>
                <a:gd name="connsiteY41" fmla="*/ 285 h 10000"/>
                <a:gd name="connsiteX42" fmla="*/ 5571 w 10000"/>
                <a:gd name="connsiteY42" fmla="*/ 388 h 10000"/>
                <a:gd name="connsiteX43" fmla="*/ 5295 w 10000"/>
                <a:gd name="connsiteY43" fmla="*/ 532 h 10000"/>
                <a:gd name="connsiteX44" fmla="*/ 4997 w 10000"/>
                <a:gd name="connsiteY44" fmla="*/ 698 h 10000"/>
                <a:gd name="connsiteX45" fmla="*/ 4743 w 10000"/>
                <a:gd name="connsiteY45" fmla="*/ 881 h 10000"/>
                <a:gd name="connsiteX46" fmla="*/ 4467 w 10000"/>
                <a:gd name="connsiteY46" fmla="*/ 1065 h 10000"/>
                <a:gd name="connsiteX47" fmla="*/ 4209 w 10000"/>
                <a:gd name="connsiteY47" fmla="*/ 1271 h 10000"/>
                <a:gd name="connsiteX48" fmla="*/ 3951 w 10000"/>
                <a:gd name="connsiteY48" fmla="*/ 1497 h 10000"/>
                <a:gd name="connsiteX49" fmla="*/ 3715 w 10000"/>
                <a:gd name="connsiteY49" fmla="*/ 1720 h 10000"/>
                <a:gd name="connsiteX50" fmla="*/ 3458 w 10000"/>
                <a:gd name="connsiteY50" fmla="*/ 1989 h 10000"/>
                <a:gd name="connsiteX51" fmla="*/ 3003 w 10000"/>
                <a:gd name="connsiteY51" fmla="*/ 2540 h 10000"/>
                <a:gd name="connsiteX52" fmla="*/ 2570 w 10000"/>
                <a:gd name="connsiteY52" fmla="*/ 3116 h 10000"/>
                <a:gd name="connsiteX53" fmla="*/ 2155 w 10000"/>
                <a:gd name="connsiteY53" fmla="*/ 3730 h 10000"/>
                <a:gd name="connsiteX54" fmla="*/ 1757 w 10000"/>
                <a:gd name="connsiteY54" fmla="*/ 4386 h 10000"/>
                <a:gd name="connsiteX55" fmla="*/ 1384 w 10000"/>
                <a:gd name="connsiteY55" fmla="*/ 5062 h 10000"/>
                <a:gd name="connsiteX56" fmla="*/ 1028 w 10000"/>
                <a:gd name="connsiteY56" fmla="*/ 5737 h 10000"/>
                <a:gd name="connsiteX57" fmla="*/ 674 w 10000"/>
                <a:gd name="connsiteY57" fmla="*/ 6455 h 10000"/>
                <a:gd name="connsiteX58" fmla="*/ 0 w 10000"/>
                <a:gd name="connsiteY5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715 w 10000"/>
                <a:gd name="connsiteY48" fmla="*/ 1720 h 10000"/>
                <a:gd name="connsiteX49" fmla="*/ 3458 w 10000"/>
                <a:gd name="connsiteY49" fmla="*/ 1989 h 10000"/>
                <a:gd name="connsiteX50" fmla="*/ 3003 w 10000"/>
                <a:gd name="connsiteY50" fmla="*/ 2540 h 10000"/>
                <a:gd name="connsiteX51" fmla="*/ 2570 w 10000"/>
                <a:gd name="connsiteY51" fmla="*/ 3116 h 10000"/>
                <a:gd name="connsiteX52" fmla="*/ 2155 w 10000"/>
                <a:gd name="connsiteY52" fmla="*/ 3730 h 10000"/>
                <a:gd name="connsiteX53" fmla="*/ 1757 w 10000"/>
                <a:gd name="connsiteY53" fmla="*/ 4386 h 10000"/>
                <a:gd name="connsiteX54" fmla="*/ 1384 w 10000"/>
                <a:gd name="connsiteY54" fmla="*/ 5062 h 10000"/>
                <a:gd name="connsiteX55" fmla="*/ 1028 w 10000"/>
                <a:gd name="connsiteY55" fmla="*/ 5737 h 10000"/>
                <a:gd name="connsiteX56" fmla="*/ 674 w 10000"/>
                <a:gd name="connsiteY56" fmla="*/ 6455 h 10000"/>
                <a:gd name="connsiteX57" fmla="*/ 0 w 10000"/>
                <a:gd name="connsiteY5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458 w 10000"/>
                <a:gd name="connsiteY48" fmla="*/ 1989 h 10000"/>
                <a:gd name="connsiteX49" fmla="*/ 3003 w 10000"/>
                <a:gd name="connsiteY49" fmla="*/ 2540 h 10000"/>
                <a:gd name="connsiteX50" fmla="*/ 2570 w 10000"/>
                <a:gd name="connsiteY50" fmla="*/ 3116 h 10000"/>
                <a:gd name="connsiteX51" fmla="*/ 2155 w 10000"/>
                <a:gd name="connsiteY51" fmla="*/ 3730 h 10000"/>
                <a:gd name="connsiteX52" fmla="*/ 1757 w 10000"/>
                <a:gd name="connsiteY52" fmla="*/ 4386 h 10000"/>
                <a:gd name="connsiteX53" fmla="*/ 1384 w 10000"/>
                <a:gd name="connsiteY53" fmla="*/ 5062 h 10000"/>
                <a:gd name="connsiteX54" fmla="*/ 1028 w 10000"/>
                <a:gd name="connsiteY54" fmla="*/ 5737 h 10000"/>
                <a:gd name="connsiteX55" fmla="*/ 674 w 10000"/>
                <a:gd name="connsiteY55" fmla="*/ 6455 h 10000"/>
                <a:gd name="connsiteX56" fmla="*/ 0 w 10000"/>
                <a:gd name="connsiteY5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458 w 10000"/>
                <a:gd name="connsiteY47" fmla="*/ 1989 h 10000"/>
                <a:gd name="connsiteX48" fmla="*/ 3003 w 10000"/>
                <a:gd name="connsiteY48" fmla="*/ 2540 h 10000"/>
                <a:gd name="connsiteX49" fmla="*/ 2570 w 10000"/>
                <a:gd name="connsiteY49" fmla="*/ 3116 h 10000"/>
                <a:gd name="connsiteX50" fmla="*/ 2155 w 10000"/>
                <a:gd name="connsiteY50" fmla="*/ 3730 h 10000"/>
                <a:gd name="connsiteX51" fmla="*/ 1757 w 10000"/>
                <a:gd name="connsiteY51" fmla="*/ 4386 h 10000"/>
                <a:gd name="connsiteX52" fmla="*/ 1384 w 10000"/>
                <a:gd name="connsiteY52" fmla="*/ 5062 h 10000"/>
                <a:gd name="connsiteX53" fmla="*/ 1028 w 10000"/>
                <a:gd name="connsiteY53" fmla="*/ 5737 h 10000"/>
                <a:gd name="connsiteX54" fmla="*/ 674 w 10000"/>
                <a:gd name="connsiteY54" fmla="*/ 6455 h 10000"/>
                <a:gd name="connsiteX55" fmla="*/ 0 w 10000"/>
                <a:gd name="connsiteY5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3458 w 10000"/>
                <a:gd name="connsiteY46" fmla="*/ 1989 h 10000"/>
                <a:gd name="connsiteX47" fmla="*/ 3003 w 10000"/>
                <a:gd name="connsiteY47" fmla="*/ 2540 h 10000"/>
                <a:gd name="connsiteX48" fmla="*/ 2570 w 10000"/>
                <a:gd name="connsiteY48" fmla="*/ 3116 h 10000"/>
                <a:gd name="connsiteX49" fmla="*/ 2155 w 10000"/>
                <a:gd name="connsiteY49" fmla="*/ 3730 h 10000"/>
                <a:gd name="connsiteX50" fmla="*/ 1757 w 10000"/>
                <a:gd name="connsiteY50" fmla="*/ 4386 h 10000"/>
                <a:gd name="connsiteX51" fmla="*/ 1384 w 10000"/>
                <a:gd name="connsiteY51" fmla="*/ 5062 h 10000"/>
                <a:gd name="connsiteX52" fmla="*/ 1028 w 10000"/>
                <a:gd name="connsiteY52" fmla="*/ 5737 h 10000"/>
                <a:gd name="connsiteX53" fmla="*/ 674 w 10000"/>
                <a:gd name="connsiteY53" fmla="*/ 6455 h 10000"/>
                <a:gd name="connsiteX54" fmla="*/ 0 w 10000"/>
                <a:gd name="connsiteY5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3458 w 10000"/>
                <a:gd name="connsiteY45" fmla="*/ 1989 h 10000"/>
                <a:gd name="connsiteX46" fmla="*/ 3003 w 10000"/>
                <a:gd name="connsiteY46" fmla="*/ 2540 h 10000"/>
                <a:gd name="connsiteX47" fmla="*/ 2570 w 10000"/>
                <a:gd name="connsiteY47" fmla="*/ 3116 h 10000"/>
                <a:gd name="connsiteX48" fmla="*/ 2155 w 10000"/>
                <a:gd name="connsiteY48" fmla="*/ 3730 h 10000"/>
                <a:gd name="connsiteX49" fmla="*/ 1757 w 10000"/>
                <a:gd name="connsiteY49" fmla="*/ 4386 h 10000"/>
                <a:gd name="connsiteX50" fmla="*/ 1384 w 10000"/>
                <a:gd name="connsiteY50" fmla="*/ 5062 h 10000"/>
                <a:gd name="connsiteX51" fmla="*/ 1028 w 10000"/>
                <a:gd name="connsiteY51" fmla="*/ 5737 h 10000"/>
                <a:gd name="connsiteX52" fmla="*/ 674 w 10000"/>
                <a:gd name="connsiteY52" fmla="*/ 6455 h 10000"/>
                <a:gd name="connsiteX53" fmla="*/ 0 w 10000"/>
                <a:gd name="connsiteY5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3458 w 10000"/>
                <a:gd name="connsiteY44" fmla="*/ 1989 h 10000"/>
                <a:gd name="connsiteX45" fmla="*/ 3003 w 10000"/>
                <a:gd name="connsiteY45" fmla="*/ 2540 h 10000"/>
                <a:gd name="connsiteX46" fmla="*/ 2570 w 10000"/>
                <a:gd name="connsiteY46" fmla="*/ 3116 h 10000"/>
                <a:gd name="connsiteX47" fmla="*/ 2155 w 10000"/>
                <a:gd name="connsiteY47" fmla="*/ 3730 h 10000"/>
                <a:gd name="connsiteX48" fmla="*/ 1757 w 10000"/>
                <a:gd name="connsiteY48" fmla="*/ 4386 h 10000"/>
                <a:gd name="connsiteX49" fmla="*/ 1384 w 10000"/>
                <a:gd name="connsiteY49" fmla="*/ 5062 h 10000"/>
                <a:gd name="connsiteX50" fmla="*/ 1028 w 10000"/>
                <a:gd name="connsiteY50" fmla="*/ 5737 h 10000"/>
                <a:gd name="connsiteX51" fmla="*/ 674 w 10000"/>
                <a:gd name="connsiteY51" fmla="*/ 6455 h 10000"/>
                <a:gd name="connsiteX52" fmla="*/ 0 w 10000"/>
                <a:gd name="connsiteY5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3458 w 10000"/>
                <a:gd name="connsiteY43" fmla="*/ 1989 h 10000"/>
                <a:gd name="connsiteX44" fmla="*/ 3003 w 10000"/>
                <a:gd name="connsiteY44" fmla="*/ 2540 h 10000"/>
                <a:gd name="connsiteX45" fmla="*/ 2570 w 10000"/>
                <a:gd name="connsiteY45" fmla="*/ 3116 h 10000"/>
                <a:gd name="connsiteX46" fmla="*/ 2155 w 10000"/>
                <a:gd name="connsiteY46" fmla="*/ 3730 h 10000"/>
                <a:gd name="connsiteX47" fmla="*/ 1757 w 10000"/>
                <a:gd name="connsiteY47" fmla="*/ 4386 h 10000"/>
                <a:gd name="connsiteX48" fmla="*/ 1384 w 10000"/>
                <a:gd name="connsiteY48" fmla="*/ 5062 h 10000"/>
                <a:gd name="connsiteX49" fmla="*/ 1028 w 10000"/>
                <a:gd name="connsiteY49" fmla="*/ 5737 h 10000"/>
                <a:gd name="connsiteX50" fmla="*/ 674 w 10000"/>
                <a:gd name="connsiteY50" fmla="*/ 6455 h 10000"/>
                <a:gd name="connsiteX51" fmla="*/ 0 w 10000"/>
                <a:gd name="connsiteY5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3458 w 10000"/>
                <a:gd name="connsiteY42" fmla="*/ 1989 h 10000"/>
                <a:gd name="connsiteX43" fmla="*/ 3003 w 10000"/>
                <a:gd name="connsiteY43" fmla="*/ 2540 h 10000"/>
                <a:gd name="connsiteX44" fmla="*/ 2570 w 10000"/>
                <a:gd name="connsiteY44" fmla="*/ 3116 h 10000"/>
                <a:gd name="connsiteX45" fmla="*/ 2155 w 10000"/>
                <a:gd name="connsiteY45" fmla="*/ 3730 h 10000"/>
                <a:gd name="connsiteX46" fmla="*/ 1757 w 10000"/>
                <a:gd name="connsiteY46" fmla="*/ 4386 h 10000"/>
                <a:gd name="connsiteX47" fmla="*/ 1384 w 10000"/>
                <a:gd name="connsiteY47" fmla="*/ 5062 h 10000"/>
                <a:gd name="connsiteX48" fmla="*/ 1028 w 10000"/>
                <a:gd name="connsiteY48" fmla="*/ 5737 h 10000"/>
                <a:gd name="connsiteX49" fmla="*/ 674 w 10000"/>
                <a:gd name="connsiteY49" fmla="*/ 6455 h 10000"/>
                <a:gd name="connsiteX50" fmla="*/ 0 w 10000"/>
                <a:gd name="connsiteY5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3458 w 10000"/>
                <a:gd name="connsiteY41" fmla="*/ 1989 h 10000"/>
                <a:gd name="connsiteX42" fmla="*/ 3003 w 10000"/>
                <a:gd name="connsiteY42" fmla="*/ 2540 h 10000"/>
                <a:gd name="connsiteX43" fmla="*/ 2570 w 10000"/>
                <a:gd name="connsiteY43" fmla="*/ 3116 h 10000"/>
                <a:gd name="connsiteX44" fmla="*/ 2155 w 10000"/>
                <a:gd name="connsiteY44" fmla="*/ 3730 h 10000"/>
                <a:gd name="connsiteX45" fmla="*/ 1757 w 10000"/>
                <a:gd name="connsiteY45" fmla="*/ 4386 h 10000"/>
                <a:gd name="connsiteX46" fmla="*/ 1384 w 10000"/>
                <a:gd name="connsiteY46" fmla="*/ 5062 h 10000"/>
                <a:gd name="connsiteX47" fmla="*/ 1028 w 10000"/>
                <a:gd name="connsiteY47" fmla="*/ 5737 h 10000"/>
                <a:gd name="connsiteX48" fmla="*/ 674 w 10000"/>
                <a:gd name="connsiteY48" fmla="*/ 6455 h 10000"/>
                <a:gd name="connsiteX49" fmla="*/ 0 w 10000"/>
                <a:gd name="connsiteY4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3458 w 10000"/>
                <a:gd name="connsiteY40" fmla="*/ 1989 h 10000"/>
                <a:gd name="connsiteX41" fmla="*/ 3003 w 10000"/>
                <a:gd name="connsiteY41" fmla="*/ 2540 h 10000"/>
                <a:gd name="connsiteX42" fmla="*/ 2570 w 10000"/>
                <a:gd name="connsiteY42" fmla="*/ 3116 h 10000"/>
                <a:gd name="connsiteX43" fmla="*/ 2155 w 10000"/>
                <a:gd name="connsiteY43" fmla="*/ 3730 h 10000"/>
                <a:gd name="connsiteX44" fmla="*/ 1757 w 10000"/>
                <a:gd name="connsiteY44" fmla="*/ 4386 h 10000"/>
                <a:gd name="connsiteX45" fmla="*/ 1384 w 10000"/>
                <a:gd name="connsiteY45" fmla="*/ 5062 h 10000"/>
                <a:gd name="connsiteX46" fmla="*/ 1028 w 10000"/>
                <a:gd name="connsiteY46" fmla="*/ 5737 h 10000"/>
                <a:gd name="connsiteX47" fmla="*/ 674 w 10000"/>
                <a:gd name="connsiteY47" fmla="*/ 6455 h 10000"/>
                <a:gd name="connsiteX48" fmla="*/ 0 w 10000"/>
                <a:gd name="connsiteY4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3458 w 10000"/>
                <a:gd name="connsiteY39" fmla="*/ 1989 h 10000"/>
                <a:gd name="connsiteX40" fmla="*/ 3003 w 10000"/>
                <a:gd name="connsiteY40" fmla="*/ 2540 h 10000"/>
                <a:gd name="connsiteX41" fmla="*/ 2570 w 10000"/>
                <a:gd name="connsiteY41" fmla="*/ 3116 h 10000"/>
                <a:gd name="connsiteX42" fmla="*/ 2155 w 10000"/>
                <a:gd name="connsiteY42" fmla="*/ 3730 h 10000"/>
                <a:gd name="connsiteX43" fmla="*/ 1757 w 10000"/>
                <a:gd name="connsiteY43" fmla="*/ 4386 h 10000"/>
                <a:gd name="connsiteX44" fmla="*/ 1384 w 10000"/>
                <a:gd name="connsiteY44" fmla="*/ 5062 h 10000"/>
                <a:gd name="connsiteX45" fmla="*/ 1028 w 10000"/>
                <a:gd name="connsiteY45" fmla="*/ 5737 h 10000"/>
                <a:gd name="connsiteX46" fmla="*/ 674 w 10000"/>
                <a:gd name="connsiteY46" fmla="*/ 6455 h 10000"/>
                <a:gd name="connsiteX47" fmla="*/ 0 w 10000"/>
                <a:gd name="connsiteY4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3458 w 10000"/>
                <a:gd name="connsiteY38" fmla="*/ 1989 h 10000"/>
                <a:gd name="connsiteX39" fmla="*/ 3003 w 10000"/>
                <a:gd name="connsiteY39" fmla="*/ 2540 h 10000"/>
                <a:gd name="connsiteX40" fmla="*/ 2570 w 10000"/>
                <a:gd name="connsiteY40" fmla="*/ 3116 h 10000"/>
                <a:gd name="connsiteX41" fmla="*/ 2155 w 10000"/>
                <a:gd name="connsiteY41" fmla="*/ 3730 h 10000"/>
                <a:gd name="connsiteX42" fmla="*/ 1757 w 10000"/>
                <a:gd name="connsiteY42" fmla="*/ 4386 h 10000"/>
                <a:gd name="connsiteX43" fmla="*/ 1384 w 10000"/>
                <a:gd name="connsiteY43" fmla="*/ 5062 h 10000"/>
                <a:gd name="connsiteX44" fmla="*/ 1028 w 10000"/>
                <a:gd name="connsiteY44" fmla="*/ 5737 h 10000"/>
                <a:gd name="connsiteX45" fmla="*/ 674 w 10000"/>
                <a:gd name="connsiteY45" fmla="*/ 6455 h 10000"/>
                <a:gd name="connsiteX46" fmla="*/ 0 w 10000"/>
                <a:gd name="connsiteY4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3458 w 10000"/>
                <a:gd name="connsiteY37" fmla="*/ 1989 h 10000"/>
                <a:gd name="connsiteX38" fmla="*/ 3003 w 10000"/>
                <a:gd name="connsiteY38" fmla="*/ 2540 h 10000"/>
                <a:gd name="connsiteX39" fmla="*/ 2570 w 10000"/>
                <a:gd name="connsiteY39" fmla="*/ 3116 h 10000"/>
                <a:gd name="connsiteX40" fmla="*/ 2155 w 10000"/>
                <a:gd name="connsiteY40" fmla="*/ 3730 h 10000"/>
                <a:gd name="connsiteX41" fmla="*/ 1757 w 10000"/>
                <a:gd name="connsiteY41" fmla="*/ 4386 h 10000"/>
                <a:gd name="connsiteX42" fmla="*/ 1384 w 10000"/>
                <a:gd name="connsiteY42" fmla="*/ 5062 h 10000"/>
                <a:gd name="connsiteX43" fmla="*/ 1028 w 10000"/>
                <a:gd name="connsiteY43" fmla="*/ 5737 h 10000"/>
                <a:gd name="connsiteX44" fmla="*/ 674 w 10000"/>
                <a:gd name="connsiteY44" fmla="*/ 6455 h 10000"/>
                <a:gd name="connsiteX45" fmla="*/ 0 w 10000"/>
                <a:gd name="connsiteY4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5672 w 10000"/>
                <a:gd name="connsiteY11" fmla="*/ 1312 h 10000"/>
                <a:gd name="connsiteX12" fmla="*/ 6106 w 10000"/>
                <a:gd name="connsiteY12" fmla="*/ 922 h 10000"/>
                <a:gd name="connsiteX13" fmla="*/ 6325 w 10000"/>
                <a:gd name="connsiteY13" fmla="*/ 758 h 10000"/>
                <a:gd name="connsiteX14" fmla="*/ 6561 w 10000"/>
                <a:gd name="connsiteY14" fmla="*/ 634 h 10000"/>
                <a:gd name="connsiteX15" fmla="*/ 6775 w 10000"/>
                <a:gd name="connsiteY15" fmla="*/ 512 h 10000"/>
                <a:gd name="connsiteX16" fmla="*/ 7014 w 10000"/>
                <a:gd name="connsiteY16" fmla="*/ 450 h 10000"/>
                <a:gd name="connsiteX17" fmla="*/ 7269 w 10000"/>
                <a:gd name="connsiteY17" fmla="*/ 388 h 10000"/>
                <a:gd name="connsiteX18" fmla="*/ 7526 w 10000"/>
                <a:gd name="connsiteY18" fmla="*/ 388 h 10000"/>
                <a:gd name="connsiteX19" fmla="*/ 7843 w 10000"/>
                <a:gd name="connsiteY19" fmla="*/ 410 h 10000"/>
                <a:gd name="connsiteX20" fmla="*/ 8157 w 10000"/>
                <a:gd name="connsiteY20" fmla="*/ 492 h 10000"/>
                <a:gd name="connsiteX21" fmla="*/ 8437 w 10000"/>
                <a:gd name="connsiteY21" fmla="*/ 634 h 10000"/>
                <a:gd name="connsiteX22" fmla="*/ 8734 w 10000"/>
                <a:gd name="connsiteY22" fmla="*/ 780 h 10000"/>
                <a:gd name="connsiteX23" fmla="*/ 8989 w 10000"/>
                <a:gd name="connsiteY23" fmla="*/ 985 h 10000"/>
                <a:gd name="connsiteX24" fmla="*/ 9267 w 10000"/>
                <a:gd name="connsiteY24" fmla="*/ 1250 h 10000"/>
                <a:gd name="connsiteX25" fmla="*/ 9505 w 10000"/>
                <a:gd name="connsiteY25" fmla="*/ 1536 h 10000"/>
                <a:gd name="connsiteX26" fmla="*/ 9781 w 10000"/>
                <a:gd name="connsiteY26" fmla="*/ 1864 h 10000"/>
                <a:gd name="connsiteX27" fmla="*/ 10000 w 10000"/>
                <a:gd name="connsiteY27" fmla="*/ 2213 h 10000"/>
                <a:gd name="connsiteX28" fmla="*/ 9838 w 10000"/>
                <a:gd name="connsiteY28" fmla="*/ 656 h 10000"/>
                <a:gd name="connsiteX29" fmla="*/ 9484 w 10000"/>
                <a:gd name="connsiteY29" fmla="*/ 470 h 10000"/>
                <a:gd name="connsiteX30" fmla="*/ 9129 w 10000"/>
                <a:gd name="connsiteY30" fmla="*/ 307 h 10000"/>
                <a:gd name="connsiteX31" fmla="*/ 8754 w 10000"/>
                <a:gd name="connsiteY31" fmla="*/ 184 h 10000"/>
                <a:gd name="connsiteX32" fmla="*/ 8356 w 10000"/>
                <a:gd name="connsiteY32" fmla="*/ 101 h 10000"/>
                <a:gd name="connsiteX33" fmla="*/ 7943 w 10000"/>
                <a:gd name="connsiteY33" fmla="*/ 21 h 10000"/>
                <a:gd name="connsiteX34" fmla="*/ 7526 w 10000"/>
                <a:gd name="connsiteY34" fmla="*/ 0 h 10000"/>
                <a:gd name="connsiteX35" fmla="*/ 7172 w 10000"/>
                <a:gd name="connsiteY35" fmla="*/ 21 h 10000"/>
                <a:gd name="connsiteX36" fmla="*/ 3458 w 10000"/>
                <a:gd name="connsiteY36" fmla="*/ 1989 h 10000"/>
                <a:gd name="connsiteX37" fmla="*/ 3003 w 10000"/>
                <a:gd name="connsiteY37" fmla="*/ 2540 h 10000"/>
                <a:gd name="connsiteX38" fmla="*/ 2570 w 10000"/>
                <a:gd name="connsiteY38" fmla="*/ 3116 h 10000"/>
                <a:gd name="connsiteX39" fmla="*/ 2155 w 10000"/>
                <a:gd name="connsiteY39" fmla="*/ 3730 h 10000"/>
                <a:gd name="connsiteX40" fmla="*/ 1757 w 10000"/>
                <a:gd name="connsiteY40" fmla="*/ 4386 h 10000"/>
                <a:gd name="connsiteX41" fmla="*/ 1384 w 10000"/>
                <a:gd name="connsiteY41" fmla="*/ 5062 h 10000"/>
                <a:gd name="connsiteX42" fmla="*/ 1028 w 10000"/>
                <a:gd name="connsiteY42" fmla="*/ 5737 h 10000"/>
                <a:gd name="connsiteX43" fmla="*/ 674 w 10000"/>
                <a:gd name="connsiteY43" fmla="*/ 6455 h 10000"/>
                <a:gd name="connsiteX44" fmla="*/ 0 w 10000"/>
                <a:gd name="connsiteY4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6106 w 10000"/>
                <a:gd name="connsiteY11" fmla="*/ 922 h 10000"/>
                <a:gd name="connsiteX12" fmla="*/ 6325 w 10000"/>
                <a:gd name="connsiteY12" fmla="*/ 758 h 10000"/>
                <a:gd name="connsiteX13" fmla="*/ 6561 w 10000"/>
                <a:gd name="connsiteY13" fmla="*/ 634 h 10000"/>
                <a:gd name="connsiteX14" fmla="*/ 6775 w 10000"/>
                <a:gd name="connsiteY14" fmla="*/ 512 h 10000"/>
                <a:gd name="connsiteX15" fmla="*/ 7014 w 10000"/>
                <a:gd name="connsiteY15" fmla="*/ 450 h 10000"/>
                <a:gd name="connsiteX16" fmla="*/ 7269 w 10000"/>
                <a:gd name="connsiteY16" fmla="*/ 388 h 10000"/>
                <a:gd name="connsiteX17" fmla="*/ 7526 w 10000"/>
                <a:gd name="connsiteY17" fmla="*/ 388 h 10000"/>
                <a:gd name="connsiteX18" fmla="*/ 7843 w 10000"/>
                <a:gd name="connsiteY18" fmla="*/ 410 h 10000"/>
                <a:gd name="connsiteX19" fmla="*/ 8157 w 10000"/>
                <a:gd name="connsiteY19" fmla="*/ 492 h 10000"/>
                <a:gd name="connsiteX20" fmla="*/ 8437 w 10000"/>
                <a:gd name="connsiteY20" fmla="*/ 634 h 10000"/>
                <a:gd name="connsiteX21" fmla="*/ 8734 w 10000"/>
                <a:gd name="connsiteY21" fmla="*/ 780 h 10000"/>
                <a:gd name="connsiteX22" fmla="*/ 8989 w 10000"/>
                <a:gd name="connsiteY22" fmla="*/ 985 h 10000"/>
                <a:gd name="connsiteX23" fmla="*/ 9267 w 10000"/>
                <a:gd name="connsiteY23" fmla="*/ 1250 h 10000"/>
                <a:gd name="connsiteX24" fmla="*/ 9505 w 10000"/>
                <a:gd name="connsiteY24" fmla="*/ 1536 h 10000"/>
                <a:gd name="connsiteX25" fmla="*/ 9781 w 10000"/>
                <a:gd name="connsiteY25" fmla="*/ 1864 h 10000"/>
                <a:gd name="connsiteX26" fmla="*/ 10000 w 10000"/>
                <a:gd name="connsiteY26" fmla="*/ 2213 h 10000"/>
                <a:gd name="connsiteX27" fmla="*/ 9838 w 10000"/>
                <a:gd name="connsiteY27" fmla="*/ 656 h 10000"/>
                <a:gd name="connsiteX28" fmla="*/ 9484 w 10000"/>
                <a:gd name="connsiteY28" fmla="*/ 470 h 10000"/>
                <a:gd name="connsiteX29" fmla="*/ 9129 w 10000"/>
                <a:gd name="connsiteY29" fmla="*/ 307 h 10000"/>
                <a:gd name="connsiteX30" fmla="*/ 8754 w 10000"/>
                <a:gd name="connsiteY30" fmla="*/ 184 h 10000"/>
                <a:gd name="connsiteX31" fmla="*/ 8356 w 10000"/>
                <a:gd name="connsiteY31" fmla="*/ 101 h 10000"/>
                <a:gd name="connsiteX32" fmla="*/ 7943 w 10000"/>
                <a:gd name="connsiteY32" fmla="*/ 21 h 10000"/>
                <a:gd name="connsiteX33" fmla="*/ 7526 w 10000"/>
                <a:gd name="connsiteY33" fmla="*/ 0 h 10000"/>
                <a:gd name="connsiteX34" fmla="*/ 7172 w 10000"/>
                <a:gd name="connsiteY34" fmla="*/ 21 h 10000"/>
                <a:gd name="connsiteX35" fmla="*/ 3458 w 10000"/>
                <a:gd name="connsiteY35" fmla="*/ 1989 h 10000"/>
                <a:gd name="connsiteX36" fmla="*/ 3003 w 10000"/>
                <a:gd name="connsiteY36" fmla="*/ 2540 h 10000"/>
                <a:gd name="connsiteX37" fmla="*/ 2570 w 10000"/>
                <a:gd name="connsiteY37" fmla="*/ 3116 h 10000"/>
                <a:gd name="connsiteX38" fmla="*/ 2155 w 10000"/>
                <a:gd name="connsiteY38" fmla="*/ 3730 h 10000"/>
                <a:gd name="connsiteX39" fmla="*/ 1757 w 10000"/>
                <a:gd name="connsiteY39" fmla="*/ 4386 h 10000"/>
                <a:gd name="connsiteX40" fmla="*/ 1384 w 10000"/>
                <a:gd name="connsiteY40" fmla="*/ 5062 h 10000"/>
                <a:gd name="connsiteX41" fmla="*/ 1028 w 10000"/>
                <a:gd name="connsiteY41" fmla="*/ 5737 h 10000"/>
                <a:gd name="connsiteX42" fmla="*/ 674 w 10000"/>
                <a:gd name="connsiteY42" fmla="*/ 6455 h 10000"/>
                <a:gd name="connsiteX43" fmla="*/ 0 w 10000"/>
                <a:gd name="connsiteY4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325 w 10000"/>
                <a:gd name="connsiteY11" fmla="*/ 758 h 10000"/>
                <a:gd name="connsiteX12" fmla="*/ 6561 w 10000"/>
                <a:gd name="connsiteY12" fmla="*/ 634 h 10000"/>
                <a:gd name="connsiteX13" fmla="*/ 6775 w 10000"/>
                <a:gd name="connsiteY13" fmla="*/ 512 h 10000"/>
                <a:gd name="connsiteX14" fmla="*/ 7014 w 10000"/>
                <a:gd name="connsiteY14" fmla="*/ 450 h 10000"/>
                <a:gd name="connsiteX15" fmla="*/ 7269 w 10000"/>
                <a:gd name="connsiteY15" fmla="*/ 388 h 10000"/>
                <a:gd name="connsiteX16" fmla="*/ 7526 w 10000"/>
                <a:gd name="connsiteY16" fmla="*/ 388 h 10000"/>
                <a:gd name="connsiteX17" fmla="*/ 7843 w 10000"/>
                <a:gd name="connsiteY17" fmla="*/ 410 h 10000"/>
                <a:gd name="connsiteX18" fmla="*/ 8157 w 10000"/>
                <a:gd name="connsiteY18" fmla="*/ 492 h 10000"/>
                <a:gd name="connsiteX19" fmla="*/ 8437 w 10000"/>
                <a:gd name="connsiteY19" fmla="*/ 634 h 10000"/>
                <a:gd name="connsiteX20" fmla="*/ 8734 w 10000"/>
                <a:gd name="connsiteY20" fmla="*/ 780 h 10000"/>
                <a:gd name="connsiteX21" fmla="*/ 8989 w 10000"/>
                <a:gd name="connsiteY21" fmla="*/ 985 h 10000"/>
                <a:gd name="connsiteX22" fmla="*/ 9267 w 10000"/>
                <a:gd name="connsiteY22" fmla="*/ 1250 h 10000"/>
                <a:gd name="connsiteX23" fmla="*/ 9505 w 10000"/>
                <a:gd name="connsiteY23" fmla="*/ 1536 h 10000"/>
                <a:gd name="connsiteX24" fmla="*/ 9781 w 10000"/>
                <a:gd name="connsiteY24" fmla="*/ 1864 h 10000"/>
                <a:gd name="connsiteX25" fmla="*/ 10000 w 10000"/>
                <a:gd name="connsiteY25" fmla="*/ 2213 h 10000"/>
                <a:gd name="connsiteX26" fmla="*/ 9838 w 10000"/>
                <a:gd name="connsiteY26" fmla="*/ 656 h 10000"/>
                <a:gd name="connsiteX27" fmla="*/ 9484 w 10000"/>
                <a:gd name="connsiteY27" fmla="*/ 470 h 10000"/>
                <a:gd name="connsiteX28" fmla="*/ 9129 w 10000"/>
                <a:gd name="connsiteY28" fmla="*/ 307 h 10000"/>
                <a:gd name="connsiteX29" fmla="*/ 8754 w 10000"/>
                <a:gd name="connsiteY29" fmla="*/ 184 h 10000"/>
                <a:gd name="connsiteX30" fmla="*/ 8356 w 10000"/>
                <a:gd name="connsiteY30" fmla="*/ 101 h 10000"/>
                <a:gd name="connsiteX31" fmla="*/ 7943 w 10000"/>
                <a:gd name="connsiteY31" fmla="*/ 21 h 10000"/>
                <a:gd name="connsiteX32" fmla="*/ 7526 w 10000"/>
                <a:gd name="connsiteY32" fmla="*/ 0 h 10000"/>
                <a:gd name="connsiteX33" fmla="*/ 7172 w 10000"/>
                <a:gd name="connsiteY33" fmla="*/ 21 h 10000"/>
                <a:gd name="connsiteX34" fmla="*/ 3458 w 10000"/>
                <a:gd name="connsiteY34" fmla="*/ 1989 h 10000"/>
                <a:gd name="connsiteX35" fmla="*/ 3003 w 10000"/>
                <a:gd name="connsiteY35" fmla="*/ 2540 h 10000"/>
                <a:gd name="connsiteX36" fmla="*/ 2570 w 10000"/>
                <a:gd name="connsiteY36" fmla="*/ 3116 h 10000"/>
                <a:gd name="connsiteX37" fmla="*/ 2155 w 10000"/>
                <a:gd name="connsiteY37" fmla="*/ 3730 h 10000"/>
                <a:gd name="connsiteX38" fmla="*/ 1757 w 10000"/>
                <a:gd name="connsiteY38" fmla="*/ 4386 h 10000"/>
                <a:gd name="connsiteX39" fmla="*/ 1384 w 10000"/>
                <a:gd name="connsiteY39" fmla="*/ 5062 h 10000"/>
                <a:gd name="connsiteX40" fmla="*/ 1028 w 10000"/>
                <a:gd name="connsiteY40" fmla="*/ 5737 h 10000"/>
                <a:gd name="connsiteX41" fmla="*/ 674 w 10000"/>
                <a:gd name="connsiteY41" fmla="*/ 6455 h 10000"/>
                <a:gd name="connsiteX42" fmla="*/ 0 w 10000"/>
                <a:gd name="connsiteY4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561 w 10000"/>
                <a:gd name="connsiteY11" fmla="*/ 634 h 10000"/>
                <a:gd name="connsiteX12" fmla="*/ 6775 w 10000"/>
                <a:gd name="connsiteY12" fmla="*/ 512 h 10000"/>
                <a:gd name="connsiteX13" fmla="*/ 7014 w 10000"/>
                <a:gd name="connsiteY13" fmla="*/ 450 h 10000"/>
                <a:gd name="connsiteX14" fmla="*/ 7269 w 10000"/>
                <a:gd name="connsiteY14" fmla="*/ 388 h 10000"/>
                <a:gd name="connsiteX15" fmla="*/ 7526 w 10000"/>
                <a:gd name="connsiteY15" fmla="*/ 388 h 10000"/>
                <a:gd name="connsiteX16" fmla="*/ 7843 w 10000"/>
                <a:gd name="connsiteY16" fmla="*/ 410 h 10000"/>
                <a:gd name="connsiteX17" fmla="*/ 8157 w 10000"/>
                <a:gd name="connsiteY17" fmla="*/ 492 h 10000"/>
                <a:gd name="connsiteX18" fmla="*/ 8437 w 10000"/>
                <a:gd name="connsiteY18" fmla="*/ 634 h 10000"/>
                <a:gd name="connsiteX19" fmla="*/ 8734 w 10000"/>
                <a:gd name="connsiteY19" fmla="*/ 780 h 10000"/>
                <a:gd name="connsiteX20" fmla="*/ 8989 w 10000"/>
                <a:gd name="connsiteY20" fmla="*/ 985 h 10000"/>
                <a:gd name="connsiteX21" fmla="*/ 9267 w 10000"/>
                <a:gd name="connsiteY21" fmla="*/ 1250 h 10000"/>
                <a:gd name="connsiteX22" fmla="*/ 9505 w 10000"/>
                <a:gd name="connsiteY22" fmla="*/ 1536 h 10000"/>
                <a:gd name="connsiteX23" fmla="*/ 9781 w 10000"/>
                <a:gd name="connsiteY23" fmla="*/ 1864 h 10000"/>
                <a:gd name="connsiteX24" fmla="*/ 10000 w 10000"/>
                <a:gd name="connsiteY24" fmla="*/ 2213 h 10000"/>
                <a:gd name="connsiteX25" fmla="*/ 9838 w 10000"/>
                <a:gd name="connsiteY25" fmla="*/ 656 h 10000"/>
                <a:gd name="connsiteX26" fmla="*/ 9484 w 10000"/>
                <a:gd name="connsiteY26" fmla="*/ 470 h 10000"/>
                <a:gd name="connsiteX27" fmla="*/ 9129 w 10000"/>
                <a:gd name="connsiteY27" fmla="*/ 307 h 10000"/>
                <a:gd name="connsiteX28" fmla="*/ 8754 w 10000"/>
                <a:gd name="connsiteY28" fmla="*/ 184 h 10000"/>
                <a:gd name="connsiteX29" fmla="*/ 8356 w 10000"/>
                <a:gd name="connsiteY29" fmla="*/ 101 h 10000"/>
                <a:gd name="connsiteX30" fmla="*/ 7943 w 10000"/>
                <a:gd name="connsiteY30" fmla="*/ 21 h 10000"/>
                <a:gd name="connsiteX31" fmla="*/ 7526 w 10000"/>
                <a:gd name="connsiteY31" fmla="*/ 0 h 10000"/>
                <a:gd name="connsiteX32" fmla="*/ 7172 w 10000"/>
                <a:gd name="connsiteY32" fmla="*/ 21 h 10000"/>
                <a:gd name="connsiteX33" fmla="*/ 3458 w 10000"/>
                <a:gd name="connsiteY33" fmla="*/ 1989 h 10000"/>
                <a:gd name="connsiteX34" fmla="*/ 3003 w 10000"/>
                <a:gd name="connsiteY34" fmla="*/ 2540 h 10000"/>
                <a:gd name="connsiteX35" fmla="*/ 2570 w 10000"/>
                <a:gd name="connsiteY35" fmla="*/ 3116 h 10000"/>
                <a:gd name="connsiteX36" fmla="*/ 2155 w 10000"/>
                <a:gd name="connsiteY36" fmla="*/ 3730 h 10000"/>
                <a:gd name="connsiteX37" fmla="*/ 1757 w 10000"/>
                <a:gd name="connsiteY37" fmla="*/ 4386 h 10000"/>
                <a:gd name="connsiteX38" fmla="*/ 1384 w 10000"/>
                <a:gd name="connsiteY38" fmla="*/ 5062 h 10000"/>
                <a:gd name="connsiteX39" fmla="*/ 1028 w 10000"/>
                <a:gd name="connsiteY39" fmla="*/ 5737 h 10000"/>
                <a:gd name="connsiteX40" fmla="*/ 674 w 10000"/>
                <a:gd name="connsiteY40" fmla="*/ 6455 h 10000"/>
                <a:gd name="connsiteX41" fmla="*/ 0 w 10000"/>
                <a:gd name="connsiteY4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6775 w 10000"/>
                <a:gd name="connsiteY11" fmla="*/ 512 h 10000"/>
                <a:gd name="connsiteX12" fmla="*/ 7014 w 10000"/>
                <a:gd name="connsiteY12" fmla="*/ 450 h 10000"/>
                <a:gd name="connsiteX13" fmla="*/ 7269 w 10000"/>
                <a:gd name="connsiteY13" fmla="*/ 388 h 10000"/>
                <a:gd name="connsiteX14" fmla="*/ 7526 w 10000"/>
                <a:gd name="connsiteY14" fmla="*/ 388 h 10000"/>
                <a:gd name="connsiteX15" fmla="*/ 7843 w 10000"/>
                <a:gd name="connsiteY15" fmla="*/ 410 h 10000"/>
                <a:gd name="connsiteX16" fmla="*/ 8157 w 10000"/>
                <a:gd name="connsiteY16" fmla="*/ 492 h 10000"/>
                <a:gd name="connsiteX17" fmla="*/ 8437 w 10000"/>
                <a:gd name="connsiteY17" fmla="*/ 634 h 10000"/>
                <a:gd name="connsiteX18" fmla="*/ 8734 w 10000"/>
                <a:gd name="connsiteY18" fmla="*/ 780 h 10000"/>
                <a:gd name="connsiteX19" fmla="*/ 8989 w 10000"/>
                <a:gd name="connsiteY19" fmla="*/ 985 h 10000"/>
                <a:gd name="connsiteX20" fmla="*/ 9267 w 10000"/>
                <a:gd name="connsiteY20" fmla="*/ 1250 h 10000"/>
                <a:gd name="connsiteX21" fmla="*/ 9505 w 10000"/>
                <a:gd name="connsiteY21" fmla="*/ 1536 h 10000"/>
                <a:gd name="connsiteX22" fmla="*/ 9781 w 10000"/>
                <a:gd name="connsiteY22" fmla="*/ 1864 h 10000"/>
                <a:gd name="connsiteX23" fmla="*/ 10000 w 10000"/>
                <a:gd name="connsiteY23" fmla="*/ 2213 h 10000"/>
                <a:gd name="connsiteX24" fmla="*/ 9838 w 10000"/>
                <a:gd name="connsiteY24" fmla="*/ 656 h 10000"/>
                <a:gd name="connsiteX25" fmla="*/ 9484 w 10000"/>
                <a:gd name="connsiteY25" fmla="*/ 470 h 10000"/>
                <a:gd name="connsiteX26" fmla="*/ 9129 w 10000"/>
                <a:gd name="connsiteY26" fmla="*/ 307 h 10000"/>
                <a:gd name="connsiteX27" fmla="*/ 8754 w 10000"/>
                <a:gd name="connsiteY27" fmla="*/ 184 h 10000"/>
                <a:gd name="connsiteX28" fmla="*/ 8356 w 10000"/>
                <a:gd name="connsiteY28" fmla="*/ 101 h 10000"/>
                <a:gd name="connsiteX29" fmla="*/ 7943 w 10000"/>
                <a:gd name="connsiteY29" fmla="*/ 21 h 10000"/>
                <a:gd name="connsiteX30" fmla="*/ 7526 w 10000"/>
                <a:gd name="connsiteY30" fmla="*/ 0 h 10000"/>
                <a:gd name="connsiteX31" fmla="*/ 7172 w 10000"/>
                <a:gd name="connsiteY31" fmla="*/ 21 h 10000"/>
                <a:gd name="connsiteX32" fmla="*/ 3458 w 10000"/>
                <a:gd name="connsiteY32" fmla="*/ 1989 h 10000"/>
                <a:gd name="connsiteX33" fmla="*/ 3003 w 10000"/>
                <a:gd name="connsiteY33" fmla="*/ 2540 h 10000"/>
                <a:gd name="connsiteX34" fmla="*/ 2570 w 10000"/>
                <a:gd name="connsiteY34" fmla="*/ 3116 h 10000"/>
                <a:gd name="connsiteX35" fmla="*/ 2155 w 10000"/>
                <a:gd name="connsiteY35" fmla="*/ 3730 h 10000"/>
                <a:gd name="connsiteX36" fmla="*/ 1757 w 10000"/>
                <a:gd name="connsiteY36" fmla="*/ 4386 h 10000"/>
                <a:gd name="connsiteX37" fmla="*/ 1384 w 10000"/>
                <a:gd name="connsiteY37" fmla="*/ 5062 h 10000"/>
                <a:gd name="connsiteX38" fmla="*/ 1028 w 10000"/>
                <a:gd name="connsiteY38" fmla="*/ 5737 h 10000"/>
                <a:gd name="connsiteX39" fmla="*/ 674 w 10000"/>
                <a:gd name="connsiteY39" fmla="*/ 6455 h 10000"/>
                <a:gd name="connsiteX40" fmla="*/ 0 w 10000"/>
                <a:gd name="connsiteY4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526 w 10000"/>
                <a:gd name="connsiteY13" fmla="*/ 388 h 10000"/>
                <a:gd name="connsiteX14" fmla="*/ 7843 w 10000"/>
                <a:gd name="connsiteY14" fmla="*/ 410 h 10000"/>
                <a:gd name="connsiteX15" fmla="*/ 8157 w 10000"/>
                <a:gd name="connsiteY15" fmla="*/ 492 h 10000"/>
                <a:gd name="connsiteX16" fmla="*/ 8437 w 10000"/>
                <a:gd name="connsiteY16" fmla="*/ 634 h 10000"/>
                <a:gd name="connsiteX17" fmla="*/ 8734 w 10000"/>
                <a:gd name="connsiteY17" fmla="*/ 780 h 10000"/>
                <a:gd name="connsiteX18" fmla="*/ 8989 w 10000"/>
                <a:gd name="connsiteY18" fmla="*/ 985 h 10000"/>
                <a:gd name="connsiteX19" fmla="*/ 9267 w 10000"/>
                <a:gd name="connsiteY19" fmla="*/ 1250 h 10000"/>
                <a:gd name="connsiteX20" fmla="*/ 9505 w 10000"/>
                <a:gd name="connsiteY20" fmla="*/ 1536 h 10000"/>
                <a:gd name="connsiteX21" fmla="*/ 9781 w 10000"/>
                <a:gd name="connsiteY21" fmla="*/ 1864 h 10000"/>
                <a:gd name="connsiteX22" fmla="*/ 10000 w 10000"/>
                <a:gd name="connsiteY22" fmla="*/ 2213 h 10000"/>
                <a:gd name="connsiteX23" fmla="*/ 9838 w 10000"/>
                <a:gd name="connsiteY23" fmla="*/ 656 h 10000"/>
                <a:gd name="connsiteX24" fmla="*/ 9484 w 10000"/>
                <a:gd name="connsiteY24" fmla="*/ 470 h 10000"/>
                <a:gd name="connsiteX25" fmla="*/ 9129 w 10000"/>
                <a:gd name="connsiteY25" fmla="*/ 307 h 10000"/>
                <a:gd name="connsiteX26" fmla="*/ 8754 w 10000"/>
                <a:gd name="connsiteY26" fmla="*/ 184 h 10000"/>
                <a:gd name="connsiteX27" fmla="*/ 8356 w 10000"/>
                <a:gd name="connsiteY27" fmla="*/ 101 h 10000"/>
                <a:gd name="connsiteX28" fmla="*/ 7943 w 10000"/>
                <a:gd name="connsiteY28" fmla="*/ 21 h 10000"/>
                <a:gd name="connsiteX29" fmla="*/ 7526 w 10000"/>
                <a:gd name="connsiteY29" fmla="*/ 0 h 10000"/>
                <a:gd name="connsiteX30" fmla="*/ 7172 w 10000"/>
                <a:gd name="connsiteY30" fmla="*/ 21 h 10000"/>
                <a:gd name="connsiteX31" fmla="*/ 3458 w 10000"/>
                <a:gd name="connsiteY31" fmla="*/ 1989 h 10000"/>
                <a:gd name="connsiteX32" fmla="*/ 3003 w 10000"/>
                <a:gd name="connsiteY32" fmla="*/ 2540 h 10000"/>
                <a:gd name="connsiteX33" fmla="*/ 2570 w 10000"/>
                <a:gd name="connsiteY33" fmla="*/ 3116 h 10000"/>
                <a:gd name="connsiteX34" fmla="*/ 2155 w 10000"/>
                <a:gd name="connsiteY34" fmla="*/ 3730 h 10000"/>
                <a:gd name="connsiteX35" fmla="*/ 1757 w 10000"/>
                <a:gd name="connsiteY35" fmla="*/ 4386 h 10000"/>
                <a:gd name="connsiteX36" fmla="*/ 1384 w 10000"/>
                <a:gd name="connsiteY36" fmla="*/ 5062 h 10000"/>
                <a:gd name="connsiteX37" fmla="*/ 1028 w 10000"/>
                <a:gd name="connsiteY37" fmla="*/ 5737 h 10000"/>
                <a:gd name="connsiteX38" fmla="*/ 674 w 10000"/>
                <a:gd name="connsiteY38" fmla="*/ 6455 h 10000"/>
                <a:gd name="connsiteX39" fmla="*/ 0 w 10000"/>
                <a:gd name="connsiteY3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843 w 10000"/>
                <a:gd name="connsiteY13" fmla="*/ 410 h 10000"/>
                <a:gd name="connsiteX14" fmla="*/ 8157 w 10000"/>
                <a:gd name="connsiteY14" fmla="*/ 492 h 10000"/>
                <a:gd name="connsiteX15" fmla="*/ 8437 w 10000"/>
                <a:gd name="connsiteY15" fmla="*/ 634 h 10000"/>
                <a:gd name="connsiteX16" fmla="*/ 8734 w 10000"/>
                <a:gd name="connsiteY16" fmla="*/ 780 h 10000"/>
                <a:gd name="connsiteX17" fmla="*/ 8989 w 10000"/>
                <a:gd name="connsiteY17" fmla="*/ 985 h 10000"/>
                <a:gd name="connsiteX18" fmla="*/ 9267 w 10000"/>
                <a:gd name="connsiteY18" fmla="*/ 1250 h 10000"/>
                <a:gd name="connsiteX19" fmla="*/ 9505 w 10000"/>
                <a:gd name="connsiteY19" fmla="*/ 1536 h 10000"/>
                <a:gd name="connsiteX20" fmla="*/ 9781 w 10000"/>
                <a:gd name="connsiteY20" fmla="*/ 1864 h 10000"/>
                <a:gd name="connsiteX21" fmla="*/ 10000 w 10000"/>
                <a:gd name="connsiteY21" fmla="*/ 2213 h 10000"/>
                <a:gd name="connsiteX22" fmla="*/ 9838 w 10000"/>
                <a:gd name="connsiteY22" fmla="*/ 656 h 10000"/>
                <a:gd name="connsiteX23" fmla="*/ 9484 w 10000"/>
                <a:gd name="connsiteY23" fmla="*/ 470 h 10000"/>
                <a:gd name="connsiteX24" fmla="*/ 9129 w 10000"/>
                <a:gd name="connsiteY24" fmla="*/ 307 h 10000"/>
                <a:gd name="connsiteX25" fmla="*/ 8754 w 10000"/>
                <a:gd name="connsiteY25" fmla="*/ 184 h 10000"/>
                <a:gd name="connsiteX26" fmla="*/ 8356 w 10000"/>
                <a:gd name="connsiteY26" fmla="*/ 101 h 10000"/>
                <a:gd name="connsiteX27" fmla="*/ 7943 w 10000"/>
                <a:gd name="connsiteY27" fmla="*/ 21 h 10000"/>
                <a:gd name="connsiteX28" fmla="*/ 7526 w 10000"/>
                <a:gd name="connsiteY28" fmla="*/ 0 h 10000"/>
                <a:gd name="connsiteX29" fmla="*/ 7172 w 10000"/>
                <a:gd name="connsiteY29" fmla="*/ 21 h 10000"/>
                <a:gd name="connsiteX30" fmla="*/ 3458 w 10000"/>
                <a:gd name="connsiteY30" fmla="*/ 1989 h 10000"/>
                <a:gd name="connsiteX31" fmla="*/ 3003 w 10000"/>
                <a:gd name="connsiteY31" fmla="*/ 2540 h 10000"/>
                <a:gd name="connsiteX32" fmla="*/ 2570 w 10000"/>
                <a:gd name="connsiteY32" fmla="*/ 3116 h 10000"/>
                <a:gd name="connsiteX33" fmla="*/ 2155 w 10000"/>
                <a:gd name="connsiteY33" fmla="*/ 3730 h 10000"/>
                <a:gd name="connsiteX34" fmla="*/ 1757 w 10000"/>
                <a:gd name="connsiteY34" fmla="*/ 4386 h 10000"/>
                <a:gd name="connsiteX35" fmla="*/ 1384 w 10000"/>
                <a:gd name="connsiteY35" fmla="*/ 5062 h 10000"/>
                <a:gd name="connsiteX36" fmla="*/ 1028 w 10000"/>
                <a:gd name="connsiteY36" fmla="*/ 5737 h 10000"/>
                <a:gd name="connsiteX37" fmla="*/ 674 w 10000"/>
                <a:gd name="connsiteY37" fmla="*/ 6455 h 10000"/>
                <a:gd name="connsiteX38" fmla="*/ 0 w 10000"/>
                <a:gd name="connsiteY3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7172 w 10000"/>
                <a:gd name="connsiteY28" fmla="*/ 21 h 10000"/>
                <a:gd name="connsiteX29" fmla="*/ 3458 w 10000"/>
                <a:gd name="connsiteY29" fmla="*/ 1989 h 10000"/>
                <a:gd name="connsiteX30" fmla="*/ 3003 w 10000"/>
                <a:gd name="connsiteY30" fmla="*/ 2540 h 10000"/>
                <a:gd name="connsiteX31" fmla="*/ 2570 w 10000"/>
                <a:gd name="connsiteY31" fmla="*/ 3116 h 10000"/>
                <a:gd name="connsiteX32" fmla="*/ 2155 w 10000"/>
                <a:gd name="connsiteY32" fmla="*/ 3730 h 10000"/>
                <a:gd name="connsiteX33" fmla="*/ 1757 w 10000"/>
                <a:gd name="connsiteY33" fmla="*/ 4386 h 10000"/>
                <a:gd name="connsiteX34" fmla="*/ 1384 w 10000"/>
                <a:gd name="connsiteY34" fmla="*/ 5062 h 10000"/>
                <a:gd name="connsiteX35" fmla="*/ 1028 w 10000"/>
                <a:gd name="connsiteY35" fmla="*/ 5737 h 10000"/>
                <a:gd name="connsiteX36" fmla="*/ 674 w 10000"/>
                <a:gd name="connsiteY36" fmla="*/ 6455 h 10000"/>
                <a:gd name="connsiteX37" fmla="*/ 0 w 10000"/>
                <a:gd name="connsiteY3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3458 w 10000"/>
                <a:gd name="connsiteY28" fmla="*/ 1989 h 10000"/>
                <a:gd name="connsiteX29" fmla="*/ 3003 w 10000"/>
                <a:gd name="connsiteY29" fmla="*/ 2540 h 10000"/>
                <a:gd name="connsiteX30" fmla="*/ 2570 w 10000"/>
                <a:gd name="connsiteY30" fmla="*/ 3116 h 10000"/>
                <a:gd name="connsiteX31" fmla="*/ 2155 w 10000"/>
                <a:gd name="connsiteY31" fmla="*/ 3730 h 10000"/>
                <a:gd name="connsiteX32" fmla="*/ 1757 w 10000"/>
                <a:gd name="connsiteY32" fmla="*/ 4386 h 10000"/>
                <a:gd name="connsiteX33" fmla="*/ 1384 w 10000"/>
                <a:gd name="connsiteY33" fmla="*/ 5062 h 10000"/>
                <a:gd name="connsiteX34" fmla="*/ 1028 w 10000"/>
                <a:gd name="connsiteY34" fmla="*/ 5737 h 10000"/>
                <a:gd name="connsiteX35" fmla="*/ 674 w 10000"/>
                <a:gd name="connsiteY35" fmla="*/ 6455 h 10000"/>
                <a:gd name="connsiteX36" fmla="*/ 0 w 10000"/>
                <a:gd name="connsiteY3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269 w 10000"/>
                <a:gd name="connsiteY10" fmla="*/ 388 h 10000"/>
                <a:gd name="connsiteX11" fmla="*/ 7843 w 10000"/>
                <a:gd name="connsiteY11" fmla="*/ 410 h 10000"/>
                <a:gd name="connsiteX12" fmla="*/ 8157 w 10000"/>
                <a:gd name="connsiteY12" fmla="*/ 492 h 10000"/>
                <a:gd name="connsiteX13" fmla="*/ 8437 w 10000"/>
                <a:gd name="connsiteY13" fmla="*/ 634 h 10000"/>
                <a:gd name="connsiteX14" fmla="*/ 8734 w 10000"/>
                <a:gd name="connsiteY14" fmla="*/ 780 h 10000"/>
                <a:gd name="connsiteX15" fmla="*/ 8989 w 10000"/>
                <a:gd name="connsiteY15" fmla="*/ 985 h 10000"/>
                <a:gd name="connsiteX16" fmla="*/ 9267 w 10000"/>
                <a:gd name="connsiteY16" fmla="*/ 1250 h 10000"/>
                <a:gd name="connsiteX17" fmla="*/ 9505 w 10000"/>
                <a:gd name="connsiteY17" fmla="*/ 1536 h 10000"/>
                <a:gd name="connsiteX18" fmla="*/ 9781 w 10000"/>
                <a:gd name="connsiteY18" fmla="*/ 1864 h 10000"/>
                <a:gd name="connsiteX19" fmla="*/ 10000 w 10000"/>
                <a:gd name="connsiteY19" fmla="*/ 2213 h 10000"/>
                <a:gd name="connsiteX20" fmla="*/ 9838 w 10000"/>
                <a:gd name="connsiteY20" fmla="*/ 656 h 10000"/>
                <a:gd name="connsiteX21" fmla="*/ 9484 w 10000"/>
                <a:gd name="connsiteY21" fmla="*/ 470 h 10000"/>
                <a:gd name="connsiteX22" fmla="*/ 9129 w 10000"/>
                <a:gd name="connsiteY22" fmla="*/ 307 h 10000"/>
                <a:gd name="connsiteX23" fmla="*/ 8754 w 10000"/>
                <a:gd name="connsiteY23" fmla="*/ 184 h 10000"/>
                <a:gd name="connsiteX24" fmla="*/ 8356 w 10000"/>
                <a:gd name="connsiteY24" fmla="*/ 101 h 10000"/>
                <a:gd name="connsiteX25" fmla="*/ 7943 w 10000"/>
                <a:gd name="connsiteY25" fmla="*/ 21 h 10000"/>
                <a:gd name="connsiteX26" fmla="*/ 7526 w 10000"/>
                <a:gd name="connsiteY26" fmla="*/ 0 h 10000"/>
                <a:gd name="connsiteX27" fmla="*/ 3458 w 10000"/>
                <a:gd name="connsiteY27" fmla="*/ 1989 h 10000"/>
                <a:gd name="connsiteX28" fmla="*/ 3003 w 10000"/>
                <a:gd name="connsiteY28" fmla="*/ 2540 h 10000"/>
                <a:gd name="connsiteX29" fmla="*/ 2570 w 10000"/>
                <a:gd name="connsiteY29" fmla="*/ 3116 h 10000"/>
                <a:gd name="connsiteX30" fmla="*/ 2155 w 10000"/>
                <a:gd name="connsiteY30" fmla="*/ 3730 h 10000"/>
                <a:gd name="connsiteX31" fmla="*/ 1757 w 10000"/>
                <a:gd name="connsiteY31" fmla="*/ 4386 h 10000"/>
                <a:gd name="connsiteX32" fmla="*/ 1384 w 10000"/>
                <a:gd name="connsiteY32" fmla="*/ 5062 h 10000"/>
                <a:gd name="connsiteX33" fmla="*/ 1028 w 10000"/>
                <a:gd name="connsiteY33" fmla="*/ 5737 h 10000"/>
                <a:gd name="connsiteX34" fmla="*/ 674 w 10000"/>
                <a:gd name="connsiteY34" fmla="*/ 6455 h 10000"/>
                <a:gd name="connsiteX35" fmla="*/ 0 w 10000"/>
                <a:gd name="connsiteY3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843 w 10000"/>
                <a:gd name="connsiteY10" fmla="*/ 410 h 10000"/>
                <a:gd name="connsiteX11" fmla="*/ 8157 w 10000"/>
                <a:gd name="connsiteY11" fmla="*/ 492 h 10000"/>
                <a:gd name="connsiteX12" fmla="*/ 8437 w 10000"/>
                <a:gd name="connsiteY12" fmla="*/ 634 h 10000"/>
                <a:gd name="connsiteX13" fmla="*/ 8734 w 10000"/>
                <a:gd name="connsiteY13" fmla="*/ 780 h 10000"/>
                <a:gd name="connsiteX14" fmla="*/ 8989 w 10000"/>
                <a:gd name="connsiteY14" fmla="*/ 985 h 10000"/>
                <a:gd name="connsiteX15" fmla="*/ 9267 w 10000"/>
                <a:gd name="connsiteY15" fmla="*/ 1250 h 10000"/>
                <a:gd name="connsiteX16" fmla="*/ 9505 w 10000"/>
                <a:gd name="connsiteY16" fmla="*/ 1536 h 10000"/>
                <a:gd name="connsiteX17" fmla="*/ 9781 w 10000"/>
                <a:gd name="connsiteY17" fmla="*/ 1864 h 10000"/>
                <a:gd name="connsiteX18" fmla="*/ 10000 w 10000"/>
                <a:gd name="connsiteY18" fmla="*/ 2213 h 10000"/>
                <a:gd name="connsiteX19" fmla="*/ 9838 w 10000"/>
                <a:gd name="connsiteY19" fmla="*/ 656 h 10000"/>
                <a:gd name="connsiteX20" fmla="*/ 9484 w 10000"/>
                <a:gd name="connsiteY20" fmla="*/ 470 h 10000"/>
                <a:gd name="connsiteX21" fmla="*/ 9129 w 10000"/>
                <a:gd name="connsiteY21" fmla="*/ 307 h 10000"/>
                <a:gd name="connsiteX22" fmla="*/ 8754 w 10000"/>
                <a:gd name="connsiteY22" fmla="*/ 184 h 10000"/>
                <a:gd name="connsiteX23" fmla="*/ 8356 w 10000"/>
                <a:gd name="connsiteY23" fmla="*/ 101 h 10000"/>
                <a:gd name="connsiteX24" fmla="*/ 7943 w 10000"/>
                <a:gd name="connsiteY24" fmla="*/ 21 h 10000"/>
                <a:gd name="connsiteX25" fmla="*/ 7526 w 10000"/>
                <a:gd name="connsiteY25" fmla="*/ 0 h 10000"/>
                <a:gd name="connsiteX26" fmla="*/ 3458 w 10000"/>
                <a:gd name="connsiteY26" fmla="*/ 1989 h 10000"/>
                <a:gd name="connsiteX27" fmla="*/ 3003 w 10000"/>
                <a:gd name="connsiteY27" fmla="*/ 2540 h 10000"/>
                <a:gd name="connsiteX28" fmla="*/ 2570 w 10000"/>
                <a:gd name="connsiteY28" fmla="*/ 3116 h 10000"/>
                <a:gd name="connsiteX29" fmla="*/ 2155 w 10000"/>
                <a:gd name="connsiteY29" fmla="*/ 3730 h 10000"/>
                <a:gd name="connsiteX30" fmla="*/ 1757 w 10000"/>
                <a:gd name="connsiteY30" fmla="*/ 4386 h 10000"/>
                <a:gd name="connsiteX31" fmla="*/ 1384 w 10000"/>
                <a:gd name="connsiteY31" fmla="*/ 5062 h 10000"/>
                <a:gd name="connsiteX32" fmla="*/ 1028 w 10000"/>
                <a:gd name="connsiteY32" fmla="*/ 5737 h 10000"/>
                <a:gd name="connsiteX33" fmla="*/ 674 w 10000"/>
                <a:gd name="connsiteY33" fmla="*/ 6455 h 10000"/>
                <a:gd name="connsiteX34" fmla="*/ 0 w 10000"/>
                <a:gd name="connsiteY34" fmla="*/ 7890 h 10000"/>
                <a:gd name="connsiteX0" fmla="*/ 0 w 10000"/>
                <a:gd name="connsiteY0" fmla="*/ 7869 h 9979"/>
                <a:gd name="connsiteX1" fmla="*/ 0 w 10000"/>
                <a:gd name="connsiteY1" fmla="*/ 7869 h 9979"/>
                <a:gd name="connsiteX2" fmla="*/ 495 w 10000"/>
                <a:gd name="connsiteY2" fmla="*/ 8934 h 9979"/>
                <a:gd name="connsiteX3" fmla="*/ 948 w 10000"/>
                <a:gd name="connsiteY3" fmla="*/ 9979 h 9979"/>
                <a:gd name="connsiteX4" fmla="*/ 1403 w 10000"/>
                <a:gd name="connsiteY4" fmla="*/ 9201 h 9979"/>
                <a:gd name="connsiteX5" fmla="*/ 1816 w 10000"/>
                <a:gd name="connsiteY5" fmla="*/ 8382 h 9979"/>
                <a:gd name="connsiteX6" fmla="*/ 2253 w 10000"/>
                <a:gd name="connsiteY6" fmla="*/ 7581 h 9979"/>
                <a:gd name="connsiteX7" fmla="*/ 2626 w 10000"/>
                <a:gd name="connsiteY7" fmla="*/ 6761 h 9979"/>
                <a:gd name="connsiteX8" fmla="*/ 3380 w 10000"/>
                <a:gd name="connsiteY8" fmla="*/ 5144 h 9979"/>
                <a:gd name="connsiteX9" fmla="*/ 3756 w 10000"/>
                <a:gd name="connsiteY9" fmla="*/ 4365 h 9979"/>
                <a:gd name="connsiteX10" fmla="*/ 7843 w 10000"/>
                <a:gd name="connsiteY10" fmla="*/ 389 h 9979"/>
                <a:gd name="connsiteX11" fmla="*/ 8157 w 10000"/>
                <a:gd name="connsiteY11" fmla="*/ 471 h 9979"/>
                <a:gd name="connsiteX12" fmla="*/ 8437 w 10000"/>
                <a:gd name="connsiteY12" fmla="*/ 613 h 9979"/>
                <a:gd name="connsiteX13" fmla="*/ 8734 w 10000"/>
                <a:gd name="connsiteY13" fmla="*/ 759 h 9979"/>
                <a:gd name="connsiteX14" fmla="*/ 8989 w 10000"/>
                <a:gd name="connsiteY14" fmla="*/ 964 h 9979"/>
                <a:gd name="connsiteX15" fmla="*/ 9267 w 10000"/>
                <a:gd name="connsiteY15" fmla="*/ 1229 h 9979"/>
                <a:gd name="connsiteX16" fmla="*/ 9505 w 10000"/>
                <a:gd name="connsiteY16" fmla="*/ 1515 h 9979"/>
                <a:gd name="connsiteX17" fmla="*/ 9781 w 10000"/>
                <a:gd name="connsiteY17" fmla="*/ 1843 h 9979"/>
                <a:gd name="connsiteX18" fmla="*/ 10000 w 10000"/>
                <a:gd name="connsiteY18" fmla="*/ 2192 h 9979"/>
                <a:gd name="connsiteX19" fmla="*/ 9838 w 10000"/>
                <a:gd name="connsiteY19" fmla="*/ 635 h 9979"/>
                <a:gd name="connsiteX20" fmla="*/ 9484 w 10000"/>
                <a:gd name="connsiteY20" fmla="*/ 449 h 9979"/>
                <a:gd name="connsiteX21" fmla="*/ 9129 w 10000"/>
                <a:gd name="connsiteY21" fmla="*/ 286 h 9979"/>
                <a:gd name="connsiteX22" fmla="*/ 8754 w 10000"/>
                <a:gd name="connsiteY22" fmla="*/ 163 h 9979"/>
                <a:gd name="connsiteX23" fmla="*/ 8356 w 10000"/>
                <a:gd name="connsiteY23" fmla="*/ 80 h 9979"/>
                <a:gd name="connsiteX24" fmla="*/ 7943 w 10000"/>
                <a:gd name="connsiteY24" fmla="*/ 0 h 9979"/>
                <a:gd name="connsiteX25" fmla="*/ 3458 w 10000"/>
                <a:gd name="connsiteY25" fmla="*/ 1968 h 9979"/>
                <a:gd name="connsiteX26" fmla="*/ 3003 w 10000"/>
                <a:gd name="connsiteY26" fmla="*/ 2519 h 9979"/>
                <a:gd name="connsiteX27" fmla="*/ 2570 w 10000"/>
                <a:gd name="connsiteY27" fmla="*/ 3095 h 9979"/>
                <a:gd name="connsiteX28" fmla="*/ 2155 w 10000"/>
                <a:gd name="connsiteY28" fmla="*/ 3709 h 9979"/>
                <a:gd name="connsiteX29" fmla="*/ 1757 w 10000"/>
                <a:gd name="connsiteY29" fmla="*/ 4365 h 9979"/>
                <a:gd name="connsiteX30" fmla="*/ 1384 w 10000"/>
                <a:gd name="connsiteY30" fmla="*/ 5041 h 9979"/>
                <a:gd name="connsiteX31" fmla="*/ 1028 w 10000"/>
                <a:gd name="connsiteY31" fmla="*/ 5716 h 9979"/>
                <a:gd name="connsiteX32" fmla="*/ 674 w 10000"/>
                <a:gd name="connsiteY32" fmla="*/ 6434 h 9979"/>
                <a:gd name="connsiteX33" fmla="*/ 0 w 10000"/>
                <a:gd name="connsiteY33" fmla="*/ 7869 h 9979"/>
                <a:gd name="connsiteX0" fmla="*/ 0 w 10000"/>
                <a:gd name="connsiteY0" fmla="*/ 7806 h 9920"/>
                <a:gd name="connsiteX1" fmla="*/ 0 w 10000"/>
                <a:gd name="connsiteY1" fmla="*/ 7806 h 9920"/>
                <a:gd name="connsiteX2" fmla="*/ 495 w 10000"/>
                <a:gd name="connsiteY2" fmla="*/ 8873 h 9920"/>
                <a:gd name="connsiteX3" fmla="*/ 948 w 10000"/>
                <a:gd name="connsiteY3" fmla="*/ 9920 h 9920"/>
                <a:gd name="connsiteX4" fmla="*/ 1403 w 10000"/>
                <a:gd name="connsiteY4" fmla="*/ 9140 h 9920"/>
                <a:gd name="connsiteX5" fmla="*/ 1816 w 10000"/>
                <a:gd name="connsiteY5" fmla="*/ 8320 h 9920"/>
                <a:gd name="connsiteX6" fmla="*/ 2253 w 10000"/>
                <a:gd name="connsiteY6" fmla="*/ 7517 h 9920"/>
                <a:gd name="connsiteX7" fmla="*/ 2626 w 10000"/>
                <a:gd name="connsiteY7" fmla="*/ 6695 h 9920"/>
                <a:gd name="connsiteX8" fmla="*/ 3380 w 10000"/>
                <a:gd name="connsiteY8" fmla="*/ 5075 h 9920"/>
                <a:gd name="connsiteX9" fmla="*/ 3756 w 10000"/>
                <a:gd name="connsiteY9" fmla="*/ 4294 h 9920"/>
                <a:gd name="connsiteX10" fmla="*/ 7843 w 10000"/>
                <a:gd name="connsiteY10" fmla="*/ 310 h 9920"/>
                <a:gd name="connsiteX11" fmla="*/ 8157 w 10000"/>
                <a:gd name="connsiteY11" fmla="*/ 392 h 9920"/>
                <a:gd name="connsiteX12" fmla="*/ 8437 w 10000"/>
                <a:gd name="connsiteY12" fmla="*/ 534 h 9920"/>
                <a:gd name="connsiteX13" fmla="*/ 8734 w 10000"/>
                <a:gd name="connsiteY13" fmla="*/ 681 h 9920"/>
                <a:gd name="connsiteX14" fmla="*/ 8989 w 10000"/>
                <a:gd name="connsiteY14" fmla="*/ 886 h 9920"/>
                <a:gd name="connsiteX15" fmla="*/ 9267 w 10000"/>
                <a:gd name="connsiteY15" fmla="*/ 1152 h 9920"/>
                <a:gd name="connsiteX16" fmla="*/ 9505 w 10000"/>
                <a:gd name="connsiteY16" fmla="*/ 1438 h 9920"/>
                <a:gd name="connsiteX17" fmla="*/ 9781 w 10000"/>
                <a:gd name="connsiteY17" fmla="*/ 1767 h 9920"/>
                <a:gd name="connsiteX18" fmla="*/ 10000 w 10000"/>
                <a:gd name="connsiteY18" fmla="*/ 2117 h 9920"/>
                <a:gd name="connsiteX19" fmla="*/ 9838 w 10000"/>
                <a:gd name="connsiteY19" fmla="*/ 556 h 9920"/>
                <a:gd name="connsiteX20" fmla="*/ 9484 w 10000"/>
                <a:gd name="connsiteY20" fmla="*/ 370 h 9920"/>
                <a:gd name="connsiteX21" fmla="*/ 9129 w 10000"/>
                <a:gd name="connsiteY21" fmla="*/ 207 h 9920"/>
                <a:gd name="connsiteX22" fmla="*/ 8754 w 10000"/>
                <a:gd name="connsiteY22" fmla="*/ 83 h 9920"/>
                <a:gd name="connsiteX23" fmla="*/ 8356 w 10000"/>
                <a:gd name="connsiteY23" fmla="*/ 0 h 9920"/>
                <a:gd name="connsiteX24" fmla="*/ 3458 w 10000"/>
                <a:gd name="connsiteY24" fmla="*/ 1892 h 9920"/>
                <a:gd name="connsiteX25" fmla="*/ 3003 w 10000"/>
                <a:gd name="connsiteY25" fmla="*/ 2444 h 9920"/>
                <a:gd name="connsiteX26" fmla="*/ 2570 w 10000"/>
                <a:gd name="connsiteY26" fmla="*/ 3022 h 9920"/>
                <a:gd name="connsiteX27" fmla="*/ 2155 w 10000"/>
                <a:gd name="connsiteY27" fmla="*/ 3637 h 9920"/>
                <a:gd name="connsiteX28" fmla="*/ 1757 w 10000"/>
                <a:gd name="connsiteY28" fmla="*/ 4294 h 9920"/>
                <a:gd name="connsiteX29" fmla="*/ 1384 w 10000"/>
                <a:gd name="connsiteY29" fmla="*/ 4972 h 9920"/>
                <a:gd name="connsiteX30" fmla="*/ 1028 w 10000"/>
                <a:gd name="connsiteY30" fmla="*/ 5648 h 9920"/>
                <a:gd name="connsiteX31" fmla="*/ 674 w 10000"/>
                <a:gd name="connsiteY31" fmla="*/ 6368 h 9920"/>
                <a:gd name="connsiteX32" fmla="*/ 0 w 10000"/>
                <a:gd name="connsiteY32" fmla="*/ 7806 h 992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437 w 10000"/>
                <a:gd name="connsiteY11" fmla="*/ 538 h 10000"/>
                <a:gd name="connsiteX12" fmla="*/ 8734 w 10000"/>
                <a:gd name="connsiteY12" fmla="*/ 686 h 10000"/>
                <a:gd name="connsiteX13" fmla="*/ 8989 w 10000"/>
                <a:gd name="connsiteY13" fmla="*/ 893 h 10000"/>
                <a:gd name="connsiteX14" fmla="*/ 9267 w 10000"/>
                <a:gd name="connsiteY14" fmla="*/ 1161 h 10000"/>
                <a:gd name="connsiteX15" fmla="*/ 9505 w 10000"/>
                <a:gd name="connsiteY15" fmla="*/ 1450 h 10000"/>
                <a:gd name="connsiteX16" fmla="*/ 9781 w 10000"/>
                <a:gd name="connsiteY16" fmla="*/ 1781 h 10000"/>
                <a:gd name="connsiteX17" fmla="*/ 10000 w 10000"/>
                <a:gd name="connsiteY17" fmla="*/ 2134 h 10000"/>
                <a:gd name="connsiteX18" fmla="*/ 9838 w 10000"/>
                <a:gd name="connsiteY18" fmla="*/ 560 h 10000"/>
                <a:gd name="connsiteX19" fmla="*/ 9484 w 10000"/>
                <a:gd name="connsiteY19" fmla="*/ 373 h 10000"/>
                <a:gd name="connsiteX20" fmla="*/ 9129 w 10000"/>
                <a:gd name="connsiteY20" fmla="*/ 209 h 10000"/>
                <a:gd name="connsiteX21" fmla="*/ 8754 w 10000"/>
                <a:gd name="connsiteY21" fmla="*/ 84 h 10000"/>
                <a:gd name="connsiteX22" fmla="*/ 8356 w 10000"/>
                <a:gd name="connsiteY22" fmla="*/ 0 h 10000"/>
                <a:gd name="connsiteX23" fmla="*/ 3458 w 10000"/>
                <a:gd name="connsiteY23" fmla="*/ 1907 h 10000"/>
                <a:gd name="connsiteX24" fmla="*/ 3003 w 10000"/>
                <a:gd name="connsiteY24" fmla="*/ 2464 h 10000"/>
                <a:gd name="connsiteX25" fmla="*/ 2570 w 10000"/>
                <a:gd name="connsiteY25" fmla="*/ 3046 h 10000"/>
                <a:gd name="connsiteX26" fmla="*/ 2155 w 10000"/>
                <a:gd name="connsiteY26" fmla="*/ 3666 h 10000"/>
                <a:gd name="connsiteX27" fmla="*/ 1757 w 10000"/>
                <a:gd name="connsiteY27" fmla="*/ 4329 h 10000"/>
                <a:gd name="connsiteX28" fmla="*/ 1384 w 10000"/>
                <a:gd name="connsiteY28" fmla="*/ 5012 h 10000"/>
                <a:gd name="connsiteX29" fmla="*/ 1028 w 10000"/>
                <a:gd name="connsiteY29" fmla="*/ 5694 h 10000"/>
                <a:gd name="connsiteX30" fmla="*/ 674 w 10000"/>
                <a:gd name="connsiteY30" fmla="*/ 6419 h 10000"/>
                <a:gd name="connsiteX31" fmla="*/ 0 w 10000"/>
                <a:gd name="connsiteY31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734 w 10000"/>
                <a:gd name="connsiteY11" fmla="*/ 686 h 10000"/>
                <a:gd name="connsiteX12" fmla="*/ 8989 w 10000"/>
                <a:gd name="connsiteY12" fmla="*/ 893 h 10000"/>
                <a:gd name="connsiteX13" fmla="*/ 9267 w 10000"/>
                <a:gd name="connsiteY13" fmla="*/ 1161 h 10000"/>
                <a:gd name="connsiteX14" fmla="*/ 9505 w 10000"/>
                <a:gd name="connsiteY14" fmla="*/ 1450 h 10000"/>
                <a:gd name="connsiteX15" fmla="*/ 9781 w 10000"/>
                <a:gd name="connsiteY15" fmla="*/ 1781 h 10000"/>
                <a:gd name="connsiteX16" fmla="*/ 10000 w 10000"/>
                <a:gd name="connsiteY16" fmla="*/ 2134 h 10000"/>
                <a:gd name="connsiteX17" fmla="*/ 9838 w 10000"/>
                <a:gd name="connsiteY17" fmla="*/ 560 h 10000"/>
                <a:gd name="connsiteX18" fmla="*/ 9484 w 10000"/>
                <a:gd name="connsiteY18" fmla="*/ 373 h 10000"/>
                <a:gd name="connsiteX19" fmla="*/ 9129 w 10000"/>
                <a:gd name="connsiteY19" fmla="*/ 209 h 10000"/>
                <a:gd name="connsiteX20" fmla="*/ 8754 w 10000"/>
                <a:gd name="connsiteY20" fmla="*/ 84 h 10000"/>
                <a:gd name="connsiteX21" fmla="*/ 8356 w 10000"/>
                <a:gd name="connsiteY21" fmla="*/ 0 h 10000"/>
                <a:gd name="connsiteX22" fmla="*/ 3458 w 10000"/>
                <a:gd name="connsiteY22" fmla="*/ 1907 h 10000"/>
                <a:gd name="connsiteX23" fmla="*/ 3003 w 10000"/>
                <a:gd name="connsiteY23" fmla="*/ 2464 h 10000"/>
                <a:gd name="connsiteX24" fmla="*/ 2570 w 10000"/>
                <a:gd name="connsiteY24" fmla="*/ 3046 h 10000"/>
                <a:gd name="connsiteX25" fmla="*/ 2155 w 10000"/>
                <a:gd name="connsiteY25" fmla="*/ 3666 h 10000"/>
                <a:gd name="connsiteX26" fmla="*/ 1757 w 10000"/>
                <a:gd name="connsiteY26" fmla="*/ 4329 h 10000"/>
                <a:gd name="connsiteX27" fmla="*/ 1384 w 10000"/>
                <a:gd name="connsiteY27" fmla="*/ 5012 h 10000"/>
                <a:gd name="connsiteX28" fmla="*/ 1028 w 10000"/>
                <a:gd name="connsiteY28" fmla="*/ 5694 h 10000"/>
                <a:gd name="connsiteX29" fmla="*/ 674 w 10000"/>
                <a:gd name="connsiteY29" fmla="*/ 6419 h 10000"/>
                <a:gd name="connsiteX30" fmla="*/ 0 w 10000"/>
                <a:gd name="connsiteY30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734 w 10000"/>
                <a:gd name="connsiteY10" fmla="*/ 686 h 10000"/>
                <a:gd name="connsiteX11" fmla="*/ 8989 w 10000"/>
                <a:gd name="connsiteY11" fmla="*/ 893 h 10000"/>
                <a:gd name="connsiteX12" fmla="*/ 9267 w 10000"/>
                <a:gd name="connsiteY12" fmla="*/ 1161 h 10000"/>
                <a:gd name="connsiteX13" fmla="*/ 9505 w 10000"/>
                <a:gd name="connsiteY13" fmla="*/ 1450 h 10000"/>
                <a:gd name="connsiteX14" fmla="*/ 9781 w 10000"/>
                <a:gd name="connsiteY14" fmla="*/ 1781 h 10000"/>
                <a:gd name="connsiteX15" fmla="*/ 10000 w 10000"/>
                <a:gd name="connsiteY15" fmla="*/ 2134 h 10000"/>
                <a:gd name="connsiteX16" fmla="*/ 9838 w 10000"/>
                <a:gd name="connsiteY16" fmla="*/ 560 h 10000"/>
                <a:gd name="connsiteX17" fmla="*/ 9484 w 10000"/>
                <a:gd name="connsiteY17" fmla="*/ 373 h 10000"/>
                <a:gd name="connsiteX18" fmla="*/ 9129 w 10000"/>
                <a:gd name="connsiteY18" fmla="*/ 209 h 10000"/>
                <a:gd name="connsiteX19" fmla="*/ 8754 w 10000"/>
                <a:gd name="connsiteY19" fmla="*/ 84 h 10000"/>
                <a:gd name="connsiteX20" fmla="*/ 8356 w 10000"/>
                <a:gd name="connsiteY20" fmla="*/ 0 h 10000"/>
                <a:gd name="connsiteX21" fmla="*/ 3458 w 10000"/>
                <a:gd name="connsiteY21" fmla="*/ 1907 h 10000"/>
                <a:gd name="connsiteX22" fmla="*/ 3003 w 10000"/>
                <a:gd name="connsiteY22" fmla="*/ 2464 h 10000"/>
                <a:gd name="connsiteX23" fmla="*/ 2570 w 10000"/>
                <a:gd name="connsiteY23" fmla="*/ 3046 h 10000"/>
                <a:gd name="connsiteX24" fmla="*/ 2155 w 10000"/>
                <a:gd name="connsiteY24" fmla="*/ 3666 h 10000"/>
                <a:gd name="connsiteX25" fmla="*/ 1757 w 10000"/>
                <a:gd name="connsiteY25" fmla="*/ 4329 h 10000"/>
                <a:gd name="connsiteX26" fmla="*/ 1384 w 10000"/>
                <a:gd name="connsiteY26" fmla="*/ 5012 h 10000"/>
                <a:gd name="connsiteX27" fmla="*/ 1028 w 10000"/>
                <a:gd name="connsiteY27" fmla="*/ 5694 h 10000"/>
                <a:gd name="connsiteX28" fmla="*/ 674 w 10000"/>
                <a:gd name="connsiteY28" fmla="*/ 6419 h 10000"/>
                <a:gd name="connsiteX29" fmla="*/ 0 w 10000"/>
                <a:gd name="connsiteY29" fmla="*/ 7869 h 10000"/>
                <a:gd name="connsiteX0" fmla="*/ 0 w 10000"/>
                <a:gd name="connsiteY0" fmla="*/ 7785 h 9916"/>
                <a:gd name="connsiteX1" fmla="*/ 0 w 10000"/>
                <a:gd name="connsiteY1" fmla="*/ 7785 h 9916"/>
                <a:gd name="connsiteX2" fmla="*/ 495 w 10000"/>
                <a:gd name="connsiteY2" fmla="*/ 8861 h 9916"/>
                <a:gd name="connsiteX3" fmla="*/ 948 w 10000"/>
                <a:gd name="connsiteY3" fmla="*/ 9916 h 9916"/>
                <a:gd name="connsiteX4" fmla="*/ 1403 w 10000"/>
                <a:gd name="connsiteY4" fmla="*/ 9130 h 9916"/>
                <a:gd name="connsiteX5" fmla="*/ 1816 w 10000"/>
                <a:gd name="connsiteY5" fmla="*/ 8303 h 9916"/>
                <a:gd name="connsiteX6" fmla="*/ 2253 w 10000"/>
                <a:gd name="connsiteY6" fmla="*/ 7494 h 9916"/>
                <a:gd name="connsiteX7" fmla="*/ 2626 w 10000"/>
                <a:gd name="connsiteY7" fmla="*/ 6665 h 9916"/>
                <a:gd name="connsiteX8" fmla="*/ 3380 w 10000"/>
                <a:gd name="connsiteY8" fmla="*/ 5032 h 9916"/>
                <a:gd name="connsiteX9" fmla="*/ 3756 w 10000"/>
                <a:gd name="connsiteY9" fmla="*/ 4245 h 9916"/>
                <a:gd name="connsiteX10" fmla="*/ 8734 w 10000"/>
                <a:gd name="connsiteY10" fmla="*/ 602 h 9916"/>
                <a:gd name="connsiteX11" fmla="*/ 8989 w 10000"/>
                <a:gd name="connsiteY11" fmla="*/ 809 h 9916"/>
                <a:gd name="connsiteX12" fmla="*/ 9267 w 10000"/>
                <a:gd name="connsiteY12" fmla="*/ 1077 h 9916"/>
                <a:gd name="connsiteX13" fmla="*/ 9505 w 10000"/>
                <a:gd name="connsiteY13" fmla="*/ 1366 h 9916"/>
                <a:gd name="connsiteX14" fmla="*/ 9781 w 10000"/>
                <a:gd name="connsiteY14" fmla="*/ 1697 h 9916"/>
                <a:gd name="connsiteX15" fmla="*/ 10000 w 10000"/>
                <a:gd name="connsiteY15" fmla="*/ 2050 h 9916"/>
                <a:gd name="connsiteX16" fmla="*/ 9838 w 10000"/>
                <a:gd name="connsiteY16" fmla="*/ 476 h 9916"/>
                <a:gd name="connsiteX17" fmla="*/ 9484 w 10000"/>
                <a:gd name="connsiteY17" fmla="*/ 289 h 9916"/>
                <a:gd name="connsiteX18" fmla="*/ 9129 w 10000"/>
                <a:gd name="connsiteY18" fmla="*/ 125 h 9916"/>
                <a:gd name="connsiteX19" fmla="*/ 8754 w 10000"/>
                <a:gd name="connsiteY19" fmla="*/ 0 h 9916"/>
                <a:gd name="connsiteX20" fmla="*/ 3458 w 10000"/>
                <a:gd name="connsiteY20" fmla="*/ 1823 h 9916"/>
                <a:gd name="connsiteX21" fmla="*/ 3003 w 10000"/>
                <a:gd name="connsiteY21" fmla="*/ 2380 h 9916"/>
                <a:gd name="connsiteX22" fmla="*/ 2570 w 10000"/>
                <a:gd name="connsiteY22" fmla="*/ 2962 h 9916"/>
                <a:gd name="connsiteX23" fmla="*/ 2155 w 10000"/>
                <a:gd name="connsiteY23" fmla="*/ 3582 h 9916"/>
                <a:gd name="connsiteX24" fmla="*/ 1757 w 10000"/>
                <a:gd name="connsiteY24" fmla="*/ 4245 h 9916"/>
                <a:gd name="connsiteX25" fmla="*/ 1384 w 10000"/>
                <a:gd name="connsiteY25" fmla="*/ 4928 h 9916"/>
                <a:gd name="connsiteX26" fmla="*/ 1028 w 10000"/>
                <a:gd name="connsiteY26" fmla="*/ 5610 h 9916"/>
                <a:gd name="connsiteX27" fmla="*/ 674 w 10000"/>
                <a:gd name="connsiteY27" fmla="*/ 6335 h 9916"/>
                <a:gd name="connsiteX28" fmla="*/ 0 w 10000"/>
                <a:gd name="connsiteY28" fmla="*/ 7785 h 9916"/>
                <a:gd name="connsiteX0" fmla="*/ 0 w 10000"/>
                <a:gd name="connsiteY0" fmla="*/ 7725 h 9874"/>
                <a:gd name="connsiteX1" fmla="*/ 0 w 10000"/>
                <a:gd name="connsiteY1" fmla="*/ 7725 h 9874"/>
                <a:gd name="connsiteX2" fmla="*/ 495 w 10000"/>
                <a:gd name="connsiteY2" fmla="*/ 8810 h 9874"/>
                <a:gd name="connsiteX3" fmla="*/ 948 w 10000"/>
                <a:gd name="connsiteY3" fmla="*/ 9874 h 9874"/>
                <a:gd name="connsiteX4" fmla="*/ 1403 w 10000"/>
                <a:gd name="connsiteY4" fmla="*/ 9081 h 9874"/>
                <a:gd name="connsiteX5" fmla="*/ 1816 w 10000"/>
                <a:gd name="connsiteY5" fmla="*/ 8247 h 9874"/>
                <a:gd name="connsiteX6" fmla="*/ 2253 w 10000"/>
                <a:gd name="connsiteY6" fmla="*/ 7431 h 9874"/>
                <a:gd name="connsiteX7" fmla="*/ 2626 w 10000"/>
                <a:gd name="connsiteY7" fmla="*/ 6595 h 9874"/>
                <a:gd name="connsiteX8" fmla="*/ 3380 w 10000"/>
                <a:gd name="connsiteY8" fmla="*/ 4949 h 9874"/>
                <a:gd name="connsiteX9" fmla="*/ 3756 w 10000"/>
                <a:gd name="connsiteY9" fmla="*/ 4155 h 9874"/>
                <a:gd name="connsiteX10" fmla="*/ 8734 w 10000"/>
                <a:gd name="connsiteY10" fmla="*/ 481 h 9874"/>
                <a:gd name="connsiteX11" fmla="*/ 8989 w 10000"/>
                <a:gd name="connsiteY11" fmla="*/ 690 h 9874"/>
                <a:gd name="connsiteX12" fmla="*/ 9267 w 10000"/>
                <a:gd name="connsiteY12" fmla="*/ 960 h 9874"/>
                <a:gd name="connsiteX13" fmla="*/ 9505 w 10000"/>
                <a:gd name="connsiteY13" fmla="*/ 1252 h 9874"/>
                <a:gd name="connsiteX14" fmla="*/ 9781 w 10000"/>
                <a:gd name="connsiteY14" fmla="*/ 1585 h 9874"/>
                <a:gd name="connsiteX15" fmla="*/ 10000 w 10000"/>
                <a:gd name="connsiteY15" fmla="*/ 1941 h 9874"/>
                <a:gd name="connsiteX16" fmla="*/ 9838 w 10000"/>
                <a:gd name="connsiteY16" fmla="*/ 354 h 9874"/>
                <a:gd name="connsiteX17" fmla="*/ 9484 w 10000"/>
                <a:gd name="connsiteY17" fmla="*/ 165 h 9874"/>
                <a:gd name="connsiteX18" fmla="*/ 9129 w 10000"/>
                <a:gd name="connsiteY18" fmla="*/ 0 h 9874"/>
                <a:gd name="connsiteX19" fmla="*/ 3458 w 10000"/>
                <a:gd name="connsiteY19" fmla="*/ 1712 h 9874"/>
                <a:gd name="connsiteX20" fmla="*/ 3003 w 10000"/>
                <a:gd name="connsiteY20" fmla="*/ 2274 h 9874"/>
                <a:gd name="connsiteX21" fmla="*/ 2570 w 10000"/>
                <a:gd name="connsiteY21" fmla="*/ 2861 h 9874"/>
                <a:gd name="connsiteX22" fmla="*/ 2155 w 10000"/>
                <a:gd name="connsiteY22" fmla="*/ 3486 h 9874"/>
                <a:gd name="connsiteX23" fmla="*/ 1757 w 10000"/>
                <a:gd name="connsiteY23" fmla="*/ 4155 h 9874"/>
                <a:gd name="connsiteX24" fmla="*/ 1384 w 10000"/>
                <a:gd name="connsiteY24" fmla="*/ 4844 h 9874"/>
                <a:gd name="connsiteX25" fmla="*/ 1028 w 10000"/>
                <a:gd name="connsiteY25" fmla="*/ 5532 h 9874"/>
                <a:gd name="connsiteX26" fmla="*/ 674 w 10000"/>
                <a:gd name="connsiteY26" fmla="*/ 6263 h 9874"/>
                <a:gd name="connsiteX27" fmla="*/ 0 w 10000"/>
                <a:gd name="connsiteY27" fmla="*/ 7725 h 9874"/>
                <a:gd name="connsiteX0" fmla="*/ 0 w 10000"/>
                <a:gd name="connsiteY0" fmla="*/ 7657 h 9833"/>
                <a:gd name="connsiteX1" fmla="*/ 0 w 10000"/>
                <a:gd name="connsiteY1" fmla="*/ 7657 h 9833"/>
                <a:gd name="connsiteX2" fmla="*/ 495 w 10000"/>
                <a:gd name="connsiteY2" fmla="*/ 8755 h 9833"/>
                <a:gd name="connsiteX3" fmla="*/ 948 w 10000"/>
                <a:gd name="connsiteY3" fmla="*/ 9833 h 9833"/>
                <a:gd name="connsiteX4" fmla="*/ 1403 w 10000"/>
                <a:gd name="connsiteY4" fmla="*/ 9030 h 9833"/>
                <a:gd name="connsiteX5" fmla="*/ 1816 w 10000"/>
                <a:gd name="connsiteY5" fmla="*/ 8185 h 9833"/>
                <a:gd name="connsiteX6" fmla="*/ 2253 w 10000"/>
                <a:gd name="connsiteY6" fmla="*/ 7359 h 9833"/>
                <a:gd name="connsiteX7" fmla="*/ 2626 w 10000"/>
                <a:gd name="connsiteY7" fmla="*/ 6512 h 9833"/>
                <a:gd name="connsiteX8" fmla="*/ 3380 w 10000"/>
                <a:gd name="connsiteY8" fmla="*/ 4845 h 9833"/>
                <a:gd name="connsiteX9" fmla="*/ 3756 w 10000"/>
                <a:gd name="connsiteY9" fmla="*/ 4041 h 9833"/>
                <a:gd name="connsiteX10" fmla="*/ 8734 w 10000"/>
                <a:gd name="connsiteY10" fmla="*/ 320 h 9833"/>
                <a:gd name="connsiteX11" fmla="*/ 8989 w 10000"/>
                <a:gd name="connsiteY11" fmla="*/ 532 h 9833"/>
                <a:gd name="connsiteX12" fmla="*/ 9267 w 10000"/>
                <a:gd name="connsiteY12" fmla="*/ 805 h 9833"/>
                <a:gd name="connsiteX13" fmla="*/ 9505 w 10000"/>
                <a:gd name="connsiteY13" fmla="*/ 1101 h 9833"/>
                <a:gd name="connsiteX14" fmla="*/ 9781 w 10000"/>
                <a:gd name="connsiteY14" fmla="*/ 1438 h 9833"/>
                <a:gd name="connsiteX15" fmla="*/ 10000 w 10000"/>
                <a:gd name="connsiteY15" fmla="*/ 1799 h 9833"/>
                <a:gd name="connsiteX16" fmla="*/ 9838 w 10000"/>
                <a:gd name="connsiteY16" fmla="*/ 192 h 9833"/>
                <a:gd name="connsiteX17" fmla="*/ 9484 w 10000"/>
                <a:gd name="connsiteY17" fmla="*/ 0 h 9833"/>
                <a:gd name="connsiteX18" fmla="*/ 3458 w 10000"/>
                <a:gd name="connsiteY18" fmla="*/ 1567 h 9833"/>
                <a:gd name="connsiteX19" fmla="*/ 3003 w 10000"/>
                <a:gd name="connsiteY19" fmla="*/ 2136 h 9833"/>
                <a:gd name="connsiteX20" fmla="*/ 2570 w 10000"/>
                <a:gd name="connsiteY20" fmla="*/ 2731 h 9833"/>
                <a:gd name="connsiteX21" fmla="*/ 2155 w 10000"/>
                <a:gd name="connsiteY21" fmla="*/ 3363 h 9833"/>
                <a:gd name="connsiteX22" fmla="*/ 1757 w 10000"/>
                <a:gd name="connsiteY22" fmla="*/ 4041 h 9833"/>
                <a:gd name="connsiteX23" fmla="*/ 1384 w 10000"/>
                <a:gd name="connsiteY23" fmla="*/ 4739 h 9833"/>
                <a:gd name="connsiteX24" fmla="*/ 1028 w 10000"/>
                <a:gd name="connsiteY24" fmla="*/ 5436 h 9833"/>
                <a:gd name="connsiteX25" fmla="*/ 674 w 10000"/>
                <a:gd name="connsiteY25" fmla="*/ 6176 h 9833"/>
                <a:gd name="connsiteX26" fmla="*/ 0 w 10000"/>
                <a:gd name="connsiteY26" fmla="*/ 7657 h 9833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8734 w 10000"/>
                <a:gd name="connsiteY10" fmla="*/ 325 h 10000"/>
                <a:gd name="connsiteX11" fmla="*/ 9267 w 10000"/>
                <a:gd name="connsiteY11" fmla="*/ 819 h 10000"/>
                <a:gd name="connsiteX12" fmla="*/ 9505 w 10000"/>
                <a:gd name="connsiteY12" fmla="*/ 1120 h 10000"/>
                <a:gd name="connsiteX13" fmla="*/ 9781 w 10000"/>
                <a:gd name="connsiteY13" fmla="*/ 1462 h 10000"/>
                <a:gd name="connsiteX14" fmla="*/ 10000 w 10000"/>
                <a:gd name="connsiteY14" fmla="*/ 1830 h 10000"/>
                <a:gd name="connsiteX15" fmla="*/ 9838 w 10000"/>
                <a:gd name="connsiteY15" fmla="*/ 195 h 10000"/>
                <a:gd name="connsiteX16" fmla="*/ 9484 w 10000"/>
                <a:gd name="connsiteY16" fmla="*/ 0 h 10000"/>
                <a:gd name="connsiteX17" fmla="*/ 3458 w 10000"/>
                <a:gd name="connsiteY17" fmla="*/ 1594 h 10000"/>
                <a:gd name="connsiteX18" fmla="*/ 3003 w 10000"/>
                <a:gd name="connsiteY18" fmla="*/ 2172 h 10000"/>
                <a:gd name="connsiteX19" fmla="*/ 2570 w 10000"/>
                <a:gd name="connsiteY19" fmla="*/ 2777 h 10000"/>
                <a:gd name="connsiteX20" fmla="*/ 2155 w 10000"/>
                <a:gd name="connsiteY20" fmla="*/ 3420 h 10000"/>
                <a:gd name="connsiteX21" fmla="*/ 1757 w 10000"/>
                <a:gd name="connsiteY21" fmla="*/ 4110 h 10000"/>
                <a:gd name="connsiteX22" fmla="*/ 1384 w 10000"/>
                <a:gd name="connsiteY22" fmla="*/ 4819 h 10000"/>
                <a:gd name="connsiteX23" fmla="*/ 1028 w 10000"/>
                <a:gd name="connsiteY23" fmla="*/ 5528 h 10000"/>
                <a:gd name="connsiteX24" fmla="*/ 674 w 10000"/>
                <a:gd name="connsiteY24" fmla="*/ 6281 h 10000"/>
                <a:gd name="connsiteX25" fmla="*/ 0 w 10000"/>
                <a:gd name="connsiteY25" fmla="*/ 7787 h 10000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9267 w 10000"/>
                <a:gd name="connsiteY10" fmla="*/ 819 h 10000"/>
                <a:gd name="connsiteX11" fmla="*/ 9505 w 10000"/>
                <a:gd name="connsiteY11" fmla="*/ 1120 h 10000"/>
                <a:gd name="connsiteX12" fmla="*/ 9781 w 10000"/>
                <a:gd name="connsiteY12" fmla="*/ 1462 h 10000"/>
                <a:gd name="connsiteX13" fmla="*/ 10000 w 10000"/>
                <a:gd name="connsiteY13" fmla="*/ 1830 h 10000"/>
                <a:gd name="connsiteX14" fmla="*/ 9838 w 10000"/>
                <a:gd name="connsiteY14" fmla="*/ 195 h 10000"/>
                <a:gd name="connsiteX15" fmla="*/ 9484 w 10000"/>
                <a:gd name="connsiteY15" fmla="*/ 0 h 10000"/>
                <a:gd name="connsiteX16" fmla="*/ 3458 w 10000"/>
                <a:gd name="connsiteY16" fmla="*/ 1594 h 10000"/>
                <a:gd name="connsiteX17" fmla="*/ 3003 w 10000"/>
                <a:gd name="connsiteY17" fmla="*/ 2172 h 10000"/>
                <a:gd name="connsiteX18" fmla="*/ 2570 w 10000"/>
                <a:gd name="connsiteY18" fmla="*/ 2777 h 10000"/>
                <a:gd name="connsiteX19" fmla="*/ 2155 w 10000"/>
                <a:gd name="connsiteY19" fmla="*/ 3420 h 10000"/>
                <a:gd name="connsiteX20" fmla="*/ 1757 w 10000"/>
                <a:gd name="connsiteY20" fmla="*/ 4110 h 10000"/>
                <a:gd name="connsiteX21" fmla="*/ 1384 w 10000"/>
                <a:gd name="connsiteY21" fmla="*/ 4819 h 10000"/>
                <a:gd name="connsiteX22" fmla="*/ 1028 w 10000"/>
                <a:gd name="connsiteY22" fmla="*/ 5528 h 10000"/>
                <a:gd name="connsiteX23" fmla="*/ 674 w 10000"/>
                <a:gd name="connsiteY23" fmla="*/ 6281 h 10000"/>
                <a:gd name="connsiteX24" fmla="*/ 0 w 10000"/>
                <a:gd name="connsiteY24" fmla="*/ 7787 h 10000"/>
                <a:gd name="connsiteX0" fmla="*/ 0 w 10000"/>
                <a:gd name="connsiteY0" fmla="*/ 7592 h 9805"/>
                <a:gd name="connsiteX1" fmla="*/ 0 w 10000"/>
                <a:gd name="connsiteY1" fmla="*/ 7592 h 9805"/>
                <a:gd name="connsiteX2" fmla="*/ 495 w 10000"/>
                <a:gd name="connsiteY2" fmla="*/ 8709 h 9805"/>
                <a:gd name="connsiteX3" fmla="*/ 948 w 10000"/>
                <a:gd name="connsiteY3" fmla="*/ 9805 h 9805"/>
                <a:gd name="connsiteX4" fmla="*/ 1403 w 10000"/>
                <a:gd name="connsiteY4" fmla="*/ 8988 h 9805"/>
                <a:gd name="connsiteX5" fmla="*/ 1816 w 10000"/>
                <a:gd name="connsiteY5" fmla="*/ 8129 h 9805"/>
                <a:gd name="connsiteX6" fmla="*/ 2253 w 10000"/>
                <a:gd name="connsiteY6" fmla="*/ 7289 h 9805"/>
                <a:gd name="connsiteX7" fmla="*/ 2626 w 10000"/>
                <a:gd name="connsiteY7" fmla="*/ 6428 h 9805"/>
                <a:gd name="connsiteX8" fmla="*/ 3380 w 10000"/>
                <a:gd name="connsiteY8" fmla="*/ 4732 h 9805"/>
                <a:gd name="connsiteX9" fmla="*/ 3756 w 10000"/>
                <a:gd name="connsiteY9" fmla="*/ 3915 h 9805"/>
                <a:gd name="connsiteX10" fmla="*/ 9267 w 10000"/>
                <a:gd name="connsiteY10" fmla="*/ 624 h 9805"/>
                <a:gd name="connsiteX11" fmla="*/ 9505 w 10000"/>
                <a:gd name="connsiteY11" fmla="*/ 925 h 9805"/>
                <a:gd name="connsiteX12" fmla="*/ 9781 w 10000"/>
                <a:gd name="connsiteY12" fmla="*/ 1267 h 9805"/>
                <a:gd name="connsiteX13" fmla="*/ 10000 w 10000"/>
                <a:gd name="connsiteY13" fmla="*/ 1635 h 9805"/>
                <a:gd name="connsiteX14" fmla="*/ 9838 w 10000"/>
                <a:gd name="connsiteY14" fmla="*/ 0 h 9805"/>
                <a:gd name="connsiteX15" fmla="*/ 3458 w 10000"/>
                <a:gd name="connsiteY15" fmla="*/ 1399 h 9805"/>
                <a:gd name="connsiteX16" fmla="*/ 3003 w 10000"/>
                <a:gd name="connsiteY16" fmla="*/ 1977 h 9805"/>
                <a:gd name="connsiteX17" fmla="*/ 2570 w 10000"/>
                <a:gd name="connsiteY17" fmla="*/ 2582 h 9805"/>
                <a:gd name="connsiteX18" fmla="*/ 2155 w 10000"/>
                <a:gd name="connsiteY18" fmla="*/ 3225 h 9805"/>
                <a:gd name="connsiteX19" fmla="*/ 1757 w 10000"/>
                <a:gd name="connsiteY19" fmla="*/ 3915 h 9805"/>
                <a:gd name="connsiteX20" fmla="*/ 1384 w 10000"/>
                <a:gd name="connsiteY20" fmla="*/ 4624 h 9805"/>
                <a:gd name="connsiteX21" fmla="*/ 1028 w 10000"/>
                <a:gd name="connsiteY21" fmla="*/ 5333 h 9805"/>
                <a:gd name="connsiteX22" fmla="*/ 674 w 10000"/>
                <a:gd name="connsiteY22" fmla="*/ 6086 h 9805"/>
                <a:gd name="connsiteX23" fmla="*/ 0 w 10000"/>
                <a:gd name="connsiteY23" fmla="*/ 7592 h 9805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267 w 10000"/>
                <a:gd name="connsiteY10" fmla="*/ 636 h 10000"/>
                <a:gd name="connsiteX11" fmla="*/ 9781 w 10000"/>
                <a:gd name="connsiteY11" fmla="*/ 1292 h 10000"/>
                <a:gd name="connsiteX12" fmla="*/ 10000 w 10000"/>
                <a:gd name="connsiteY12" fmla="*/ 1668 h 10000"/>
                <a:gd name="connsiteX13" fmla="*/ 9838 w 10000"/>
                <a:gd name="connsiteY13" fmla="*/ 0 h 10000"/>
                <a:gd name="connsiteX14" fmla="*/ 3458 w 10000"/>
                <a:gd name="connsiteY14" fmla="*/ 1427 h 10000"/>
                <a:gd name="connsiteX15" fmla="*/ 3003 w 10000"/>
                <a:gd name="connsiteY15" fmla="*/ 2016 h 10000"/>
                <a:gd name="connsiteX16" fmla="*/ 2570 w 10000"/>
                <a:gd name="connsiteY16" fmla="*/ 2633 h 10000"/>
                <a:gd name="connsiteX17" fmla="*/ 2155 w 10000"/>
                <a:gd name="connsiteY17" fmla="*/ 3289 h 10000"/>
                <a:gd name="connsiteX18" fmla="*/ 1757 w 10000"/>
                <a:gd name="connsiteY18" fmla="*/ 3993 h 10000"/>
                <a:gd name="connsiteX19" fmla="*/ 1384 w 10000"/>
                <a:gd name="connsiteY19" fmla="*/ 4716 h 10000"/>
                <a:gd name="connsiteX20" fmla="*/ 1028 w 10000"/>
                <a:gd name="connsiteY20" fmla="*/ 5439 h 10000"/>
                <a:gd name="connsiteX21" fmla="*/ 674 w 10000"/>
                <a:gd name="connsiteY21" fmla="*/ 6207 h 10000"/>
                <a:gd name="connsiteX22" fmla="*/ 0 w 10000"/>
                <a:gd name="connsiteY22" fmla="*/ 7743 h 10000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781 w 10000"/>
                <a:gd name="connsiteY10" fmla="*/ 1292 h 10000"/>
                <a:gd name="connsiteX11" fmla="*/ 10000 w 10000"/>
                <a:gd name="connsiteY11" fmla="*/ 1668 h 10000"/>
                <a:gd name="connsiteX12" fmla="*/ 9838 w 10000"/>
                <a:gd name="connsiteY12" fmla="*/ 0 h 10000"/>
                <a:gd name="connsiteX13" fmla="*/ 3458 w 10000"/>
                <a:gd name="connsiteY13" fmla="*/ 1427 h 10000"/>
                <a:gd name="connsiteX14" fmla="*/ 3003 w 10000"/>
                <a:gd name="connsiteY14" fmla="*/ 2016 h 10000"/>
                <a:gd name="connsiteX15" fmla="*/ 2570 w 10000"/>
                <a:gd name="connsiteY15" fmla="*/ 2633 h 10000"/>
                <a:gd name="connsiteX16" fmla="*/ 2155 w 10000"/>
                <a:gd name="connsiteY16" fmla="*/ 3289 h 10000"/>
                <a:gd name="connsiteX17" fmla="*/ 1757 w 10000"/>
                <a:gd name="connsiteY17" fmla="*/ 3993 h 10000"/>
                <a:gd name="connsiteX18" fmla="*/ 1384 w 10000"/>
                <a:gd name="connsiteY18" fmla="*/ 4716 h 10000"/>
                <a:gd name="connsiteX19" fmla="*/ 1028 w 10000"/>
                <a:gd name="connsiteY19" fmla="*/ 5439 h 10000"/>
                <a:gd name="connsiteX20" fmla="*/ 674 w 10000"/>
                <a:gd name="connsiteY20" fmla="*/ 6207 h 10000"/>
                <a:gd name="connsiteX21" fmla="*/ 0 w 10000"/>
                <a:gd name="connsiteY21" fmla="*/ 7743 h 10000"/>
                <a:gd name="connsiteX0" fmla="*/ 0 w 10000"/>
                <a:gd name="connsiteY0" fmla="*/ 6451 h 8708"/>
                <a:gd name="connsiteX1" fmla="*/ 0 w 10000"/>
                <a:gd name="connsiteY1" fmla="*/ 6451 h 8708"/>
                <a:gd name="connsiteX2" fmla="*/ 495 w 10000"/>
                <a:gd name="connsiteY2" fmla="*/ 7590 h 8708"/>
                <a:gd name="connsiteX3" fmla="*/ 948 w 10000"/>
                <a:gd name="connsiteY3" fmla="*/ 8708 h 8708"/>
                <a:gd name="connsiteX4" fmla="*/ 1403 w 10000"/>
                <a:gd name="connsiteY4" fmla="*/ 7875 h 8708"/>
                <a:gd name="connsiteX5" fmla="*/ 1816 w 10000"/>
                <a:gd name="connsiteY5" fmla="*/ 6999 h 8708"/>
                <a:gd name="connsiteX6" fmla="*/ 2253 w 10000"/>
                <a:gd name="connsiteY6" fmla="*/ 6142 h 8708"/>
                <a:gd name="connsiteX7" fmla="*/ 2626 w 10000"/>
                <a:gd name="connsiteY7" fmla="*/ 5264 h 8708"/>
                <a:gd name="connsiteX8" fmla="*/ 3380 w 10000"/>
                <a:gd name="connsiteY8" fmla="*/ 3534 h 8708"/>
                <a:gd name="connsiteX9" fmla="*/ 3756 w 10000"/>
                <a:gd name="connsiteY9" fmla="*/ 2701 h 8708"/>
                <a:gd name="connsiteX10" fmla="*/ 9781 w 10000"/>
                <a:gd name="connsiteY10" fmla="*/ 0 h 8708"/>
                <a:gd name="connsiteX11" fmla="*/ 10000 w 10000"/>
                <a:gd name="connsiteY11" fmla="*/ 376 h 8708"/>
                <a:gd name="connsiteX12" fmla="*/ 3458 w 10000"/>
                <a:gd name="connsiteY12" fmla="*/ 135 h 8708"/>
                <a:gd name="connsiteX13" fmla="*/ 3003 w 10000"/>
                <a:gd name="connsiteY13" fmla="*/ 724 h 8708"/>
                <a:gd name="connsiteX14" fmla="*/ 2570 w 10000"/>
                <a:gd name="connsiteY14" fmla="*/ 1341 h 8708"/>
                <a:gd name="connsiteX15" fmla="*/ 2155 w 10000"/>
                <a:gd name="connsiteY15" fmla="*/ 1997 h 8708"/>
                <a:gd name="connsiteX16" fmla="*/ 1757 w 10000"/>
                <a:gd name="connsiteY16" fmla="*/ 2701 h 8708"/>
                <a:gd name="connsiteX17" fmla="*/ 1384 w 10000"/>
                <a:gd name="connsiteY17" fmla="*/ 3424 h 8708"/>
                <a:gd name="connsiteX18" fmla="*/ 1028 w 10000"/>
                <a:gd name="connsiteY18" fmla="*/ 4147 h 8708"/>
                <a:gd name="connsiteX19" fmla="*/ 674 w 10000"/>
                <a:gd name="connsiteY19" fmla="*/ 4915 h 8708"/>
                <a:gd name="connsiteX20" fmla="*/ 0 w 10000"/>
                <a:gd name="connsiteY20" fmla="*/ 6451 h 8708"/>
                <a:gd name="connsiteX0" fmla="*/ 0 w 9781"/>
                <a:gd name="connsiteY0" fmla="*/ 7617 h 10209"/>
                <a:gd name="connsiteX1" fmla="*/ 0 w 9781"/>
                <a:gd name="connsiteY1" fmla="*/ 7617 h 10209"/>
                <a:gd name="connsiteX2" fmla="*/ 495 w 9781"/>
                <a:gd name="connsiteY2" fmla="*/ 8925 h 10209"/>
                <a:gd name="connsiteX3" fmla="*/ 948 w 9781"/>
                <a:gd name="connsiteY3" fmla="*/ 10209 h 10209"/>
                <a:gd name="connsiteX4" fmla="*/ 1403 w 9781"/>
                <a:gd name="connsiteY4" fmla="*/ 9252 h 10209"/>
                <a:gd name="connsiteX5" fmla="*/ 1816 w 9781"/>
                <a:gd name="connsiteY5" fmla="*/ 8246 h 10209"/>
                <a:gd name="connsiteX6" fmla="*/ 2253 w 9781"/>
                <a:gd name="connsiteY6" fmla="*/ 7262 h 10209"/>
                <a:gd name="connsiteX7" fmla="*/ 2626 w 9781"/>
                <a:gd name="connsiteY7" fmla="*/ 6254 h 10209"/>
                <a:gd name="connsiteX8" fmla="*/ 3380 w 9781"/>
                <a:gd name="connsiteY8" fmla="*/ 4267 h 10209"/>
                <a:gd name="connsiteX9" fmla="*/ 3756 w 9781"/>
                <a:gd name="connsiteY9" fmla="*/ 3311 h 10209"/>
                <a:gd name="connsiteX10" fmla="*/ 9781 w 9781"/>
                <a:gd name="connsiteY10" fmla="*/ 209 h 10209"/>
                <a:gd name="connsiteX11" fmla="*/ 3458 w 9781"/>
                <a:gd name="connsiteY11" fmla="*/ 364 h 10209"/>
                <a:gd name="connsiteX12" fmla="*/ 3003 w 9781"/>
                <a:gd name="connsiteY12" fmla="*/ 1040 h 10209"/>
                <a:gd name="connsiteX13" fmla="*/ 2570 w 9781"/>
                <a:gd name="connsiteY13" fmla="*/ 1749 h 10209"/>
                <a:gd name="connsiteX14" fmla="*/ 2155 w 9781"/>
                <a:gd name="connsiteY14" fmla="*/ 2502 h 10209"/>
                <a:gd name="connsiteX15" fmla="*/ 1757 w 9781"/>
                <a:gd name="connsiteY15" fmla="*/ 3311 h 10209"/>
                <a:gd name="connsiteX16" fmla="*/ 1384 w 9781"/>
                <a:gd name="connsiteY16" fmla="*/ 4141 h 10209"/>
                <a:gd name="connsiteX17" fmla="*/ 1028 w 9781"/>
                <a:gd name="connsiteY17" fmla="*/ 4971 h 10209"/>
                <a:gd name="connsiteX18" fmla="*/ 674 w 9781"/>
                <a:gd name="connsiteY18" fmla="*/ 5853 h 10209"/>
                <a:gd name="connsiteX19" fmla="*/ 0 w 9781"/>
                <a:gd name="connsiteY19" fmla="*/ 7617 h 10209"/>
                <a:gd name="connsiteX0" fmla="*/ 0 w 3840"/>
                <a:gd name="connsiteY0" fmla="*/ 7104 h 9643"/>
                <a:gd name="connsiteX1" fmla="*/ 0 w 3840"/>
                <a:gd name="connsiteY1" fmla="*/ 7104 h 9643"/>
                <a:gd name="connsiteX2" fmla="*/ 506 w 3840"/>
                <a:gd name="connsiteY2" fmla="*/ 8385 h 9643"/>
                <a:gd name="connsiteX3" fmla="*/ 969 w 3840"/>
                <a:gd name="connsiteY3" fmla="*/ 9643 h 9643"/>
                <a:gd name="connsiteX4" fmla="*/ 1434 w 3840"/>
                <a:gd name="connsiteY4" fmla="*/ 8706 h 9643"/>
                <a:gd name="connsiteX5" fmla="*/ 1857 w 3840"/>
                <a:gd name="connsiteY5" fmla="*/ 7720 h 9643"/>
                <a:gd name="connsiteX6" fmla="*/ 2303 w 3840"/>
                <a:gd name="connsiteY6" fmla="*/ 6756 h 9643"/>
                <a:gd name="connsiteX7" fmla="*/ 2685 w 3840"/>
                <a:gd name="connsiteY7" fmla="*/ 5769 h 9643"/>
                <a:gd name="connsiteX8" fmla="*/ 3456 w 3840"/>
                <a:gd name="connsiteY8" fmla="*/ 3823 h 9643"/>
                <a:gd name="connsiteX9" fmla="*/ 3840 w 3840"/>
                <a:gd name="connsiteY9" fmla="*/ 2886 h 9643"/>
                <a:gd name="connsiteX10" fmla="*/ 3535 w 3840"/>
                <a:gd name="connsiteY10" fmla="*/ 0 h 9643"/>
                <a:gd name="connsiteX11" fmla="*/ 3070 w 3840"/>
                <a:gd name="connsiteY11" fmla="*/ 662 h 9643"/>
                <a:gd name="connsiteX12" fmla="*/ 2628 w 3840"/>
                <a:gd name="connsiteY12" fmla="*/ 1356 h 9643"/>
                <a:gd name="connsiteX13" fmla="*/ 2203 w 3840"/>
                <a:gd name="connsiteY13" fmla="*/ 2094 h 9643"/>
                <a:gd name="connsiteX14" fmla="*/ 1796 w 3840"/>
                <a:gd name="connsiteY14" fmla="*/ 2886 h 9643"/>
                <a:gd name="connsiteX15" fmla="*/ 1415 w 3840"/>
                <a:gd name="connsiteY15" fmla="*/ 3699 h 9643"/>
                <a:gd name="connsiteX16" fmla="*/ 1051 w 3840"/>
                <a:gd name="connsiteY16" fmla="*/ 4512 h 9643"/>
                <a:gd name="connsiteX17" fmla="*/ 689 w 3840"/>
                <a:gd name="connsiteY17" fmla="*/ 5376 h 9643"/>
                <a:gd name="connsiteX18" fmla="*/ 0 w 3840"/>
                <a:gd name="connsiteY18" fmla="*/ 7104 h 9643"/>
                <a:gd name="connsiteX0" fmla="*/ 0 w 9311"/>
                <a:gd name="connsiteY0" fmla="*/ 7367 h 10000"/>
                <a:gd name="connsiteX1" fmla="*/ 0 w 9311"/>
                <a:gd name="connsiteY1" fmla="*/ 7367 h 10000"/>
                <a:gd name="connsiteX2" fmla="*/ 1318 w 9311"/>
                <a:gd name="connsiteY2" fmla="*/ 8695 h 10000"/>
                <a:gd name="connsiteX3" fmla="*/ 2523 w 9311"/>
                <a:gd name="connsiteY3" fmla="*/ 10000 h 10000"/>
                <a:gd name="connsiteX4" fmla="*/ 3734 w 9311"/>
                <a:gd name="connsiteY4" fmla="*/ 9028 h 10000"/>
                <a:gd name="connsiteX5" fmla="*/ 4836 w 9311"/>
                <a:gd name="connsiteY5" fmla="*/ 8006 h 10000"/>
                <a:gd name="connsiteX6" fmla="*/ 5997 w 9311"/>
                <a:gd name="connsiteY6" fmla="*/ 7006 h 10000"/>
                <a:gd name="connsiteX7" fmla="*/ 6992 w 9311"/>
                <a:gd name="connsiteY7" fmla="*/ 5983 h 10000"/>
                <a:gd name="connsiteX8" fmla="*/ 9000 w 9311"/>
                <a:gd name="connsiteY8" fmla="*/ 3965 h 10000"/>
                <a:gd name="connsiteX9" fmla="*/ 9206 w 9311"/>
                <a:gd name="connsiteY9" fmla="*/ 0 h 10000"/>
                <a:gd name="connsiteX10" fmla="*/ 7995 w 9311"/>
                <a:gd name="connsiteY10" fmla="*/ 687 h 10000"/>
                <a:gd name="connsiteX11" fmla="*/ 6844 w 9311"/>
                <a:gd name="connsiteY11" fmla="*/ 1406 h 10000"/>
                <a:gd name="connsiteX12" fmla="*/ 5737 w 9311"/>
                <a:gd name="connsiteY12" fmla="*/ 2172 h 10000"/>
                <a:gd name="connsiteX13" fmla="*/ 4677 w 9311"/>
                <a:gd name="connsiteY13" fmla="*/ 2993 h 10000"/>
                <a:gd name="connsiteX14" fmla="*/ 3685 w 9311"/>
                <a:gd name="connsiteY14" fmla="*/ 3836 h 10000"/>
                <a:gd name="connsiteX15" fmla="*/ 2737 w 9311"/>
                <a:gd name="connsiteY15" fmla="*/ 4679 h 10000"/>
                <a:gd name="connsiteX16" fmla="*/ 1794 w 9311"/>
                <a:gd name="connsiteY16" fmla="*/ 5575 h 10000"/>
                <a:gd name="connsiteX17" fmla="*/ 0 w 9311"/>
                <a:gd name="connsiteY17" fmla="*/ 7367 h 10000"/>
                <a:gd name="connsiteX0" fmla="*/ 0 w 9690"/>
                <a:gd name="connsiteY0" fmla="*/ 6680 h 9313"/>
                <a:gd name="connsiteX1" fmla="*/ 0 w 9690"/>
                <a:gd name="connsiteY1" fmla="*/ 6680 h 9313"/>
                <a:gd name="connsiteX2" fmla="*/ 1416 w 9690"/>
                <a:gd name="connsiteY2" fmla="*/ 8008 h 9313"/>
                <a:gd name="connsiteX3" fmla="*/ 2710 w 9690"/>
                <a:gd name="connsiteY3" fmla="*/ 9313 h 9313"/>
                <a:gd name="connsiteX4" fmla="*/ 4010 w 9690"/>
                <a:gd name="connsiteY4" fmla="*/ 8341 h 9313"/>
                <a:gd name="connsiteX5" fmla="*/ 5194 w 9690"/>
                <a:gd name="connsiteY5" fmla="*/ 7319 h 9313"/>
                <a:gd name="connsiteX6" fmla="*/ 6441 w 9690"/>
                <a:gd name="connsiteY6" fmla="*/ 6319 h 9313"/>
                <a:gd name="connsiteX7" fmla="*/ 7509 w 9690"/>
                <a:gd name="connsiteY7" fmla="*/ 5296 h 9313"/>
                <a:gd name="connsiteX8" fmla="*/ 9666 w 9690"/>
                <a:gd name="connsiteY8" fmla="*/ 3278 h 9313"/>
                <a:gd name="connsiteX9" fmla="*/ 8587 w 9690"/>
                <a:gd name="connsiteY9" fmla="*/ 0 h 9313"/>
                <a:gd name="connsiteX10" fmla="*/ 7350 w 9690"/>
                <a:gd name="connsiteY10" fmla="*/ 719 h 9313"/>
                <a:gd name="connsiteX11" fmla="*/ 6162 w 9690"/>
                <a:gd name="connsiteY11" fmla="*/ 1485 h 9313"/>
                <a:gd name="connsiteX12" fmla="*/ 5023 w 9690"/>
                <a:gd name="connsiteY12" fmla="*/ 2306 h 9313"/>
                <a:gd name="connsiteX13" fmla="*/ 3958 w 9690"/>
                <a:gd name="connsiteY13" fmla="*/ 3149 h 9313"/>
                <a:gd name="connsiteX14" fmla="*/ 2940 w 9690"/>
                <a:gd name="connsiteY14" fmla="*/ 3992 h 9313"/>
                <a:gd name="connsiteX15" fmla="*/ 1927 w 9690"/>
                <a:gd name="connsiteY15" fmla="*/ 4888 h 9313"/>
                <a:gd name="connsiteX16" fmla="*/ 0 w 9690"/>
                <a:gd name="connsiteY16" fmla="*/ 6680 h 9313"/>
                <a:gd name="connsiteX0" fmla="*/ 0 w 8862"/>
                <a:gd name="connsiteY0" fmla="*/ 7173 h 10000"/>
                <a:gd name="connsiteX1" fmla="*/ 0 w 8862"/>
                <a:gd name="connsiteY1" fmla="*/ 7173 h 10000"/>
                <a:gd name="connsiteX2" fmla="*/ 1461 w 8862"/>
                <a:gd name="connsiteY2" fmla="*/ 8599 h 10000"/>
                <a:gd name="connsiteX3" fmla="*/ 2797 w 8862"/>
                <a:gd name="connsiteY3" fmla="*/ 10000 h 10000"/>
                <a:gd name="connsiteX4" fmla="*/ 4138 w 8862"/>
                <a:gd name="connsiteY4" fmla="*/ 8956 h 10000"/>
                <a:gd name="connsiteX5" fmla="*/ 5360 w 8862"/>
                <a:gd name="connsiteY5" fmla="*/ 7859 h 10000"/>
                <a:gd name="connsiteX6" fmla="*/ 6647 w 8862"/>
                <a:gd name="connsiteY6" fmla="*/ 6785 h 10000"/>
                <a:gd name="connsiteX7" fmla="*/ 7749 w 8862"/>
                <a:gd name="connsiteY7" fmla="*/ 5687 h 10000"/>
                <a:gd name="connsiteX8" fmla="*/ 8862 w 8862"/>
                <a:gd name="connsiteY8" fmla="*/ 0 h 10000"/>
                <a:gd name="connsiteX9" fmla="*/ 7585 w 8862"/>
                <a:gd name="connsiteY9" fmla="*/ 772 h 10000"/>
                <a:gd name="connsiteX10" fmla="*/ 6359 w 8862"/>
                <a:gd name="connsiteY10" fmla="*/ 1595 h 10000"/>
                <a:gd name="connsiteX11" fmla="*/ 5184 w 8862"/>
                <a:gd name="connsiteY11" fmla="*/ 2476 h 10000"/>
                <a:gd name="connsiteX12" fmla="*/ 4085 w 8862"/>
                <a:gd name="connsiteY12" fmla="*/ 3381 h 10000"/>
                <a:gd name="connsiteX13" fmla="*/ 3034 w 8862"/>
                <a:gd name="connsiteY13" fmla="*/ 4286 h 10000"/>
                <a:gd name="connsiteX14" fmla="*/ 1989 w 8862"/>
                <a:gd name="connsiteY14" fmla="*/ 5249 h 10000"/>
                <a:gd name="connsiteX15" fmla="*/ 0 w 8862"/>
                <a:gd name="connsiteY15" fmla="*/ 7173 h 10000"/>
                <a:gd name="connsiteX0" fmla="*/ 0 w 10017"/>
                <a:gd name="connsiteY0" fmla="*/ 7173 h 10000"/>
                <a:gd name="connsiteX1" fmla="*/ 0 w 10017"/>
                <a:gd name="connsiteY1" fmla="*/ 7173 h 10000"/>
                <a:gd name="connsiteX2" fmla="*/ 1649 w 10017"/>
                <a:gd name="connsiteY2" fmla="*/ 8599 h 10000"/>
                <a:gd name="connsiteX3" fmla="*/ 3156 w 10017"/>
                <a:gd name="connsiteY3" fmla="*/ 10000 h 10000"/>
                <a:gd name="connsiteX4" fmla="*/ 4669 w 10017"/>
                <a:gd name="connsiteY4" fmla="*/ 8956 h 10000"/>
                <a:gd name="connsiteX5" fmla="*/ 6048 w 10017"/>
                <a:gd name="connsiteY5" fmla="*/ 7859 h 10000"/>
                <a:gd name="connsiteX6" fmla="*/ 7501 w 10017"/>
                <a:gd name="connsiteY6" fmla="*/ 6785 h 10000"/>
                <a:gd name="connsiteX7" fmla="*/ 10017 w 10017"/>
                <a:gd name="connsiteY7" fmla="*/ 4522 h 10000"/>
                <a:gd name="connsiteX8" fmla="*/ 10000 w 10017"/>
                <a:gd name="connsiteY8" fmla="*/ 0 h 10000"/>
                <a:gd name="connsiteX9" fmla="*/ 8559 w 10017"/>
                <a:gd name="connsiteY9" fmla="*/ 772 h 10000"/>
                <a:gd name="connsiteX10" fmla="*/ 7176 w 10017"/>
                <a:gd name="connsiteY10" fmla="*/ 1595 h 10000"/>
                <a:gd name="connsiteX11" fmla="*/ 5850 w 10017"/>
                <a:gd name="connsiteY11" fmla="*/ 2476 h 10000"/>
                <a:gd name="connsiteX12" fmla="*/ 4610 w 10017"/>
                <a:gd name="connsiteY12" fmla="*/ 3381 h 10000"/>
                <a:gd name="connsiteX13" fmla="*/ 3424 w 10017"/>
                <a:gd name="connsiteY13" fmla="*/ 4286 h 10000"/>
                <a:gd name="connsiteX14" fmla="*/ 2244 w 10017"/>
                <a:gd name="connsiteY14" fmla="*/ 5249 h 10000"/>
                <a:gd name="connsiteX15" fmla="*/ 0 w 10017"/>
                <a:gd name="connsiteY15" fmla="*/ 7173 h 10000"/>
                <a:gd name="connsiteX0" fmla="*/ 0 w 13142"/>
                <a:gd name="connsiteY0" fmla="*/ 7193 h 10020"/>
                <a:gd name="connsiteX1" fmla="*/ 0 w 13142"/>
                <a:gd name="connsiteY1" fmla="*/ 7193 h 10020"/>
                <a:gd name="connsiteX2" fmla="*/ 1649 w 13142"/>
                <a:gd name="connsiteY2" fmla="*/ 8619 h 10020"/>
                <a:gd name="connsiteX3" fmla="*/ 3156 w 13142"/>
                <a:gd name="connsiteY3" fmla="*/ 10020 h 10020"/>
                <a:gd name="connsiteX4" fmla="*/ 4669 w 13142"/>
                <a:gd name="connsiteY4" fmla="*/ 8976 h 10020"/>
                <a:gd name="connsiteX5" fmla="*/ 6048 w 13142"/>
                <a:gd name="connsiteY5" fmla="*/ 7879 h 10020"/>
                <a:gd name="connsiteX6" fmla="*/ 7501 w 13142"/>
                <a:gd name="connsiteY6" fmla="*/ 6805 h 10020"/>
                <a:gd name="connsiteX7" fmla="*/ 13142 w 13142"/>
                <a:gd name="connsiteY7" fmla="*/ 498 h 10020"/>
                <a:gd name="connsiteX8" fmla="*/ 10000 w 13142"/>
                <a:gd name="connsiteY8" fmla="*/ 20 h 10020"/>
                <a:gd name="connsiteX9" fmla="*/ 8559 w 13142"/>
                <a:gd name="connsiteY9" fmla="*/ 792 h 10020"/>
                <a:gd name="connsiteX10" fmla="*/ 7176 w 13142"/>
                <a:gd name="connsiteY10" fmla="*/ 1615 h 10020"/>
                <a:gd name="connsiteX11" fmla="*/ 5850 w 13142"/>
                <a:gd name="connsiteY11" fmla="*/ 2496 h 10020"/>
                <a:gd name="connsiteX12" fmla="*/ 4610 w 13142"/>
                <a:gd name="connsiteY12" fmla="*/ 3401 h 10020"/>
                <a:gd name="connsiteX13" fmla="*/ 3424 w 13142"/>
                <a:gd name="connsiteY13" fmla="*/ 4306 h 10020"/>
                <a:gd name="connsiteX14" fmla="*/ 2244 w 13142"/>
                <a:gd name="connsiteY14" fmla="*/ 5269 h 10020"/>
                <a:gd name="connsiteX15" fmla="*/ 0 w 13142"/>
                <a:gd name="connsiteY15" fmla="*/ 7193 h 10020"/>
                <a:gd name="connsiteX0" fmla="*/ 0 w 13142"/>
                <a:gd name="connsiteY0" fmla="*/ 9366 h 12193"/>
                <a:gd name="connsiteX1" fmla="*/ 0 w 13142"/>
                <a:gd name="connsiteY1" fmla="*/ 9366 h 12193"/>
                <a:gd name="connsiteX2" fmla="*/ 1649 w 13142"/>
                <a:gd name="connsiteY2" fmla="*/ 10792 h 12193"/>
                <a:gd name="connsiteX3" fmla="*/ 3156 w 13142"/>
                <a:gd name="connsiteY3" fmla="*/ 12193 h 12193"/>
                <a:gd name="connsiteX4" fmla="*/ 4669 w 13142"/>
                <a:gd name="connsiteY4" fmla="*/ 11149 h 12193"/>
                <a:gd name="connsiteX5" fmla="*/ 6048 w 13142"/>
                <a:gd name="connsiteY5" fmla="*/ 10052 h 12193"/>
                <a:gd name="connsiteX6" fmla="*/ 7501 w 13142"/>
                <a:gd name="connsiteY6" fmla="*/ 8978 h 12193"/>
                <a:gd name="connsiteX7" fmla="*/ 13142 w 13142"/>
                <a:gd name="connsiteY7" fmla="*/ 2671 h 12193"/>
                <a:gd name="connsiteX8" fmla="*/ 10232 w 13142"/>
                <a:gd name="connsiteY8" fmla="*/ 0 h 12193"/>
                <a:gd name="connsiteX9" fmla="*/ 8559 w 13142"/>
                <a:gd name="connsiteY9" fmla="*/ 2965 h 12193"/>
                <a:gd name="connsiteX10" fmla="*/ 7176 w 13142"/>
                <a:gd name="connsiteY10" fmla="*/ 3788 h 12193"/>
                <a:gd name="connsiteX11" fmla="*/ 5850 w 13142"/>
                <a:gd name="connsiteY11" fmla="*/ 4669 h 12193"/>
                <a:gd name="connsiteX12" fmla="*/ 4610 w 13142"/>
                <a:gd name="connsiteY12" fmla="*/ 5574 h 12193"/>
                <a:gd name="connsiteX13" fmla="*/ 3424 w 13142"/>
                <a:gd name="connsiteY13" fmla="*/ 6479 h 12193"/>
                <a:gd name="connsiteX14" fmla="*/ 2244 w 13142"/>
                <a:gd name="connsiteY14" fmla="*/ 7442 h 12193"/>
                <a:gd name="connsiteX15" fmla="*/ 0 w 13142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965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082 w 13489"/>
                <a:gd name="connsiteY11" fmla="*/ 4463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2100"/>
                <a:gd name="connsiteY0" fmla="*/ 9366 h 12193"/>
                <a:gd name="connsiteX1" fmla="*/ 0 w 12100"/>
                <a:gd name="connsiteY1" fmla="*/ 9366 h 12193"/>
                <a:gd name="connsiteX2" fmla="*/ 1649 w 12100"/>
                <a:gd name="connsiteY2" fmla="*/ 10792 h 12193"/>
                <a:gd name="connsiteX3" fmla="*/ 3156 w 12100"/>
                <a:gd name="connsiteY3" fmla="*/ 12193 h 12193"/>
                <a:gd name="connsiteX4" fmla="*/ 4669 w 12100"/>
                <a:gd name="connsiteY4" fmla="*/ 11149 h 12193"/>
                <a:gd name="connsiteX5" fmla="*/ 6048 w 12100"/>
                <a:gd name="connsiteY5" fmla="*/ 10052 h 12193"/>
                <a:gd name="connsiteX6" fmla="*/ 7501 w 12100"/>
                <a:gd name="connsiteY6" fmla="*/ 8978 h 12193"/>
                <a:gd name="connsiteX7" fmla="*/ 12100 w 12100"/>
                <a:gd name="connsiteY7" fmla="*/ 3082 h 12193"/>
                <a:gd name="connsiteX8" fmla="*/ 10232 w 12100"/>
                <a:gd name="connsiteY8" fmla="*/ 0 h 12193"/>
                <a:gd name="connsiteX9" fmla="*/ 9369 w 12100"/>
                <a:gd name="connsiteY9" fmla="*/ 1594 h 12193"/>
                <a:gd name="connsiteX10" fmla="*/ 7985 w 12100"/>
                <a:gd name="connsiteY10" fmla="*/ 3034 h 12193"/>
                <a:gd name="connsiteX11" fmla="*/ 6082 w 12100"/>
                <a:gd name="connsiteY11" fmla="*/ 4463 h 12193"/>
                <a:gd name="connsiteX12" fmla="*/ 4610 w 12100"/>
                <a:gd name="connsiteY12" fmla="*/ 5574 h 12193"/>
                <a:gd name="connsiteX13" fmla="*/ 3424 w 12100"/>
                <a:gd name="connsiteY13" fmla="*/ 6479 h 12193"/>
                <a:gd name="connsiteX14" fmla="*/ 2244 w 12100"/>
                <a:gd name="connsiteY14" fmla="*/ 7442 h 12193"/>
                <a:gd name="connsiteX15" fmla="*/ 0 w 12100"/>
                <a:gd name="connsiteY15" fmla="*/ 9366 h 12193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369 w 12200"/>
                <a:gd name="connsiteY9" fmla="*/ 1937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832 w 12200"/>
                <a:gd name="connsiteY9" fmla="*/ 2143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84"/>
                <a:gd name="connsiteY0" fmla="*/ 9709 h 12536"/>
                <a:gd name="connsiteX1" fmla="*/ 0 w 12284"/>
                <a:gd name="connsiteY1" fmla="*/ 9709 h 12536"/>
                <a:gd name="connsiteX2" fmla="*/ 1649 w 12284"/>
                <a:gd name="connsiteY2" fmla="*/ 11135 h 12536"/>
                <a:gd name="connsiteX3" fmla="*/ 3156 w 12284"/>
                <a:gd name="connsiteY3" fmla="*/ 12536 h 12536"/>
                <a:gd name="connsiteX4" fmla="*/ 4669 w 12284"/>
                <a:gd name="connsiteY4" fmla="*/ 11492 h 12536"/>
                <a:gd name="connsiteX5" fmla="*/ 6048 w 12284"/>
                <a:gd name="connsiteY5" fmla="*/ 10395 h 12536"/>
                <a:gd name="connsiteX6" fmla="*/ 7501 w 12284"/>
                <a:gd name="connsiteY6" fmla="*/ 9321 h 12536"/>
                <a:gd name="connsiteX7" fmla="*/ 12100 w 12284"/>
                <a:gd name="connsiteY7" fmla="*/ 3425 h 12536"/>
                <a:gd name="connsiteX8" fmla="*/ 12200 w 12284"/>
                <a:gd name="connsiteY8" fmla="*/ 0 h 12536"/>
                <a:gd name="connsiteX9" fmla="*/ 9832 w 12284"/>
                <a:gd name="connsiteY9" fmla="*/ 2143 h 12536"/>
                <a:gd name="connsiteX10" fmla="*/ 7985 w 12284"/>
                <a:gd name="connsiteY10" fmla="*/ 3377 h 12536"/>
                <a:gd name="connsiteX11" fmla="*/ 6082 w 12284"/>
                <a:gd name="connsiteY11" fmla="*/ 4806 h 12536"/>
                <a:gd name="connsiteX12" fmla="*/ 4610 w 12284"/>
                <a:gd name="connsiteY12" fmla="*/ 5917 h 12536"/>
                <a:gd name="connsiteX13" fmla="*/ 3424 w 12284"/>
                <a:gd name="connsiteY13" fmla="*/ 6822 h 12536"/>
                <a:gd name="connsiteX14" fmla="*/ 2244 w 12284"/>
                <a:gd name="connsiteY14" fmla="*/ 7785 h 12536"/>
                <a:gd name="connsiteX15" fmla="*/ 0 w 12284"/>
                <a:gd name="connsiteY15" fmla="*/ 9709 h 12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84" h="12536">
                  <a:moveTo>
                    <a:pt x="0" y="9709"/>
                  </a:moveTo>
                  <a:lnTo>
                    <a:pt x="0" y="9709"/>
                  </a:lnTo>
                  <a:lnTo>
                    <a:pt x="1649" y="11135"/>
                  </a:lnTo>
                  <a:cubicBezTo>
                    <a:pt x="2144" y="11603"/>
                    <a:pt x="2661" y="12066"/>
                    <a:pt x="3156" y="12536"/>
                  </a:cubicBezTo>
                  <a:lnTo>
                    <a:pt x="4669" y="11492"/>
                  </a:lnTo>
                  <a:lnTo>
                    <a:pt x="6048" y="10395"/>
                  </a:lnTo>
                  <a:lnTo>
                    <a:pt x="7501" y="9321"/>
                  </a:lnTo>
                  <a:lnTo>
                    <a:pt x="12100" y="3425"/>
                  </a:lnTo>
                  <a:cubicBezTo>
                    <a:pt x="12441" y="2672"/>
                    <a:pt x="12206" y="1507"/>
                    <a:pt x="12200" y="0"/>
                  </a:cubicBezTo>
                  <a:cubicBezTo>
                    <a:pt x="11604" y="646"/>
                    <a:pt x="10534" y="1580"/>
                    <a:pt x="9832" y="2143"/>
                  </a:cubicBezTo>
                  <a:cubicBezTo>
                    <a:pt x="9130" y="2706"/>
                    <a:pt x="8436" y="2979"/>
                    <a:pt x="7985" y="3377"/>
                  </a:cubicBezTo>
                  <a:lnTo>
                    <a:pt x="6082" y="4806"/>
                  </a:lnTo>
                  <a:lnTo>
                    <a:pt x="4610" y="5917"/>
                  </a:lnTo>
                  <a:lnTo>
                    <a:pt x="3424" y="6822"/>
                  </a:lnTo>
                  <a:lnTo>
                    <a:pt x="2244" y="7785"/>
                  </a:lnTo>
                  <a:lnTo>
                    <a:pt x="0" y="970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6" name="Freeform 82">
              <a:extLst>
                <a:ext uri="{FF2B5EF4-FFF2-40B4-BE49-F238E27FC236}">
                  <a16:creationId xmlns:a16="http://schemas.microsoft.com/office/drawing/2014/main" id="{726EB975-DA1D-47BC-9418-14EEF5C5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025" y="4749419"/>
              <a:ext cx="1353142" cy="682493"/>
            </a:xfrm>
            <a:custGeom>
              <a:avLst/>
              <a:gdLst>
                <a:gd name="T0" fmla="*/ 787 w 977"/>
                <a:gd name="T1" fmla="*/ 680 h 699"/>
                <a:gd name="T2" fmla="*/ 820 w 977"/>
                <a:gd name="T3" fmla="*/ 671 h 699"/>
                <a:gd name="T4" fmla="*/ 850 w 977"/>
                <a:gd name="T5" fmla="*/ 653 h 699"/>
                <a:gd name="T6" fmla="*/ 879 w 977"/>
                <a:gd name="T7" fmla="*/ 625 h 699"/>
                <a:gd name="T8" fmla="*/ 932 w 977"/>
                <a:gd name="T9" fmla="*/ 549 h 699"/>
                <a:gd name="T10" fmla="*/ 977 w 977"/>
                <a:gd name="T11" fmla="*/ 608 h 699"/>
                <a:gd name="T12" fmla="*/ 934 w 977"/>
                <a:gd name="T13" fmla="*/ 646 h 699"/>
                <a:gd name="T14" fmla="*/ 886 w 977"/>
                <a:gd name="T15" fmla="*/ 676 h 699"/>
                <a:gd name="T16" fmla="*/ 848 w 977"/>
                <a:gd name="T17" fmla="*/ 690 h 699"/>
                <a:gd name="T18" fmla="*/ 805 w 977"/>
                <a:gd name="T19" fmla="*/ 698 h 699"/>
                <a:gd name="T20" fmla="*/ 776 w 977"/>
                <a:gd name="T21" fmla="*/ 699 h 699"/>
                <a:gd name="T22" fmla="*/ 729 w 977"/>
                <a:gd name="T23" fmla="*/ 695 h 699"/>
                <a:gd name="T24" fmla="*/ 685 w 977"/>
                <a:gd name="T25" fmla="*/ 681 h 699"/>
                <a:gd name="T26" fmla="*/ 646 w 977"/>
                <a:gd name="T27" fmla="*/ 661 h 699"/>
                <a:gd name="T28" fmla="*/ 610 w 977"/>
                <a:gd name="T29" fmla="*/ 635 h 699"/>
                <a:gd name="T30" fmla="*/ 545 w 977"/>
                <a:gd name="T31" fmla="*/ 567 h 699"/>
                <a:gd name="T32" fmla="*/ 490 w 977"/>
                <a:gd name="T33" fmla="*/ 483 h 699"/>
                <a:gd name="T34" fmla="*/ 427 w 977"/>
                <a:gd name="T35" fmla="*/ 359 h 699"/>
                <a:gd name="T36" fmla="*/ 341 w 977"/>
                <a:gd name="T37" fmla="*/ 176 h 699"/>
                <a:gd name="T38" fmla="*/ 297 w 977"/>
                <a:gd name="T39" fmla="*/ 102 h 699"/>
                <a:gd name="T40" fmla="*/ 249 w 977"/>
                <a:gd name="T41" fmla="*/ 47 h 699"/>
                <a:gd name="T42" fmla="*/ 223 w 977"/>
                <a:gd name="T43" fmla="*/ 30 h 699"/>
                <a:gd name="T44" fmla="*/ 195 w 977"/>
                <a:gd name="T45" fmla="*/ 20 h 699"/>
                <a:gd name="T46" fmla="*/ 175 w 977"/>
                <a:gd name="T47" fmla="*/ 18 h 699"/>
                <a:gd name="T48" fmla="*/ 137 w 977"/>
                <a:gd name="T49" fmla="*/ 25 h 699"/>
                <a:gd name="T50" fmla="*/ 101 w 977"/>
                <a:gd name="T51" fmla="*/ 45 h 699"/>
                <a:gd name="T52" fmla="*/ 68 w 977"/>
                <a:gd name="T53" fmla="*/ 76 h 699"/>
                <a:gd name="T54" fmla="*/ 38 w 977"/>
                <a:gd name="T55" fmla="*/ 118 h 699"/>
                <a:gd name="T56" fmla="*/ 1 w 977"/>
                <a:gd name="T57" fmla="*/ 67 h 699"/>
                <a:gd name="T58" fmla="*/ 39 w 977"/>
                <a:gd name="T59" fmla="*/ 39 h 699"/>
                <a:gd name="T60" fmla="*/ 103 w 977"/>
                <a:gd name="T61" fmla="*/ 9 h 699"/>
                <a:gd name="T62" fmla="*/ 175 w 977"/>
                <a:gd name="T63" fmla="*/ 0 h 699"/>
                <a:gd name="T64" fmla="*/ 206 w 977"/>
                <a:gd name="T65" fmla="*/ 2 h 699"/>
                <a:gd name="T66" fmla="*/ 250 w 977"/>
                <a:gd name="T67" fmla="*/ 12 h 699"/>
                <a:gd name="T68" fmla="*/ 292 w 977"/>
                <a:gd name="T69" fmla="*/ 30 h 699"/>
                <a:gd name="T70" fmla="*/ 329 w 977"/>
                <a:gd name="T71" fmla="*/ 54 h 699"/>
                <a:gd name="T72" fmla="*/ 385 w 977"/>
                <a:gd name="T73" fmla="*/ 108 h 699"/>
                <a:gd name="T74" fmla="*/ 442 w 977"/>
                <a:gd name="T75" fmla="*/ 187 h 699"/>
                <a:gd name="T76" fmla="*/ 494 w 977"/>
                <a:gd name="T77" fmla="*/ 278 h 699"/>
                <a:gd name="T78" fmla="*/ 611 w 977"/>
                <a:gd name="T79" fmla="*/ 523 h 699"/>
                <a:gd name="T80" fmla="*/ 655 w 977"/>
                <a:gd name="T81" fmla="*/ 597 h 699"/>
                <a:gd name="T82" fmla="*/ 703 w 977"/>
                <a:gd name="T83" fmla="*/ 651 h 699"/>
                <a:gd name="T84" fmla="*/ 729 w 977"/>
                <a:gd name="T85" fmla="*/ 669 h 699"/>
                <a:gd name="T86" fmla="*/ 756 w 977"/>
                <a:gd name="T87" fmla="*/ 679 h 699"/>
                <a:gd name="T88" fmla="*/ 776 w 977"/>
                <a:gd name="T89" fmla="*/ 681 h 6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77" h="699">
                  <a:moveTo>
                    <a:pt x="776" y="681"/>
                  </a:moveTo>
                  <a:lnTo>
                    <a:pt x="776" y="681"/>
                  </a:lnTo>
                  <a:lnTo>
                    <a:pt x="787" y="680"/>
                  </a:lnTo>
                  <a:lnTo>
                    <a:pt x="799" y="679"/>
                  </a:lnTo>
                  <a:lnTo>
                    <a:pt x="810" y="676"/>
                  </a:lnTo>
                  <a:lnTo>
                    <a:pt x="820" y="671"/>
                  </a:lnTo>
                  <a:lnTo>
                    <a:pt x="830" y="667"/>
                  </a:lnTo>
                  <a:lnTo>
                    <a:pt x="840" y="660"/>
                  </a:lnTo>
                  <a:lnTo>
                    <a:pt x="850" y="653"/>
                  </a:lnTo>
                  <a:lnTo>
                    <a:pt x="861" y="644"/>
                  </a:lnTo>
                  <a:lnTo>
                    <a:pt x="870" y="635"/>
                  </a:lnTo>
                  <a:lnTo>
                    <a:pt x="879" y="625"/>
                  </a:lnTo>
                  <a:lnTo>
                    <a:pt x="898" y="603"/>
                  </a:lnTo>
                  <a:lnTo>
                    <a:pt x="914" y="577"/>
                  </a:lnTo>
                  <a:lnTo>
                    <a:pt x="932" y="549"/>
                  </a:lnTo>
                  <a:lnTo>
                    <a:pt x="954" y="579"/>
                  </a:lnTo>
                  <a:lnTo>
                    <a:pt x="977" y="608"/>
                  </a:lnTo>
                  <a:lnTo>
                    <a:pt x="956" y="628"/>
                  </a:lnTo>
                  <a:lnTo>
                    <a:pt x="934" y="646"/>
                  </a:lnTo>
                  <a:lnTo>
                    <a:pt x="911" y="662"/>
                  </a:lnTo>
                  <a:lnTo>
                    <a:pt x="899" y="669"/>
                  </a:lnTo>
                  <a:lnTo>
                    <a:pt x="886" y="676"/>
                  </a:lnTo>
                  <a:lnTo>
                    <a:pt x="874" y="681"/>
                  </a:lnTo>
                  <a:lnTo>
                    <a:pt x="862" y="686"/>
                  </a:lnTo>
                  <a:lnTo>
                    <a:pt x="848" y="690"/>
                  </a:lnTo>
                  <a:lnTo>
                    <a:pt x="835" y="693"/>
                  </a:lnTo>
                  <a:lnTo>
                    <a:pt x="820" y="696"/>
                  </a:lnTo>
                  <a:lnTo>
                    <a:pt x="805" y="698"/>
                  </a:lnTo>
                  <a:lnTo>
                    <a:pt x="791" y="699"/>
                  </a:lnTo>
                  <a:lnTo>
                    <a:pt x="776" y="699"/>
                  </a:lnTo>
                  <a:lnTo>
                    <a:pt x="759" y="699"/>
                  </a:lnTo>
                  <a:lnTo>
                    <a:pt x="744" y="697"/>
                  </a:lnTo>
                  <a:lnTo>
                    <a:pt x="729" y="695"/>
                  </a:lnTo>
                  <a:lnTo>
                    <a:pt x="714" y="691"/>
                  </a:lnTo>
                  <a:lnTo>
                    <a:pt x="700" y="687"/>
                  </a:lnTo>
                  <a:lnTo>
                    <a:pt x="685" y="681"/>
                  </a:lnTo>
                  <a:lnTo>
                    <a:pt x="672" y="676"/>
                  </a:lnTo>
                  <a:lnTo>
                    <a:pt x="659" y="669"/>
                  </a:lnTo>
                  <a:lnTo>
                    <a:pt x="646" y="661"/>
                  </a:lnTo>
                  <a:lnTo>
                    <a:pt x="633" y="653"/>
                  </a:lnTo>
                  <a:lnTo>
                    <a:pt x="621" y="644"/>
                  </a:lnTo>
                  <a:lnTo>
                    <a:pt x="610" y="635"/>
                  </a:lnTo>
                  <a:lnTo>
                    <a:pt x="587" y="614"/>
                  </a:lnTo>
                  <a:lnTo>
                    <a:pt x="565" y="592"/>
                  </a:lnTo>
                  <a:lnTo>
                    <a:pt x="545" y="567"/>
                  </a:lnTo>
                  <a:lnTo>
                    <a:pt x="526" y="540"/>
                  </a:lnTo>
                  <a:lnTo>
                    <a:pt x="508" y="512"/>
                  </a:lnTo>
                  <a:lnTo>
                    <a:pt x="490" y="483"/>
                  </a:lnTo>
                  <a:lnTo>
                    <a:pt x="473" y="453"/>
                  </a:lnTo>
                  <a:lnTo>
                    <a:pt x="457" y="421"/>
                  </a:lnTo>
                  <a:lnTo>
                    <a:pt x="427" y="359"/>
                  </a:lnTo>
                  <a:lnTo>
                    <a:pt x="369" y="233"/>
                  </a:lnTo>
                  <a:lnTo>
                    <a:pt x="355" y="204"/>
                  </a:lnTo>
                  <a:lnTo>
                    <a:pt x="341" y="176"/>
                  </a:lnTo>
                  <a:lnTo>
                    <a:pt x="327" y="149"/>
                  </a:lnTo>
                  <a:lnTo>
                    <a:pt x="312" y="124"/>
                  </a:lnTo>
                  <a:lnTo>
                    <a:pt x="297" y="102"/>
                  </a:lnTo>
                  <a:lnTo>
                    <a:pt x="282" y="81"/>
                  </a:lnTo>
                  <a:lnTo>
                    <a:pt x="266" y="63"/>
                  </a:lnTo>
                  <a:lnTo>
                    <a:pt x="249" y="47"/>
                  </a:lnTo>
                  <a:lnTo>
                    <a:pt x="241" y="41"/>
                  </a:lnTo>
                  <a:lnTo>
                    <a:pt x="232" y="35"/>
                  </a:lnTo>
                  <a:lnTo>
                    <a:pt x="223" y="30"/>
                  </a:lnTo>
                  <a:lnTo>
                    <a:pt x="214" y="26"/>
                  </a:lnTo>
                  <a:lnTo>
                    <a:pt x="204" y="22"/>
                  </a:lnTo>
                  <a:lnTo>
                    <a:pt x="195" y="20"/>
                  </a:lnTo>
                  <a:lnTo>
                    <a:pt x="185" y="18"/>
                  </a:lnTo>
                  <a:lnTo>
                    <a:pt x="175" y="18"/>
                  </a:lnTo>
                  <a:lnTo>
                    <a:pt x="161" y="18"/>
                  </a:lnTo>
                  <a:lnTo>
                    <a:pt x="149" y="21"/>
                  </a:lnTo>
                  <a:lnTo>
                    <a:pt x="137" y="25"/>
                  </a:lnTo>
                  <a:lnTo>
                    <a:pt x="124" y="30"/>
                  </a:lnTo>
                  <a:lnTo>
                    <a:pt x="113" y="37"/>
                  </a:lnTo>
                  <a:lnTo>
                    <a:pt x="101" y="45"/>
                  </a:lnTo>
                  <a:lnTo>
                    <a:pt x="91" y="54"/>
                  </a:lnTo>
                  <a:lnTo>
                    <a:pt x="79" y="65"/>
                  </a:lnTo>
                  <a:lnTo>
                    <a:pt x="68" y="76"/>
                  </a:lnTo>
                  <a:lnTo>
                    <a:pt x="58" y="90"/>
                  </a:lnTo>
                  <a:lnTo>
                    <a:pt x="48" y="103"/>
                  </a:lnTo>
                  <a:lnTo>
                    <a:pt x="38" y="118"/>
                  </a:lnTo>
                  <a:lnTo>
                    <a:pt x="19" y="150"/>
                  </a:lnTo>
                  <a:lnTo>
                    <a:pt x="0" y="185"/>
                  </a:lnTo>
                  <a:lnTo>
                    <a:pt x="1" y="67"/>
                  </a:lnTo>
                  <a:lnTo>
                    <a:pt x="19" y="52"/>
                  </a:lnTo>
                  <a:lnTo>
                    <a:pt x="39" y="39"/>
                  </a:lnTo>
                  <a:lnTo>
                    <a:pt x="59" y="27"/>
                  </a:lnTo>
                  <a:lnTo>
                    <a:pt x="81" y="17"/>
                  </a:lnTo>
                  <a:lnTo>
                    <a:pt x="103" y="9"/>
                  </a:lnTo>
                  <a:lnTo>
                    <a:pt x="125" y="3"/>
                  </a:lnTo>
                  <a:lnTo>
                    <a:pt x="150" y="0"/>
                  </a:lnTo>
                  <a:lnTo>
                    <a:pt x="175" y="0"/>
                  </a:lnTo>
                  <a:lnTo>
                    <a:pt x="191" y="0"/>
                  </a:lnTo>
                  <a:lnTo>
                    <a:pt x="206" y="2"/>
                  </a:lnTo>
                  <a:lnTo>
                    <a:pt x="222" y="4"/>
                  </a:lnTo>
                  <a:lnTo>
                    <a:pt x="237" y="8"/>
                  </a:lnTo>
                  <a:lnTo>
                    <a:pt x="250" y="12"/>
                  </a:lnTo>
                  <a:lnTo>
                    <a:pt x="265" y="17"/>
                  </a:lnTo>
                  <a:lnTo>
                    <a:pt x="278" y="24"/>
                  </a:lnTo>
                  <a:lnTo>
                    <a:pt x="292" y="30"/>
                  </a:lnTo>
                  <a:lnTo>
                    <a:pt x="304" y="37"/>
                  </a:lnTo>
                  <a:lnTo>
                    <a:pt x="317" y="45"/>
                  </a:lnTo>
                  <a:lnTo>
                    <a:pt x="329" y="54"/>
                  </a:lnTo>
                  <a:lnTo>
                    <a:pt x="340" y="64"/>
                  </a:lnTo>
                  <a:lnTo>
                    <a:pt x="363" y="84"/>
                  </a:lnTo>
                  <a:lnTo>
                    <a:pt x="385" y="108"/>
                  </a:lnTo>
                  <a:lnTo>
                    <a:pt x="405" y="132"/>
                  </a:lnTo>
                  <a:lnTo>
                    <a:pt x="424" y="159"/>
                  </a:lnTo>
                  <a:lnTo>
                    <a:pt x="442" y="187"/>
                  </a:lnTo>
                  <a:lnTo>
                    <a:pt x="460" y="216"/>
                  </a:lnTo>
                  <a:lnTo>
                    <a:pt x="477" y="246"/>
                  </a:lnTo>
                  <a:lnTo>
                    <a:pt x="494" y="278"/>
                  </a:lnTo>
                  <a:lnTo>
                    <a:pt x="524" y="341"/>
                  </a:lnTo>
                  <a:lnTo>
                    <a:pt x="583" y="465"/>
                  </a:lnTo>
                  <a:lnTo>
                    <a:pt x="611" y="523"/>
                  </a:lnTo>
                  <a:lnTo>
                    <a:pt x="626" y="549"/>
                  </a:lnTo>
                  <a:lnTo>
                    <a:pt x="640" y="574"/>
                  </a:lnTo>
                  <a:lnTo>
                    <a:pt x="655" y="597"/>
                  </a:lnTo>
                  <a:lnTo>
                    <a:pt x="671" y="617"/>
                  </a:lnTo>
                  <a:lnTo>
                    <a:pt x="686" y="636"/>
                  </a:lnTo>
                  <a:lnTo>
                    <a:pt x="703" y="651"/>
                  </a:lnTo>
                  <a:lnTo>
                    <a:pt x="711" y="658"/>
                  </a:lnTo>
                  <a:lnTo>
                    <a:pt x="720" y="663"/>
                  </a:lnTo>
                  <a:lnTo>
                    <a:pt x="729" y="669"/>
                  </a:lnTo>
                  <a:lnTo>
                    <a:pt x="738" y="673"/>
                  </a:lnTo>
                  <a:lnTo>
                    <a:pt x="747" y="677"/>
                  </a:lnTo>
                  <a:lnTo>
                    <a:pt x="756" y="679"/>
                  </a:lnTo>
                  <a:lnTo>
                    <a:pt x="766" y="680"/>
                  </a:lnTo>
                  <a:lnTo>
                    <a:pt x="776" y="68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4098">
              <a:extLst>
                <a:ext uri="{FF2B5EF4-FFF2-40B4-BE49-F238E27FC236}">
                  <a16:creationId xmlns:a16="http://schemas.microsoft.com/office/drawing/2014/main" id="{1CFF2889-5A0A-48EB-8614-46B8AF77AD87}"/>
                </a:ext>
              </a:extLst>
            </p:cNvPr>
            <p:cNvSpPr/>
            <p:nvPr/>
          </p:nvSpPr>
          <p:spPr bwMode="auto">
            <a:xfrm>
              <a:off x="6227046" y="4993866"/>
              <a:ext cx="60455" cy="439852"/>
            </a:xfrm>
            <a:custGeom>
              <a:avLst/>
              <a:gdLst>
                <a:gd name="connsiteX0" fmla="*/ 0 w 45719"/>
                <a:gd name="connsiteY0" fmla="*/ 0 h 431211"/>
                <a:gd name="connsiteX1" fmla="*/ 45719 w 45719"/>
                <a:gd name="connsiteY1" fmla="*/ 0 h 431211"/>
                <a:gd name="connsiteX2" fmla="*/ 45719 w 45719"/>
                <a:gd name="connsiteY2" fmla="*/ 431211 h 431211"/>
                <a:gd name="connsiteX3" fmla="*/ 0 w 45719"/>
                <a:gd name="connsiteY3" fmla="*/ 431211 h 431211"/>
                <a:gd name="connsiteX4" fmla="*/ 0 w 45719"/>
                <a:gd name="connsiteY4" fmla="*/ 0 h 431211"/>
                <a:gd name="connsiteX0" fmla="*/ 0 w 45719"/>
                <a:gd name="connsiteY0" fmla="*/ 0 h 438354"/>
                <a:gd name="connsiteX1" fmla="*/ 45719 w 45719"/>
                <a:gd name="connsiteY1" fmla="*/ 0 h 438354"/>
                <a:gd name="connsiteX2" fmla="*/ 45719 w 45719"/>
                <a:gd name="connsiteY2" fmla="*/ 431211 h 438354"/>
                <a:gd name="connsiteX3" fmla="*/ 2381 w 45719"/>
                <a:gd name="connsiteY3" fmla="*/ 438354 h 438354"/>
                <a:gd name="connsiteX4" fmla="*/ 0 w 45719"/>
                <a:gd name="connsiteY4" fmla="*/ 0 h 438354"/>
                <a:gd name="connsiteX0" fmla="*/ 2487 w 43444"/>
                <a:gd name="connsiteY0" fmla="*/ 16669 h 438354"/>
                <a:gd name="connsiteX1" fmla="*/ 43444 w 43444"/>
                <a:gd name="connsiteY1" fmla="*/ 0 h 438354"/>
                <a:gd name="connsiteX2" fmla="*/ 43444 w 43444"/>
                <a:gd name="connsiteY2" fmla="*/ 431211 h 438354"/>
                <a:gd name="connsiteX3" fmla="*/ 106 w 43444"/>
                <a:gd name="connsiteY3" fmla="*/ 438354 h 438354"/>
                <a:gd name="connsiteX4" fmla="*/ 2487 w 43444"/>
                <a:gd name="connsiteY4" fmla="*/ 16669 h 438354"/>
                <a:gd name="connsiteX0" fmla="*/ 229 w 41186"/>
                <a:gd name="connsiteY0" fmla="*/ 16669 h 433592"/>
                <a:gd name="connsiteX1" fmla="*/ 41186 w 41186"/>
                <a:gd name="connsiteY1" fmla="*/ 0 h 433592"/>
                <a:gd name="connsiteX2" fmla="*/ 41186 w 41186"/>
                <a:gd name="connsiteY2" fmla="*/ 431211 h 433592"/>
                <a:gd name="connsiteX3" fmla="*/ 230 w 41186"/>
                <a:gd name="connsiteY3" fmla="*/ 433592 h 433592"/>
                <a:gd name="connsiteX4" fmla="*/ 229 w 41186"/>
                <a:gd name="connsiteY4" fmla="*/ 16669 h 433592"/>
                <a:gd name="connsiteX0" fmla="*/ 229 w 41186"/>
                <a:gd name="connsiteY0" fmla="*/ 16669 h 431211"/>
                <a:gd name="connsiteX1" fmla="*/ 41186 w 41186"/>
                <a:gd name="connsiteY1" fmla="*/ 0 h 431211"/>
                <a:gd name="connsiteX2" fmla="*/ 41186 w 41186"/>
                <a:gd name="connsiteY2" fmla="*/ 431211 h 431211"/>
                <a:gd name="connsiteX3" fmla="*/ 230 w 41186"/>
                <a:gd name="connsiteY3" fmla="*/ 408224 h 431211"/>
                <a:gd name="connsiteX4" fmla="*/ 229 w 41186"/>
                <a:gd name="connsiteY4" fmla="*/ 16669 h 431211"/>
                <a:gd name="connsiteX0" fmla="*/ 229 w 41186"/>
                <a:gd name="connsiteY0" fmla="*/ 37636 h 452178"/>
                <a:gd name="connsiteX1" fmla="*/ 32610 w 41186"/>
                <a:gd name="connsiteY1" fmla="*/ 0 h 452178"/>
                <a:gd name="connsiteX2" fmla="*/ 41186 w 41186"/>
                <a:gd name="connsiteY2" fmla="*/ 452178 h 452178"/>
                <a:gd name="connsiteX3" fmla="*/ 230 w 41186"/>
                <a:gd name="connsiteY3" fmla="*/ 429191 h 452178"/>
                <a:gd name="connsiteX4" fmla="*/ 229 w 41186"/>
                <a:gd name="connsiteY4" fmla="*/ 37636 h 452178"/>
                <a:gd name="connsiteX0" fmla="*/ 229 w 32610"/>
                <a:gd name="connsiteY0" fmla="*/ 37636 h 478388"/>
                <a:gd name="connsiteX1" fmla="*/ 32610 w 32610"/>
                <a:gd name="connsiteY1" fmla="*/ 0 h 478388"/>
                <a:gd name="connsiteX2" fmla="*/ 18315 w 32610"/>
                <a:gd name="connsiteY2" fmla="*/ 478388 h 478388"/>
                <a:gd name="connsiteX3" fmla="*/ 230 w 32610"/>
                <a:gd name="connsiteY3" fmla="*/ 429191 h 478388"/>
                <a:gd name="connsiteX4" fmla="*/ 229 w 32610"/>
                <a:gd name="connsiteY4" fmla="*/ 37636 h 478388"/>
                <a:gd name="connsiteX0" fmla="*/ 229 w 35468"/>
                <a:gd name="connsiteY0" fmla="*/ 37636 h 473147"/>
                <a:gd name="connsiteX1" fmla="*/ 32610 w 35468"/>
                <a:gd name="connsiteY1" fmla="*/ 0 h 473147"/>
                <a:gd name="connsiteX2" fmla="*/ 35468 w 35468"/>
                <a:gd name="connsiteY2" fmla="*/ 473147 h 473147"/>
                <a:gd name="connsiteX3" fmla="*/ 230 w 35468"/>
                <a:gd name="connsiteY3" fmla="*/ 429191 h 473147"/>
                <a:gd name="connsiteX4" fmla="*/ 229 w 35468"/>
                <a:gd name="connsiteY4" fmla="*/ 37636 h 473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68" h="473147">
                  <a:moveTo>
                    <a:pt x="229" y="37636"/>
                  </a:moveTo>
                  <a:lnTo>
                    <a:pt x="32610" y="0"/>
                  </a:lnTo>
                  <a:cubicBezTo>
                    <a:pt x="33563" y="157716"/>
                    <a:pt x="34515" y="315431"/>
                    <a:pt x="35468" y="473147"/>
                  </a:cubicBezTo>
                  <a:lnTo>
                    <a:pt x="230" y="429191"/>
                  </a:lnTo>
                  <a:cubicBezTo>
                    <a:pt x="-564" y="283073"/>
                    <a:pt x="1023" y="183754"/>
                    <a:pt x="229" y="3763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80190B2-6324-4931-9061-CAF9AA515DC9}"/>
                </a:ext>
              </a:extLst>
            </p:cNvPr>
            <p:cNvGrpSpPr/>
            <p:nvPr/>
          </p:nvGrpSpPr>
          <p:grpSpPr>
            <a:xfrm>
              <a:off x="5375272" y="4759638"/>
              <a:ext cx="509407" cy="661696"/>
              <a:chOff x="-2308678" y="726690"/>
              <a:chExt cx="265411" cy="489037"/>
            </a:xfrm>
          </p:grpSpPr>
          <p:sp>
            <p:nvSpPr>
              <p:cNvPr id="55" name="Rectangle 4098">
                <a:extLst>
                  <a:ext uri="{FF2B5EF4-FFF2-40B4-BE49-F238E27FC236}">
                    <a16:creationId xmlns:a16="http://schemas.microsoft.com/office/drawing/2014/main" id="{0D8345FA-1D0A-466D-B89B-C2781CAA32FF}"/>
                  </a:ext>
                </a:extLst>
              </p:cNvPr>
              <p:cNvSpPr/>
              <p:nvPr/>
            </p:nvSpPr>
            <p:spPr bwMode="auto">
              <a:xfrm>
                <a:off x="-2233454" y="726690"/>
                <a:ext cx="36460" cy="45169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51698"/>
                  <a:gd name="connsiteX1" fmla="*/ 41055 w 41055"/>
                  <a:gd name="connsiteY1" fmla="*/ 9525 h 451698"/>
                  <a:gd name="connsiteX2" fmla="*/ 37999 w 41055"/>
                  <a:gd name="connsiteY2" fmla="*/ 451698 h 451698"/>
                  <a:gd name="connsiteX3" fmla="*/ 99 w 41055"/>
                  <a:gd name="connsiteY3" fmla="*/ 424067 h 451698"/>
                  <a:gd name="connsiteX4" fmla="*/ 2779 w 41055"/>
                  <a:gd name="connsiteY4" fmla="*/ 0 h 45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51698">
                    <a:moveTo>
                      <a:pt x="2779" y="0"/>
                    </a:moveTo>
                    <a:lnTo>
                      <a:pt x="41055" y="9525"/>
                    </a:lnTo>
                    <a:cubicBezTo>
                      <a:pt x="40036" y="156916"/>
                      <a:pt x="39018" y="304307"/>
                      <a:pt x="37999" y="451698"/>
                    </a:cubicBez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Rectangle 68">
                <a:extLst>
                  <a:ext uri="{FF2B5EF4-FFF2-40B4-BE49-F238E27FC236}">
                    <a16:creationId xmlns:a16="http://schemas.microsoft.com/office/drawing/2014/main" id="{8D06D3A3-B9BF-42B3-AAF2-0582B661156F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084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17747">
                    <a:moveTo>
                      <a:pt x="4206" y="0"/>
                    </a:moveTo>
                    <a:lnTo>
                      <a:pt x="35203" y="10794"/>
                    </a:lnTo>
                    <a:lnTo>
                      <a:pt x="34369" y="417747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7" name="Rectangle 4098">
                <a:extLst>
                  <a:ext uri="{FF2B5EF4-FFF2-40B4-BE49-F238E27FC236}">
                    <a16:creationId xmlns:a16="http://schemas.microsoft.com/office/drawing/2014/main" id="{5E3A7139-306A-462D-A764-FBAE7B5C1DF6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8" name="Rectangle 4098">
                <a:extLst>
                  <a:ext uri="{FF2B5EF4-FFF2-40B4-BE49-F238E27FC236}">
                    <a16:creationId xmlns:a16="http://schemas.microsoft.com/office/drawing/2014/main" id="{22A486D7-EA30-4358-BE8B-B9A322F81FC2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343EECD-0551-436A-934B-7DCFB76C8160}"/>
                </a:ext>
              </a:extLst>
            </p:cNvPr>
            <p:cNvGrpSpPr/>
            <p:nvPr/>
          </p:nvGrpSpPr>
          <p:grpSpPr>
            <a:xfrm>
              <a:off x="4840327" y="4764105"/>
              <a:ext cx="204819" cy="583455"/>
              <a:chOff x="-1706323" y="741508"/>
              <a:chExt cx="106715" cy="431211"/>
            </a:xfrm>
          </p:grpSpPr>
          <p:sp>
            <p:nvSpPr>
              <p:cNvPr id="53" name="Rectangle 68">
                <a:extLst>
                  <a:ext uri="{FF2B5EF4-FFF2-40B4-BE49-F238E27FC236}">
                    <a16:creationId xmlns:a16="http://schemas.microsoft.com/office/drawing/2014/main" id="{6CAA7240-6C5F-423F-8F00-A70AB129E319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Rectangle 4098">
                <a:extLst>
                  <a:ext uri="{FF2B5EF4-FFF2-40B4-BE49-F238E27FC236}">
                    <a16:creationId xmlns:a16="http://schemas.microsoft.com/office/drawing/2014/main" id="{082D6D69-0B5B-4EEF-A007-9496012A201A}"/>
                  </a:ext>
                </a:extLst>
              </p:cNvPr>
              <p:cNvSpPr/>
              <p:nvPr/>
            </p:nvSpPr>
            <p:spPr bwMode="auto">
              <a:xfrm>
                <a:off x="-1636184" y="743223"/>
                <a:ext cx="36576" cy="31604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2893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39906"/>
                    </a:lnTo>
                    <a:cubicBezTo>
                      <a:pt x="-564" y="293788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87103E7-CAA4-4615-9B54-755E4ED73A50}"/>
                </a:ext>
              </a:extLst>
            </p:cNvPr>
            <p:cNvSpPr/>
            <p:nvPr/>
          </p:nvSpPr>
          <p:spPr bwMode="auto">
            <a:xfrm>
              <a:off x="6627702" y="4923213"/>
              <a:ext cx="275596" cy="460425"/>
            </a:xfrm>
            <a:prstGeom prst="rect">
              <a:avLst/>
            </a:prstGeom>
            <a:solidFill>
              <a:schemeClr val="tx1"/>
            </a:solidFill>
            <a:ln w="0">
              <a:noFill/>
              <a:miter lim="800000"/>
              <a:headEnd/>
              <a:tailEnd/>
            </a:ln>
          </p:spPr>
          <p:txBody>
            <a:bodyPr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0CBF5BA-7839-4EDA-A31C-6E32D5803827}"/>
              </a:ext>
            </a:extLst>
          </p:cNvPr>
          <p:cNvGrpSpPr/>
          <p:nvPr/>
        </p:nvGrpSpPr>
        <p:grpSpPr>
          <a:xfrm rot="21135496">
            <a:off x="8141538" y="2313077"/>
            <a:ext cx="1695529" cy="592125"/>
            <a:chOff x="8010137" y="5199552"/>
            <a:chExt cx="2296430" cy="801976"/>
          </a:xfrm>
          <a:solidFill>
            <a:schemeClr val="bg2"/>
          </a:solidFill>
        </p:grpSpPr>
        <p:sp>
          <p:nvSpPr>
            <p:cNvPr id="60" name="Rectangle 4098">
              <a:extLst>
                <a:ext uri="{FF2B5EF4-FFF2-40B4-BE49-F238E27FC236}">
                  <a16:creationId xmlns:a16="http://schemas.microsoft.com/office/drawing/2014/main" id="{75A0ED34-3E34-4060-B47A-73D5639D43FC}"/>
                </a:ext>
              </a:extLst>
            </p:cNvPr>
            <p:cNvSpPr/>
            <p:nvPr/>
          </p:nvSpPr>
          <p:spPr bwMode="auto">
            <a:xfrm rot="453588">
              <a:off x="8118829" y="5199552"/>
              <a:ext cx="70201" cy="374868"/>
            </a:xfrm>
            <a:custGeom>
              <a:avLst/>
              <a:gdLst>
                <a:gd name="connsiteX0" fmla="*/ 0 w 45719"/>
                <a:gd name="connsiteY0" fmla="*/ 0 h 431211"/>
                <a:gd name="connsiteX1" fmla="*/ 45719 w 45719"/>
                <a:gd name="connsiteY1" fmla="*/ 0 h 431211"/>
                <a:gd name="connsiteX2" fmla="*/ 45719 w 45719"/>
                <a:gd name="connsiteY2" fmla="*/ 431211 h 431211"/>
                <a:gd name="connsiteX3" fmla="*/ 0 w 45719"/>
                <a:gd name="connsiteY3" fmla="*/ 431211 h 431211"/>
                <a:gd name="connsiteX4" fmla="*/ 0 w 45719"/>
                <a:gd name="connsiteY4" fmla="*/ 0 h 431211"/>
                <a:gd name="connsiteX0" fmla="*/ 0 w 45719"/>
                <a:gd name="connsiteY0" fmla="*/ 0 h 438354"/>
                <a:gd name="connsiteX1" fmla="*/ 45719 w 45719"/>
                <a:gd name="connsiteY1" fmla="*/ 0 h 438354"/>
                <a:gd name="connsiteX2" fmla="*/ 45719 w 45719"/>
                <a:gd name="connsiteY2" fmla="*/ 431211 h 438354"/>
                <a:gd name="connsiteX3" fmla="*/ 2381 w 45719"/>
                <a:gd name="connsiteY3" fmla="*/ 438354 h 438354"/>
                <a:gd name="connsiteX4" fmla="*/ 0 w 45719"/>
                <a:gd name="connsiteY4" fmla="*/ 0 h 438354"/>
                <a:gd name="connsiteX0" fmla="*/ 2487 w 43444"/>
                <a:gd name="connsiteY0" fmla="*/ 16669 h 438354"/>
                <a:gd name="connsiteX1" fmla="*/ 43444 w 43444"/>
                <a:gd name="connsiteY1" fmla="*/ 0 h 438354"/>
                <a:gd name="connsiteX2" fmla="*/ 43444 w 43444"/>
                <a:gd name="connsiteY2" fmla="*/ 431211 h 438354"/>
                <a:gd name="connsiteX3" fmla="*/ 106 w 43444"/>
                <a:gd name="connsiteY3" fmla="*/ 438354 h 438354"/>
                <a:gd name="connsiteX4" fmla="*/ 2487 w 43444"/>
                <a:gd name="connsiteY4" fmla="*/ 16669 h 438354"/>
                <a:gd name="connsiteX0" fmla="*/ 229 w 41186"/>
                <a:gd name="connsiteY0" fmla="*/ 16669 h 433592"/>
                <a:gd name="connsiteX1" fmla="*/ 41186 w 41186"/>
                <a:gd name="connsiteY1" fmla="*/ 0 h 433592"/>
                <a:gd name="connsiteX2" fmla="*/ 41186 w 41186"/>
                <a:gd name="connsiteY2" fmla="*/ 431211 h 433592"/>
                <a:gd name="connsiteX3" fmla="*/ 230 w 41186"/>
                <a:gd name="connsiteY3" fmla="*/ 433592 h 433592"/>
                <a:gd name="connsiteX4" fmla="*/ 229 w 41186"/>
                <a:gd name="connsiteY4" fmla="*/ 16669 h 433592"/>
                <a:gd name="connsiteX0" fmla="*/ 229 w 41186"/>
                <a:gd name="connsiteY0" fmla="*/ 16669 h 431211"/>
                <a:gd name="connsiteX1" fmla="*/ 41186 w 41186"/>
                <a:gd name="connsiteY1" fmla="*/ 0 h 431211"/>
                <a:gd name="connsiteX2" fmla="*/ 41186 w 41186"/>
                <a:gd name="connsiteY2" fmla="*/ 431211 h 431211"/>
                <a:gd name="connsiteX3" fmla="*/ 230 w 41186"/>
                <a:gd name="connsiteY3" fmla="*/ 408224 h 431211"/>
                <a:gd name="connsiteX4" fmla="*/ 229 w 41186"/>
                <a:gd name="connsiteY4" fmla="*/ 16669 h 431211"/>
                <a:gd name="connsiteX0" fmla="*/ 229 w 41186"/>
                <a:gd name="connsiteY0" fmla="*/ 0 h 462893"/>
                <a:gd name="connsiteX1" fmla="*/ 41186 w 41186"/>
                <a:gd name="connsiteY1" fmla="*/ 31682 h 462893"/>
                <a:gd name="connsiteX2" fmla="*/ 41186 w 41186"/>
                <a:gd name="connsiteY2" fmla="*/ 462893 h 462893"/>
                <a:gd name="connsiteX3" fmla="*/ 230 w 41186"/>
                <a:gd name="connsiteY3" fmla="*/ 439906 h 462893"/>
                <a:gd name="connsiteX4" fmla="*/ 229 w 41186"/>
                <a:gd name="connsiteY4" fmla="*/ 0 h 462893"/>
                <a:gd name="connsiteX0" fmla="*/ 229 w 41186"/>
                <a:gd name="connsiteY0" fmla="*/ 0 h 468784"/>
                <a:gd name="connsiteX1" fmla="*/ 41186 w 41186"/>
                <a:gd name="connsiteY1" fmla="*/ 31682 h 468784"/>
                <a:gd name="connsiteX2" fmla="*/ 41186 w 41186"/>
                <a:gd name="connsiteY2" fmla="*/ 462893 h 468784"/>
                <a:gd name="connsiteX3" fmla="*/ 230 w 41186"/>
                <a:gd name="connsiteY3" fmla="*/ 468784 h 468784"/>
                <a:gd name="connsiteX4" fmla="*/ 229 w 41186"/>
                <a:gd name="connsiteY4" fmla="*/ 0 h 468784"/>
                <a:gd name="connsiteX0" fmla="*/ 229 w 41186"/>
                <a:gd name="connsiteY0" fmla="*/ 0 h 468784"/>
                <a:gd name="connsiteX1" fmla="*/ 41186 w 41186"/>
                <a:gd name="connsiteY1" fmla="*/ 31682 h 468784"/>
                <a:gd name="connsiteX2" fmla="*/ 29750 w 41186"/>
                <a:gd name="connsiteY2" fmla="*/ 462893 h 468784"/>
                <a:gd name="connsiteX3" fmla="*/ 230 w 41186"/>
                <a:gd name="connsiteY3" fmla="*/ 468784 h 468784"/>
                <a:gd name="connsiteX4" fmla="*/ 229 w 41186"/>
                <a:gd name="connsiteY4" fmla="*/ 0 h 468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86" h="468784">
                  <a:moveTo>
                    <a:pt x="229" y="0"/>
                  </a:moveTo>
                  <a:lnTo>
                    <a:pt x="41186" y="31682"/>
                  </a:lnTo>
                  <a:lnTo>
                    <a:pt x="29750" y="462893"/>
                  </a:lnTo>
                  <a:lnTo>
                    <a:pt x="230" y="468784"/>
                  </a:lnTo>
                  <a:cubicBezTo>
                    <a:pt x="-564" y="322666"/>
                    <a:pt x="1023" y="146118"/>
                    <a:pt x="2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BC7C0190-D113-4DB8-8320-416E5DE87A49}"/>
                </a:ext>
              </a:extLst>
            </p:cNvPr>
            <p:cNvGrpSpPr/>
            <p:nvPr/>
          </p:nvGrpSpPr>
          <p:grpSpPr>
            <a:xfrm rot="453588">
              <a:off x="8010137" y="5314111"/>
              <a:ext cx="2296430" cy="687417"/>
              <a:chOff x="6601756" y="4762070"/>
              <a:chExt cx="2296430" cy="687417"/>
            </a:xfrm>
            <a:grpFill/>
          </p:grpSpPr>
          <p:sp>
            <p:nvSpPr>
              <p:cNvPr id="63" name="Freeform 79">
                <a:extLst>
                  <a:ext uri="{FF2B5EF4-FFF2-40B4-BE49-F238E27FC236}">
                    <a16:creationId xmlns:a16="http://schemas.microsoft.com/office/drawing/2014/main" id="{7750B285-7775-4789-94D3-FE88E8272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031" y="4766994"/>
                <a:ext cx="278385" cy="146457"/>
              </a:xfrm>
              <a:custGeom>
                <a:avLst/>
                <a:gdLst>
                  <a:gd name="T0" fmla="*/ 44 w 201"/>
                  <a:gd name="T1" fmla="*/ 150 h 150"/>
                  <a:gd name="T2" fmla="*/ 44 w 201"/>
                  <a:gd name="T3" fmla="*/ 150 h 150"/>
                  <a:gd name="T4" fmla="*/ 62 w 201"/>
                  <a:gd name="T5" fmla="*/ 122 h 150"/>
                  <a:gd name="T6" fmla="*/ 80 w 201"/>
                  <a:gd name="T7" fmla="*/ 96 h 150"/>
                  <a:gd name="T8" fmla="*/ 98 w 201"/>
                  <a:gd name="T9" fmla="*/ 74 h 150"/>
                  <a:gd name="T10" fmla="*/ 107 w 201"/>
                  <a:gd name="T11" fmla="*/ 64 h 150"/>
                  <a:gd name="T12" fmla="*/ 117 w 201"/>
                  <a:gd name="T13" fmla="*/ 55 h 150"/>
                  <a:gd name="T14" fmla="*/ 126 w 201"/>
                  <a:gd name="T15" fmla="*/ 46 h 150"/>
                  <a:gd name="T16" fmla="*/ 136 w 201"/>
                  <a:gd name="T17" fmla="*/ 39 h 150"/>
                  <a:gd name="T18" fmla="*/ 146 w 201"/>
                  <a:gd name="T19" fmla="*/ 32 h 150"/>
                  <a:gd name="T20" fmla="*/ 156 w 201"/>
                  <a:gd name="T21" fmla="*/ 27 h 150"/>
                  <a:gd name="T22" fmla="*/ 167 w 201"/>
                  <a:gd name="T23" fmla="*/ 23 h 150"/>
                  <a:gd name="T24" fmla="*/ 177 w 201"/>
                  <a:gd name="T25" fmla="*/ 20 h 150"/>
                  <a:gd name="T26" fmla="*/ 189 w 201"/>
                  <a:gd name="T27" fmla="*/ 18 h 150"/>
                  <a:gd name="T28" fmla="*/ 200 w 201"/>
                  <a:gd name="T29" fmla="*/ 18 h 150"/>
                  <a:gd name="T30" fmla="*/ 201 w 201"/>
                  <a:gd name="T31" fmla="*/ 0 h 150"/>
                  <a:gd name="T32" fmla="*/ 201 w 201"/>
                  <a:gd name="T33" fmla="*/ 0 h 150"/>
                  <a:gd name="T34" fmla="*/ 185 w 201"/>
                  <a:gd name="T35" fmla="*/ 0 h 150"/>
                  <a:gd name="T36" fmla="*/ 171 w 201"/>
                  <a:gd name="T37" fmla="*/ 1 h 150"/>
                  <a:gd name="T38" fmla="*/ 156 w 201"/>
                  <a:gd name="T39" fmla="*/ 2 h 150"/>
                  <a:gd name="T40" fmla="*/ 143 w 201"/>
                  <a:gd name="T41" fmla="*/ 6 h 150"/>
                  <a:gd name="T42" fmla="*/ 129 w 201"/>
                  <a:gd name="T43" fmla="*/ 9 h 150"/>
                  <a:gd name="T44" fmla="*/ 116 w 201"/>
                  <a:gd name="T45" fmla="*/ 13 h 150"/>
                  <a:gd name="T46" fmla="*/ 102 w 201"/>
                  <a:gd name="T47" fmla="*/ 18 h 150"/>
                  <a:gd name="T48" fmla="*/ 90 w 201"/>
                  <a:gd name="T49" fmla="*/ 23 h 150"/>
                  <a:gd name="T50" fmla="*/ 77 w 201"/>
                  <a:gd name="T51" fmla="*/ 30 h 150"/>
                  <a:gd name="T52" fmla="*/ 65 w 201"/>
                  <a:gd name="T53" fmla="*/ 37 h 150"/>
                  <a:gd name="T54" fmla="*/ 43 w 201"/>
                  <a:gd name="T55" fmla="*/ 53 h 150"/>
                  <a:gd name="T56" fmla="*/ 20 w 201"/>
                  <a:gd name="T57" fmla="*/ 71 h 150"/>
                  <a:gd name="T58" fmla="*/ 0 w 201"/>
                  <a:gd name="T59" fmla="*/ 90 h 150"/>
                  <a:gd name="T60" fmla="*/ 0 w 201"/>
                  <a:gd name="T61" fmla="*/ 90 h 150"/>
                  <a:gd name="T62" fmla="*/ 22 w 201"/>
                  <a:gd name="T63" fmla="*/ 119 h 150"/>
                  <a:gd name="T64" fmla="*/ 34 w 201"/>
                  <a:gd name="T65" fmla="*/ 134 h 150"/>
                  <a:gd name="T66" fmla="*/ 44 w 201"/>
                  <a:gd name="T67" fmla="*/ 150 h 150"/>
                  <a:gd name="T68" fmla="*/ 44 w 201"/>
                  <a:gd name="T69" fmla="*/ 150 h 15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01" h="150">
                    <a:moveTo>
                      <a:pt x="44" y="150"/>
                    </a:moveTo>
                    <a:lnTo>
                      <a:pt x="44" y="150"/>
                    </a:lnTo>
                    <a:lnTo>
                      <a:pt x="62" y="122"/>
                    </a:lnTo>
                    <a:lnTo>
                      <a:pt x="80" y="96"/>
                    </a:lnTo>
                    <a:lnTo>
                      <a:pt x="98" y="74"/>
                    </a:lnTo>
                    <a:lnTo>
                      <a:pt x="107" y="64"/>
                    </a:lnTo>
                    <a:lnTo>
                      <a:pt x="117" y="55"/>
                    </a:lnTo>
                    <a:lnTo>
                      <a:pt x="126" y="46"/>
                    </a:lnTo>
                    <a:lnTo>
                      <a:pt x="136" y="39"/>
                    </a:lnTo>
                    <a:lnTo>
                      <a:pt x="146" y="32"/>
                    </a:lnTo>
                    <a:lnTo>
                      <a:pt x="156" y="27"/>
                    </a:lnTo>
                    <a:lnTo>
                      <a:pt x="167" y="23"/>
                    </a:lnTo>
                    <a:lnTo>
                      <a:pt x="177" y="20"/>
                    </a:lnTo>
                    <a:lnTo>
                      <a:pt x="189" y="18"/>
                    </a:lnTo>
                    <a:lnTo>
                      <a:pt x="200" y="18"/>
                    </a:lnTo>
                    <a:lnTo>
                      <a:pt x="201" y="0"/>
                    </a:lnTo>
                    <a:lnTo>
                      <a:pt x="185" y="0"/>
                    </a:lnTo>
                    <a:lnTo>
                      <a:pt x="171" y="1"/>
                    </a:lnTo>
                    <a:lnTo>
                      <a:pt x="156" y="2"/>
                    </a:lnTo>
                    <a:lnTo>
                      <a:pt x="143" y="6"/>
                    </a:lnTo>
                    <a:lnTo>
                      <a:pt x="129" y="9"/>
                    </a:lnTo>
                    <a:lnTo>
                      <a:pt x="116" y="13"/>
                    </a:lnTo>
                    <a:lnTo>
                      <a:pt x="102" y="18"/>
                    </a:lnTo>
                    <a:lnTo>
                      <a:pt x="90" y="23"/>
                    </a:lnTo>
                    <a:lnTo>
                      <a:pt x="77" y="30"/>
                    </a:lnTo>
                    <a:lnTo>
                      <a:pt x="65" y="37"/>
                    </a:lnTo>
                    <a:lnTo>
                      <a:pt x="43" y="53"/>
                    </a:lnTo>
                    <a:lnTo>
                      <a:pt x="20" y="71"/>
                    </a:lnTo>
                    <a:lnTo>
                      <a:pt x="0" y="90"/>
                    </a:lnTo>
                    <a:lnTo>
                      <a:pt x="22" y="119"/>
                    </a:lnTo>
                    <a:lnTo>
                      <a:pt x="34" y="134"/>
                    </a:lnTo>
                    <a:lnTo>
                      <a:pt x="44" y="1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4" name="Freeform 83">
                <a:extLst>
                  <a:ext uri="{FF2B5EF4-FFF2-40B4-BE49-F238E27FC236}">
                    <a16:creationId xmlns:a16="http://schemas.microsoft.com/office/drawing/2014/main" id="{E8ABF235-4BBC-4036-9CC6-C8D2D4F77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4261" y="4766994"/>
                <a:ext cx="1638452" cy="682493"/>
              </a:xfrm>
              <a:custGeom>
                <a:avLst/>
                <a:gdLst>
                  <a:gd name="T0" fmla="*/ 816 w 1183"/>
                  <a:gd name="T1" fmla="*/ 681 h 699"/>
                  <a:gd name="T2" fmla="*/ 852 w 1183"/>
                  <a:gd name="T3" fmla="*/ 670 h 699"/>
                  <a:gd name="T4" fmla="*/ 885 w 1183"/>
                  <a:gd name="T5" fmla="*/ 646 h 699"/>
                  <a:gd name="T6" fmla="*/ 917 w 1183"/>
                  <a:gd name="T7" fmla="*/ 613 h 699"/>
                  <a:gd name="T8" fmla="*/ 956 w 1183"/>
                  <a:gd name="T9" fmla="*/ 554 h 699"/>
                  <a:gd name="T10" fmla="*/ 1012 w 1183"/>
                  <a:gd name="T11" fmla="*/ 448 h 699"/>
                  <a:gd name="T12" fmla="*/ 1090 w 1183"/>
                  <a:gd name="T13" fmla="*/ 289 h 699"/>
                  <a:gd name="T14" fmla="*/ 1134 w 1183"/>
                  <a:gd name="T15" fmla="*/ 213 h 699"/>
                  <a:gd name="T16" fmla="*/ 1183 w 1183"/>
                  <a:gd name="T17" fmla="*/ 316 h 699"/>
                  <a:gd name="T18" fmla="*/ 1112 w 1183"/>
                  <a:gd name="T19" fmla="*/ 454 h 699"/>
                  <a:gd name="T20" fmla="*/ 1053 w 1183"/>
                  <a:gd name="T21" fmla="*/ 549 h 699"/>
                  <a:gd name="T22" fmla="*/ 995 w 1183"/>
                  <a:gd name="T23" fmla="*/ 616 h 699"/>
                  <a:gd name="T24" fmla="*/ 957 w 1183"/>
                  <a:gd name="T25" fmla="*/ 649 h 699"/>
                  <a:gd name="T26" fmla="*/ 914 w 1183"/>
                  <a:gd name="T27" fmla="*/ 674 h 699"/>
                  <a:gd name="T28" fmla="*/ 870 w 1183"/>
                  <a:gd name="T29" fmla="*/ 691 h 699"/>
                  <a:gd name="T30" fmla="*/ 820 w 1183"/>
                  <a:gd name="T31" fmla="*/ 699 h 699"/>
                  <a:gd name="T32" fmla="*/ 786 w 1183"/>
                  <a:gd name="T33" fmla="*/ 699 h 699"/>
                  <a:gd name="T34" fmla="*/ 740 w 1183"/>
                  <a:gd name="T35" fmla="*/ 691 h 699"/>
                  <a:gd name="T36" fmla="*/ 699 w 1183"/>
                  <a:gd name="T37" fmla="*/ 675 h 699"/>
                  <a:gd name="T38" fmla="*/ 660 w 1183"/>
                  <a:gd name="T39" fmla="*/ 654 h 699"/>
                  <a:gd name="T40" fmla="*/ 614 w 1183"/>
                  <a:gd name="T41" fmla="*/ 615 h 699"/>
                  <a:gd name="T42" fmla="*/ 553 w 1183"/>
                  <a:gd name="T43" fmla="*/ 540 h 699"/>
                  <a:gd name="T44" fmla="*/ 500 w 1183"/>
                  <a:gd name="T45" fmla="*/ 453 h 699"/>
                  <a:gd name="T46" fmla="*/ 453 w 1183"/>
                  <a:gd name="T47" fmla="*/ 358 h 699"/>
                  <a:gd name="T48" fmla="*/ 351 w 1183"/>
                  <a:gd name="T49" fmla="*/ 150 h 699"/>
                  <a:gd name="T50" fmla="*/ 306 w 1183"/>
                  <a:gd name="T51" fmla="*/ 82 h 699"/>
                  <a:gd name="T52" fmla="*/ 266 w 1183"/>
                  <a:gd name="T53" fmla="*/ 41 h 699"/>
                  <a:gd name="T54" fmla="*/ 239 w 1183"/>
                  <a:gd name="T55" fmla="*/ 26 h 699"/>
                  <a:gd name="T56" fmla="*/ 211 w 1183"/>
                  <a:gd name="T57" fmla="*/ 19 h 699"/>
                  <a:gd name="T58" fmla="*/ 190 w 1183"/>
                  <a:gd name="T59" fmla="*/ 19 h 699"/>
                  <a:gd name="T60" fmla="*/ 157 w 1183"/>
                  <a:gd name="T61" fmla="*/ 28 h 699"/>
                  <a:gd name="T62" fmla="*/ 127 w 1183"/>
                  <a:gd name="T63" fmla="*/ 46 h 699"/>
                  <a:gd name="T64" fmla="*/ 99 w 1183"/>
                  <a:gd name="T65" fmla="*/ 74 h 699"/>
                  <a:gd name="T66" fmla="*/ 45 w 1183"/>
                  <a:gd name="T67" fmla="*/ 151 h 699"/>
                  <a:gd name="T68" fmla="*/ 23 w 1183"/>
                  <a:gd name="T69" fmla="*/ 120 h 699"/>
                  <a:gd name="T70" fmla="*/ 21 w 1183"/>
                  <a:gd name="T71" fmla="*/ 71 h 699"/>
                  <a:gd name="T72" fmla="*/ 78 w 1183"/>
                  <a:gd name="T73" fmla="*/ 30 h 699"/>
                  <a:gd name="T74" fmla="*/ 115 w 1183"/>
                  <a:gd name="T75" fmla="*/ 13 h 699"/>
                  <a:gd name="T76" fmla="*/ 157 w 1183"/>
                  <a:gd name="T77" fmla="*/ 3 h 699"/>
                  <a:gd name="T78" fmla="*/ 201 w 1183"/>
                  <a:gd name="T79" fmla="*/ 0 h 699"/>
                  <a:gd name="T80" fmla="*/ 233 w 1183"/>
                  <a:gd name="T81" fmla="*/ 2 h 699"/>
                  <a:gd name="T82" fmla="*/ 277 w 1183"/>
                  <a:gd name="T83" fmla="*/ 12 h 699"/>
                  <a:gd name="T84" fmla="*/ 318 w 1183"/>
                  <a:gd name="T85" fmla="*/ 30 h 699"/>
                  <a:gd name="T86" fmla="*/ 356 w 1183"/>
                  <a:gd name="T87" fmla="*/ 55 h 699"/>
                  <a:gd name="T88" fmla="*/ 412 w 1183"/>
                  <a:gd name="T89" fmla="*/ 107 h 699"/>
                  <a:gd name="T90" fmla="*/ 469 w 1183"/>
                  <a:gd name="T91" fmla="*/ 187 h 699"/>
                  <a:gd name="T92" fmla="*/ 520 w 1183"/>
                  <a:gd name="T93" fmla="*/ 278 h 699"/>
                  <a:gd name="T94" fmla="*/ 622 w 1183"/>
                  <a:gd name="T95" fmla="*/ 495 h 699"/>
                  <a:gd name="T96" fmla="*/ 665 w 1183"/>
                  <a:gd name="T97" fmla="*/ 575 h 699"/>
                  <a:gd name="T98" fmla="*/ 711 w 1183"/>
                  <a:gd name="T99" fmla="*/ 636 h 699"/>
                  <a:gd name="T100" fmla="*/ 745 w 1183"/>
                  <a:gd name="T101" fmla="*/ 664 h 699"/>
                  <a:gd name="T102" fmla="*/ 773 w 1183"/>
                  <a:gd name="T103" fmla="*/ 677 h 699"/>
                  <a:gd name="T104" fmla="*/ 802 w 1183"/>
                  <a:gd name="T105" fmla="*/ 681 h 6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183" h="699">
                    <a:moveTo>
                      <a:pt x="802" y="681"/>
                    </a:moveTo>
                    <a:lnTo>
                      <a:pt x="802" y="681"/>
                    </a:lnTo>
                    <a:lnTo>
                      <a:pt x="816" y="681"/>
                    </a:lnTo>
                    <a:lnTo>
                      <a:pt x="828" y="679"/>
                    </a:lnTo>
                    <a:lnTo>
                      <a:pt x="840" y="674"/>
                    </a:lnTo>
                    <a:lnTo>
                      <a:pt x="852" y="670"/>
                    </a:lnTo>
                    <a:lnTo>
                      <a:pt x="863" y="663"/>
                    </a:lnTo>
                    <a:lnTo>
                      <a:pt x="874" y="655"/>
                    </a:lnTo>
                    <a:lnTo>
                      <a:pt x="885" y="646"/>
                    </a:lnTo>
                    <a:lnTo>
                      <a:pt x="895" y="636"/>
                    </a:lnTo>
                    <a:lnTo>
                      <a:pt x="907" y="625"/>
                    </a:lnTo>
                    <a:lnTo>
                      <a:pt x="917" y="613"/>
                    </a:lnTo>
                    <a:lnTo>
                      <a:pt x="927" y="599"/>
                    </a:lnTo>
                    <a:lnTo>
                      <a:pt x="936" y="586"/>
                    </a:lnTo>
                    <a:lnTo>
                      <a:pt x="956" y="554"/>
                    </a:lnTo>
                    <a:lnTo>
                      <a:pt x="974" y="522"/>
                    </a:lnTo>
                    <a:lnTo>
                      <a:pt x="993" y="486"/>
                    </a:lnTo>
                    <a:lnTo>
                      <a:pt x="1012" y="448"/>
                    </a:lnTo>
                    <a:lnTo>
                      <a:pt x="1050" y="370"/>
                    </a:lnTo>
                    <a:lnTo>
                      <a:pt x="1070" y="329"/>
                    </a:lnTo>
                    <a:lnTo>
                      <a:pt x="1090" y="289"/>
                    </a:lnTo>
                    <a:lnTo>
                      <a:pt x="1111" y="251"/>
                    </a:lnTo>
                    <a:lnTo>
                      <a:pt x="1134" y="213"/>
                    </a:lnTo>
                    <a:lnTo>
                      <a:pt x="1158" y="263"/>
                    </a:lnTo>
                    <a:lnTo>
                      <a:pt x="1183" y="316"/>
                    </a:lnTo>
                    <a:lnTo>
                      <a:pt x="1148" y="385"/>
                    </a:lnTo>
                    <a:lnTo>
                      <a:pt x="1131" y="420"/>
                    </a:lnTo>
                    <a:lnTo>
                      <a:pt x="1112" y="454"/>
                    </a:lnTo>
                    <a:lnTo>
                      <a:pt x="1093" y="486"/>
                    </a:lnTo>
                    <a:lnTo>
                      <a:pt x="1074" y="519"/>
                    </a:lnTo>
                    <a:lnTo>
                      <a:pt x="1053" y="549"/>
                    </a:lnTo>
                    <a:lnTo>
                      <a:pt x="1030" y="577"/>
                    </a:lnTo>
                    <a:lnTo>
                      <a:pt x="1008" y="604"/>
                    </a:lnTo>
                    <a:lnTo>
                      <a:pt x="995" y="616"/>
                    </a:lnTo>
                    <a:lnTo>
                      <a:pt x="983" y="627"/>
                    </a:lnTo>
                    <a:lnTo>
                      <a:pt x="970" y="639"/>
                    </a:lnTo>
                    <a:lnTo>
                      <a:pt x="957" y="649"/>
                    </a:lnTo>
                    <a:lnTo>
                      <a:pt x="944" y="658"/>
                    </a:lnTo>
                    <a:lnTo>
                      <a:pt x="929" y="667"/>
                    </a:lnTo>
                    <a:lnTo>
                      <a:pt x="914" y="674"/>
                    </a:lnTo>
                    <a:lnTo>
                      <a:pt x="900" y="681"/>
                    </a:lnTo>
                    <a:lnTo>
                      <a:pt x="885" y="687"/>
                    </a:lnTo>
                    <a:lnTo>
                      <a:pt x="870" y="691"/>
                    </a:lnTo>
                    <a:lnTo>
                      <a:pt x="854" y="695"/>
                    </a:lnTo>
                    <a:lnTo>
                      <a:pt x="837" y="698"/>
                    </a:lnTo>
                    <a:lnTo>
                      <a:pt x="820" y="699"/>
                    </a:lnTo>
                    <a:lnTo>
                      <a:pt x="802" y="699"/>
                    </a:lnTo>
                    <a:lnTo>
                      <a:pt x="786" y="699"/>
                    </a:lnTo>
                    <a:lnTo>
                      <a:pt x="771" y="697"/>
                    </a:lnTo>
                    <a:lnTo>
                      <a:pt x="755" y="695"/>
                    </a:lnTo>
                    <a:lnTo>
                      <a:pt x="740" y="691"/>
                    </a:lnTo>
                    <a:lnTo>
                      <a:pt x="727" y="687"/>
                    </a:lnTo>
                    <a:lnTo>
                      <a:pt x="712" y="682"/>
                    </a:lnTo>
                    <a:lnTo>
                      <a:pt x="699" y="675"/>
                    </a:lnTo>
                    <a:lnTo>
                      <a:pt x="685" y="669"/>
                    </a:lnTo>
                    <a:lnTo>
                      <a:pt x="673" y="662"/>
                    </a:lnTo>
                    <a:lnTo>
                      <a:pt x="660" y="654"/>
                    </a:lnTo>
                    <a:lnTo>
                      <a:pt x="648" y="645"/>
                    </a:lnTo>
                    <a:lnTo>
                      <a:pt x="637" y="635"/>
                    </a:lnTo>
                    <a:lnTo>
                      <a:pt x="614" y="615"/>
                    </a:lnTo>
                    <a:lnTo>
                      <a:pt x="592" y="591"/>
                    </a:lnTo>
                    <a:lnTo>
                      <a:pt x="572" y="567"/>
                    </a:lnTo>
                    <a:lnTo>
                      <a:pt x="553" y="540"/>
                    </a:lnTo>
                    <a:lnTo>
                      <a:pt x="535" y="512"/>
                    </a:lnTo>
                    <a:lnTo>
                      <a:pt x="517" y="483"/>
                    </a:lnTo>
                    <a:lnTo>
                      <a:pt x="500" y="453"/>
                    </a:lnTo>
                    <a:lnTo>
                      <a:pt x="484" y="422"/>
                    </a:lnTo>
                    <a:lnTo>
                      <a:pt x="453" y="358"/>
                    </a:lnTo>
                    <a:lnTo>
                      <a:pt x="395" y="234"/>
                    </a:lnTo>
                    <a:lnTo>
                      <a:pt x="366" y="177"/>
                    </a:lnTo>
                    <a:lnTo>
                      <a:pt x="351" y="150"/>
                    </a:lnTo>
                    <a:lnTo>
                      <a:pt x="337" y="125"/>
                    </a:lnTo>
                    <a:lnTo>
                      <a:pt x="322" y="102"/>
                    </a:lnTo>
                    <a:lnTo>
                      <a:pt x="306" y="82"/>
                    </a:lnTo>
                    <a:lnTo>
                      <a:pt x="291" y="64"/>
                    </a:lnTo>
                    <a:lnTo>
                      <a:pt x="275" y="48"/>
                    </a:lnTo>
                    <a:lnTo>
                      <a:pt x="266" y="41"/>
                    </a:lnTo>
                    <a:lnTo>
                      <a:pt x="257" y="36"/>
                    </a:lnTo>
                    <a:lnTo>
                      <a:pt x="248" y="30"/>
                    </a:lnTo>
                    <a:lnTo>
                      <a:pt x="239" y="26"/>
                    </a:lnTo>
                    <a:lnTo>
                      <a:pt x="230" y="22"/>
                    </a:lnTo>
                    <a:lnTo>
                      <a:pt x="221" y="20"/>
                    </a:lnTo>
                    <a:lnTo>
                      <a:pt x="211" y="19"/>
                    </a:lnTo>
                    <a:lnTo>
                      <a:pt x="201" y="18"/>
                    </a:lnTo>
                    <a:lnTo>
                      <a:pt x="190" y="19"/>
                    </a:lnTo>
                    <a:lnTo>
                      <a:pt x="178" y="20"/>
                    </a:lnTo>
                    <a:lnTo>
                      <a:pt x="167" y="23"/>
                    </a:lnTo>
                    <a:lnTo>
                      <a:pt x="157" y="28"/>
                    </a:lnTo>
                    <a:lnTo>
                      <a:pt x="147" y="32"/>
                    </a:lnTo>
                    <a:lnTo>
                      <a:pt x="137" y="39"/>
                    </a:lnTo>
                    <a:lnTo>
                      <a:pt x="127" y="46"/>
                    </a:lnTo>
                    <a:lnTo>
                      <a:pt x="117" y="55"/>
                    </a:lnTo>
                    <a:lnTo>
                      <a:pt x="108" y="64"/>
                    </a:lnTo>
                    <a:lnTo>
                      <a:pt x="99" y="74"/>
                    </a:lnTo>
                    <a:lnTo>
                      <a:pt x="79" y="96"/>
                    </a:lnTo>
                    <a:lnTo>
                      <a:pt x="63" y="122"/>
                    </a:lnTo>
                    <a:lnTo>
                      <a:pt x="45" y="151"/>
                    </a:lnTo>
                    <a:lnTo>
                      <a:pt x="34" y="134"/>
                    </a:lnTo>
                    <a:lnTo>
                      <a:pt x="23" y="120"/>
                    </a:lnTo>
                    <a:lnTo>
                      <a:pt x="0" y="91"/>
                    </a:lnTo>
                    <a:lnTo>
                      <a:pt x="21" y="71"/>
                    </a:lnTo>
                    <a:lnTo>
                      <a:pt x="43" y="53"/>
                    </a:lnTo>
                    <a:lnTo>
                      <a:pt x="66" y="37"/>
                    </a:lnTo>
                    <a:lnTo>
                      <a:pt x="78" y="30"/>
                    </a:lnTo>
                    <a:lnTo>
                      <a:pt x="91" y="23"/>
                    </a:lnTo>
                    <a:lnTo>
                      <a:pt x="103" y="18"/>
                    </a:lnTo>
                    <a:lnTo>
                      <a:pt x="115" y="13"/>
                    </a:lnTo>
                    <a:lnTo>
                      <a:pt x="129" y="9"/>
                    </a:lnTo>
                    <a:lnTo>
                      <a:pt x="142" y="6"/>
                    </a:lnTo>
                    <a:lnTo>
                      <a:pt x="157" y="3"/>
                    </a:lnTo>
                    <a:lnTo>
                      <a:pt x="172" y="1"/>
                    </a:lnTo>
                    <a:lnTo>
                      <a:pt x="186" y="0"/>
                    </a:lnTo>
                    <a:lnTo>
                      <a:pt x="201" y="0"/>
                    </a:lnTo>
                    <a:lnTo>
                      <a:pt x="218" y="1"/>
                    </a:lnTo>
                    <a:lnTo>
                      <a:pt x="233" y="2"/>
                    </a:lnTo>
                    <a:lnTo>
                      <a:pt x="248" y="4"/>
                    </a:lnTo>
                    <a:lnTo>
                      <a:pt x="263" y="8"/>
                    </a:lnTo>
                    <a:lnTo>
                      <a:pt x="277" y="12"/>
                    </a:lnTo>
                    <a:lnTo>
                      <a:pt x="292" y="18"/>
                    </a:lnTo>
                    <a:lnTo>
                      <a:pt x="305" y="23"/>
                    </a:lnTo>
                    <a:lnTo>
                      <a:pt x="318" y="30"/>
                    </a:lnTo>
                    <a:lnTo>
                      <a:pt x="331" y="38"/>
                    </a:lnTo>
                    <a:lnTo>
                      <a:pt x="344" y="46"/>
                    </a:lnTo>
                    <a:lnTo>
                      <a:pt x="356" y="55"/>
                    </a:lnTo>
                    <a:lnTo>
                      <a:pt x="367" y="64"/>
                    </a:lnTo>
                    <a:lnTo>
                      <a:pt x="390" y="85"/>
                    </a:lnTo>
                    <a:lnTo>
                      <a:pt x="412" y="107"/>
                    </a:lnTo>
                    <a:lnTo>
                      <a:pt x="432" y="132"/>
                    </a:lnTo>
                    <a:lnTo>
                      <a:pt x="451" y="159"/>
                    </a:lnTo>
                    <a:lnTo>
                      <a:pt x="469" y="187"/>
                    </a:lnTo>
                    <a:lnTo>
                      <a:pt x="487" y="216"/>
                    </a:lnTo>
                    <a:lnTo>
                      <a:pt x="504" y="246"/>
                    </a:lnTo>
                    <a:lnTo>
                      <a:pt x="520" y="278"/>
                    </a:lnTo>
                    <a:lnTo>
                      <a:pt x="550" y="342"/>
                    </a:lnTo>
                    <a:lnTo>
                      <a:pt x="608" y="466"/>
                    </a:lnTo>
                    <a:lnTo>
                      <a:pt x="622" y="495"/>
                    </a:lnTo>
                    <a:lnTo>
                      <a:pt x="636" y="523"/>
                    </a:lnTo>
                    <a:lnTo>
                      <a:pt x="650" y="550"/>
                    </a:lnTo>
                    <a:lnTo>
                      <a:pt x="665" y="575"/>
                    </a:lnTo>
                    <a:lnTo>
                      <a:pt x="680" y="597"/>
                    </a:lnTo>
                    <a:lnTo>
                      <a:pt x="695" y="618"/>
                    </a:lnTo>
                    <a:lnTo>
                      <a:pt x="711" y="636"/>
                    </a:lnTo>
                    <a:lnTo>
                      <a:pt x="728" y="652"/>
                    </a:lnTo>
                    <a:lnTo>
                      <a:pt x="737" y="659"/>
                    </a:lnTo>
                    <a:lnTo>
                      <a:pt x="745" y="664"/>
                    </a:lnTo>
                    <a:lnTo>
                      <a:pt x="754" y="669"/>
                    </a:lnTo>
                    <a:lnTo>
                      <a:pt x="763" y="673"/>
                    </a:lnTo>
                    <a:lnTo>
                      <a:pt x="773" y="677"/>
                    </a:lnTo>
                    <a:lnTo>
                      <a:pt x="782" y="679"/>
                    </a:lnTo>
                    <a:lnTo>
                      <a:pt x="792" y="681"/>
                    </a:lnTo>
                    <a:lnTo>
                      <a:pt x="802" y="6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Freeform 84">
                <a:extLst>
                  <a:ext uri="{FF2B5EF4-FFF2-40B4-BE49-F238E27FC236}">
                    <a16:creationId xmlns:a16="http://schemas.microsoft.com/office/drawing/2014/main" id="{A1333128-4B41-4DD9-967D-0414936DC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9801" y="4779687"/>
                <a:ext cx="278385" cy="146457"/>
              </a:xfrm>
              <a:custGeom>
                <a:avLst/>
                <a:gdLst>
                  <a:gd name="T0" fmla="*/ 45 w 201"/>
                  <a:gd name="T1" fmla="*/ 150 h 150"/>
                  <a:gd name="T2" fmla="*/ 45 w 201"/>
                  <a:gd name="T3" fmla="*/ 150 h 150"/>
                  <a:gd name="T4" fmla="*/ 62 w 201"/>
                  <a:gd name="T5" fmla="*/ 122 h 150"/>
                  <a:gd name="T6" fmla="*/ 80 w 201"/>
                  <a:gd name="T7" fmla="*/ 97 h 150"/>
                  <a:gd name="T8" fmla="*/ 98 w 201"/>
                  <a:gd name="T9" fmla="*/ 74 h 150"/>
                  <a:gd name="T10" fmla="*/ 108 w 201"/>
                  <a:gd name="T11" fmla="*/ 64 h 150"/>
                  <a:gd name="T12" fmla="*/ 117 w 201"/>
                  <a:gd name="T13" fmla="*/ 55 h 150"/>
                  <a:gd name="T14" fmla="*/ 127 w 201"/>
                  <a:gd name="T15" fmla="*/ 46 h 150"/>
                  <a:gd name="T16" fmla="*/ 137 w 201"/>
                  <a:gd name="T17" fmla="*/ 40 h 150"/>
                  <a:gd name="T18" fmla="*/ 147 w 201"/>
                  <a:gd name="T19" fmla="*/ 33 h 150"/>
                  <a:gd name="T20" fmla="*/ 157 w 201"/>
                  <a:gd name="T21" fmla="*/ 27 h 150"/>
                  <a:gd name="T22" fmla="*/ 167 w 201"/>
                  <a:gd name="T23" fmla="*/ 24 h 150"/>
                  <a:gd name="T24" fmla="*/ 179 w 201"/>
                  <a:gd name="T25" fmla="*/ 21 h 150"/>
                  <a:gd name="T26" fmla="*/ 190 w 201"/>
                  <a:gd name="T27" fmla="*/ 18 h 150"/>
                  <a:gd name="T28" fmla="*/ 201 w 201"/>
                  <a:gd name="T29" fmla="*/ 18 h 150"/>
                  <a:gd name="T30" fmla="*/ 201 w 201"/>
                  <a:gd name="T31" fmla="*/ 0 h 150"/>
                  <a:gd name="T32" fmla="*/ 201 w 201"/>
                  <a:gd name="T33" fmla="*/ 0 h 150"/>
                  <a:gd name="T34" fmla="*/ 186 w 201"/>
                  <a:gd name="T35" fmla="*/ 0 h 150"/>
                  <a:gd name="T36" fmla="*/ 171 w 201"/>
                  <a:gd name="T37" fmla="*/ 1 h 150"/>
                  <a:gd name="T38" fmla="*/ 157 w 201"/>
                  <a:gd name="T39" fmla="*/ 4 h 150"/>
                  <a:gd name="T40" fmla="*/ 143 w 201"/>
                  <a:gd name="T41" fmla="*/ 6 h 150"/>
                  <a:gd name="T42" fmla="*/ 129 w 201"/>
                  <a:gd name="T43" fmla="*/ 9 h 150"/>
                  <a:gd name="T44" fmla="*/ 116 w 201"/>
                  <a:gd name="T45" fmla="*/ 14 h 150"/>
                  <a:gd name="T46" fmla="*/ 103 w 201"/>
                  <a:gd name="T47" fmla="*/ 18 h 150"/>
                  <a:gd name="T48" fmla="*/ 91 w 201"/>
                  <a:gd name="T49" fmla="*/ 24 h 150"/>
                  <a:gd name="T50" fmla="*/ 78 w 201"/>
                  <a:gd name="T51" fmla="*/ 31 h 150"/>
                  <a:gd name="T52" fmla="*/ 66 w 201"/>
                  <a:gd name="T53" fmla="*/ 37 h 150"/>
                  <a:gd name="T54" fmla="*/ 43 w 201"/>
                  <a:gd name="T55" fmla="*/ 53 h 150"/>
                  <a:gd name="T56" fmla="*/ 21 w 201"/>
                  <a:gd name="T57" fmla="*/ 71 h 150"/>
                  <a:gd name="T58" fmla="*/ 0 w 201"/>
                  <a:gd name="T59" fmla="*/ 91 h 150"/>
                  <a:gd name="T60" fmla="*/ 0 w 201"/>
                  <a:gd name="T61" fmla="*/ 91 h 150"/>
                  <a:gd name="T62" fmla="*/ 23 w 201"/>
                  <a:gd name="T63" fmla="*/ 119 h 150"/>
                  <a:gd name="T64" fmla="*/ 34 w 201"/>
                  <a:gd name="T65" fmla="*/ 135 h 150"/>
                  <a:gd name="T66" fmla="*/ 45 w 201"/>
                  <a:gd name="T67" fmla="*/ 150 h 150"/>
                  <a:gd name="T68" fmla="*/ 45 w 201"/>
                  <a:gd name="T69" fmla="*/ 150 h 15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01" h="150">
                    <a:moveTo>
                      <a:pt x="45" y="150"/>
                    </a:moveTo>
                    <a:lnTo>
                      <a:pt x="45" y="150"/>
                    </a:lnTo>
                    <a:lnTo>
                      <a:pt x="62" y="122"/>
                    </a:lnTo>
                    <a:lnTo>
                      <a:pt x="80" y="97"/>
                    </a:lnTo>
                    <a:lnTo>
                      <a:pt x="98" y="74"/>
                    </a:lnTo>
                    <a:lnTo>
                      <a:pt x="108" y="64"/>
                    </a:lnTo>
                    <a:lnTo>
                      <a:pt x="117" y="55"/>
                    </a:lnTo>
                    <a:lnTo>
                      <a:pt x="127" y="46"/>
                    </a:lnTo>
                    <a:lnTo>
                      <a:pt x="137" y="40"/>
                    </a:lnTo>
                    <a:lnTo>
                      <a:pt x="147" y="33"/>
                    </a:lnTo>
                    <a:lnTo>
                      <a:pt x="157" y="27"/>
                    </a:lnTo>
                    <a:lnTo>
                      <a:pt x="167" y="24"/>
                    </a:lnTo>
                    <a:lnTo>
                      <a:pt x="179" y="21"/>
                    </a:lnTo>
                    <a:lnTo>
                      <a:pt x="190" y="18"/>
                    </a:lnTo>
                    <a:lnTo>
                      <a:pt x="201" y="18"/>
                    </a:lnTo>
                    <a:lnTo>
                      <a:pt x="201" y="0"/>
                    </a:lnTo>
                    <a:lnTo>
                      <a:pt x="186" y="0"/>
                    </a:lnTo>
                    <a:lnTo>
                      <a:pt x="171" y="1"/>
                    </a:lnTo>
                    <a:lnTo>
                      <a:pt x="157" y="4"/>
                    </a:lnTo>
                    <a:lnTo>
                      <a:pt x="143" y="6"/>
                    </a:lnTo>
                    <a:lnTo>
                      <a:pt x="129" y="9"/>
                    </a:lnTo>
                    <a:lnTo>
                      <a:pt x="116" y="14"/>
                    </a:lnTo>
                    <a:lnTo>
                      <a:pt x="103" y="18"/>
                    </a:lnTo>
                    <a:lnTo>
                      <a:pt x="91" y="24"/>
                    </a:lnTo>
                    <a:lnTo>
                      <a:pt x="78" y="31"/>
                    </a:lnTo>
                    <a:lnTo>
                      <a:pt x="66" y="37"/>
                    </a:lnTo>
                    <a:lnTo>
                      <a:pt x="43" y="53"/>
                    </a:lnTo>
                    <a:lnTo>
                      <a:pt x="21" y="71"/>
                    </a:lnTo>
                    <a:lnTo>
                      <a:pt x="0" y="91"/>
                    </a:lnTo>
                    <a:lnTo>
                      <a:pt x="23" y="119"/>
                    </a:lnTo>
                    <a:lnTo>
                      <a:pt x="34" y="135"/>
                    </a:lnTo>
                    <a:lnTo>
                      <a:pt x="45" y="15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Freeform 86">
                <a:extLst>
                  <a:ext uri="{FF2B5EF4-FFF2-40B4-BE49-F238E27FC236}">
                    <a16:creationId xmlns:a16="http://schemas.microsoft.com/office/drawing/2014/main" id="{21360684-8F07-4553-B456-1826FD526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414" y="4774805"/>
                <a:ext cx="1120462" cy="614146"/>
              </a:xfrm>
              <a:custGeom>
                <a:avLst/>
                <a:gdLst>
                  <a:gd name="T0" fmla="*/ 0 w 809"/>
                  <a:gd name="T1" fmla="*/ 384 h 629"/>
                  <a:gd name="T2" fmla="*/ 49 w 809"/>
                  <a:gd name="T3" fmla="*/ 487 h 629"/>
                  <a:gd name="T4" fmla="*/ 71 w 809"/>
                  <a:gd name="T5" fmla="*/ 449 h 629"/>
                  <a:gd name="T6" fmla="*/ 113 w 809"/>
                  <a:gd name="T7" fmla="*/ 371 h 629"/>
                  <a:gd name="T8" fmla="*/ 170 w 809"/>
                  <a:gd name="T9" fmla="*/ 252 h 629"/>
                  <a:gd name="T10" fmla="*/ 208 w 809"/>
                  <a:gd name="T11" fmla="*/ 179 h 629"/>
                  <a:gd name="T12" fmla="*/ 246 w 809"/>
                  <a:gd name="T13" fmla="*/ 114 h 629"/>
                  <a:gd name="T14" fmla="*/ 265 w 809"/>
                  <a:gd name="T15" fmla="*/ 87 h 629"/>
                  <a:gd name="T16" fmla="*/ 287 w 809"/>
                  <a:gd name="T17" fmla="*/ 64 h 629"/>
                  <a:gd name="T18" fmla="*/ 308 w 809"/>
                  <a:gd name="T19" fmla="*/ 45 h 629"/>
                  <a:gd name="T20" fmla="*/ 331 w 809"/>
                  <a:gd name="T21" fmla="*/ 30 h 629"/>
                  <a:gd name="T22" fmla="*/ 354 w 809"/>
                  <a:gd name="T23" fmla="*/ 21 h 629"/>
                  <a:gd name="T24" fmla="*/ 380 w 809"/>
                  <a:gd name="T25" fmla="*/ 19 h 629"/>
                  <a:gd name="T26" fmla="*/ 380 w 809"/>
                  <a:gd name="T27" fmla="*/ 19 h 629"/>
                  <a:gd name="T28" fmla="*/ 412 w 809"/>
                  <a:gd name="T29" fmla="*/ 23 h 629"/>
                  <a:gd name="T30" fmla="*/ 441 w 809"/>
                  <a:gd name="T31" fmla="*/ 38 h 629"/>
                  <a:gd name="T32" fmla="*/ 468 w 809"/>
                  <a:gd name="T33" fmla="*/ 60 h 629"/>
                  <a:gd name="T34" fmla="*/ 494 w 809"/>
                  <a:gd name="T35" fmla="*/ 91 h 629"/>
                  <a:gd name="T36" fmla="*/ 517 w 809"/>
                  <a:gd name="T37" fmla="*/ 126 h 629"/>
                  <a:gd name="T38" fmla="*/ 541 w 809"/>
                  <a:gd name="T39" fmla="*/ 167 h 629"/>
                  <a:gd name="T40" fmla="*/ 587 w 809"/>
                  <a:gd name="T41" fmla="*/ 260 h 629"/>
                  <a:gd name="T42" fmla="*/ 658 w 809"/>
                  <a:gd name="T43" fmla="*/ 412 h 629"/>
                  <a:gd name="T44" fmla="*/ 697 w 809"/>
                  <a:gd name="T45" fmla="*/ 486 h 629"/>
                  <a:gd name="T46" fmla="*/ 725 w 809"/>
                  <a:gd name="T47" fmla="*/ 532 h 629"/>
                  <a:gd name="T48" fmla="*/ 757 w 809"/>
                  <a:gd name="T49" fmla="*/ 574 h 629"/>
                  <a:gd name="T50" fmla="*/ 790 w 809"/>
                  <a:gd name="T51" fmla="*/ 613 h 629"/>
                  <a:gd name="T52" fmla="*/ 809 w 809"/>
                  <a:gd name="T53" fmla="*/ 510 h 629"/>
                  <a:gd name="T54" fmla="*/ 790 w 809"/>
                  <a:gd name="T55" fmla="*/ 471 h 629"/>
                  <a:gd name="T56" fmla="*/ 732 w 809"/>
                  <a:gd name="T57" fmla="*/ 346 h 629"/>
                  <a:gd name="T58" fmla="*/ 690 w 809"/>
                  <a:gd name="T59" fmla="*/ 261 h 629"/>
                  <a:gd name="T60" fmla="*/ 644 w 809"/>
                  <a:gd name="T61" fmla="*/ 181 h 629"/>
                  <a:gd name="T62" fmla="*/ 618 w 809"/>
                  <a:gd name="T63" fmla="*/ 144 h 629"/>
                  <a:gd name="T64" fmla="*/ 591 w 809"/>
                  <a:gd name="T65" fmla="*/ 110 h 629"/>
                  <a:gd name="T66" fmla="*/ 562 w 809"/>
                  <a:gd name="T67" fmla="*/ 79 h 629"/>
                  <a:gd name="T68" fmla="*/ 532 w 809"/>
                  <a:gd name="T69" fmla="*/ 52 h 629"/>
                  <a:gd name="T70" fmla="*/ 498 w 809"/>
                  <a:gd name="T71" fmla="*/ 31 h 629"/>
                  <a:gd name="T72" fmla="*/ 461 w 809"/>
                  <a:gd name="T73" fmla="*/ 14 h 629"/>
                  <a:gd name="T74" fmla="*/ 423 w 809"/>
                  <a:gd name="T75" fmla="*/ 4 h 629"/>
                  <a:gd name="T76" fmla="*/ 380 w 809"/>
                  <a:gd name="T77" fmla="*/ 0 h 629"/>
                  <a:gd name="T78" fmla="*/ 380 w 809"/>
                  <a:gd name="T79" fmla="*/ 1 h 629"/>
                  <a:gd name="T80" fmla="*/ 345 w 809"/>
                  <a:gd name="T81" fmla="*/ 2 h 629"/>
                  <a:gd name="T82" fmla="*/ 313 w 809"/>
                  <a:gd name="T83" fmla="*/ 9 h 629"/>
                  <a:gd name="T84" fmla="*/ 282 w 809"/>
                  <a:gd name="T85" fmla="*/ 20 h 629"/>
                  <a:gd name="T86" fmla="*/ 253 w 809"/>
                  <a:gd name="T87" fmla="*/ 33 h 629"/>
                  <a:gd name="T88" fmla="*/ 225 w 809"/>
                  <a:gd name="T89" fmla="*/ 51 h 629"/>
                  <a:gd name="T90" fmla="*/ 199 w 809"/>
                  <a:gd name="T91" fmla="*/ 73 h 629"/>
                  <a:gd name="T92" fmla="*/ 176 w 809"/>
                  <a:gd name="T93" fmla="*/ 96 h 629"/>
                  <a:gd name="T94" fmla="*/ 129 w 809"/>
                  <a:gd name="T95" fmla="*/ 151 h 629"/>
                  <a:gd name="T96" fmla="*/ 89 w 809"/>
                  <a:gd name="T97" fmla="*/ 214 h 629"/>
                  <a:gd name="T98" fmla="*/ 52 w 809"/>
                  <a:gd name="T99" fmla="*/ 280 h 629"/>
                  <a:gd name="T100" fmla="*/ 0 w 809"/>
                  <a:gd name="T101" fmla="*/ 384 h 62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809" h="629">
                    <a:moveTo>
                      <a:pt x="0" y="384"/>
                    </a:moveTo>
                    <a:lnTo>
                      <a:pt x="0" y="384"/>
                    </a:lnTo>
                    <a:lnTo>
                      <a:pt x="24" y="437"/>
                    </a:lnTo>
                    <a:lnTo>
                      <a:pt x="49" y="487"/>
                    </a:lnTo>
                    <a:lnTo>
                      <a:pt x="71" y="449"/>
                    </a:lnTo>
                    <a:lnTo>
                      <a:pt x="92" y="411"/>
                    </a:lnTo>
                    <a:lnTo>
                      <a:pt x="113" y="371"/>
                    </a:lnTo>
                    <a:lnTo>
                      <a:pt x="133" y="330"/>
                    </a:lnTo>
                    <a:lnTo>
                      <a:pt x="170" y="252"/>
                    </a:lnTo>
                    <a:lnTo>
                      <a:pt x="189" y="215"/>
                    </a:lnTo>
                    <a:lnTo>
                      <a:pt x="208" y="179"/>
                    </a:lnTo>
                    <a:lnTo>
                      <a:pt x="227" y="145"/>
                    </a:lnTo>
                    <a:lnTo>
                      <a:pt x="246" y="114"/>
                    </a:lnTo>
                    <a:lnTo>
                      <a:pt x="256" y="101"/>
                    </a:lnTo>
                    <a:lnTo>
                      <a:pt x="265" y="87"/>
                    </a:lnTo>
                    <a:lnTo>
                      <a:pt x="277" y="75"/>
                    </a:lnTo>
                    <a:lnTo>
                      <a:pt x="287" y="64"/>
                    </a:lnTo>
                    <a:lnTo>
                      <a:pt x="297" y="54"/>
                    </a:lnTo>
                    <a:lnTo>
                      <a:pt x="308" y="45"/>
                    </a:lnTo>
                    <a:lnTo>
                      <a:pt x="319" y="37"/>
                    </a:lnTo>
                    <a:lnTo>
                      <a:pt x="331" y="30"/>
                    </a:lnTo>
                    <a:lnTo>
                      <a:pt x="343" y="26"/>
                    </a:lnTo>
                    <a:lnTo>
                      <a:pt x="354" y="21"/>
                    </a:lnTo>
                    <a:lnTo>
                      <a:pt x="368" y="19"/>
                    </a:lnTo>
                    <a:lnTo>
                      <a:pt x="380" y="19"/>
                    </a:lnTo>
                    <a:lnTo>
                      <a:pt x="396" y="20"/>
                    </a:lnTo>
                    <a:lnTo>
                      <a:pt x="412" y="23"/>
                    </a:lnTo>
                    <a:lnTo>
                      <a:pt x="426" y="30"/>
                    </a:lnTo>
                    <a:lnTo>
                      <a:pt x="441" y="38"/>
                    </a:lnTo>
                    <a:lnTo>
                      <a:pt x="454" y="49"/>
                    </a:lnTo>
                    <a:lnTo>
                      <a:pt x="468" y="60"/>
                    </a:lnTo>
                    <a:lnTo>
                      <a:pt x="481" y="75"/>
                    </a:lnTo>
                    <a:lnTo>
                      <a:pt x="494" y="91"/>
                    </a:lnTo>
                    <a:lnTo>
                      <a:pt x="506" y="107"/>
                    </a:lnTo>
                    <a:lnTo>
                      <a:pt x="517" y="126"/>
                    </a:lnTo>
                    <a:lnTo>
                      <a:pt x="530" y="147"/>
                    </a:lnTo>
                    <a:lnTo>
                      <a:pt x="541" y="167"/>
                    </a:lnTo>
                    <a:lnTo>
                      <a:pt x="563" y="212"/>
                    </a:lnTo>
                    <a:lnTo>
                      <a:pt x="587" y="260"/>
                    </a:lnTo>
                    <a:lnTo>
                      <a:pt x="633" y="361"/>
                    </a:lnTo>
                    <a:lnTo>
                      <a:pt x="658" y="412"/>
                    </a:lnTo>
                    <a:lnTo>
                      <a:pt x="684" y="461"/>
                    </a:lnTo>
                    <a:lnTo>
                      <a:pt x="697" y="486"/>
                    </a:lnTo>
                    <a:lnTo>
                      <a:pt x="710" y="510"/>
                    </a:lnTo>
                    <a:lnTo>
                      <a:pt x="725" y="532"/>
                    </a:lnTo>
                    <a:lnTo>
                      <a:pt x="741" y="554"/>
                    </a:lnTo>
                    <a:lnTo>
                      <a:pt x="757" y="574"/>
                    </a:lnTo>
                    <a:lnTo>
                      <a:pt x="773" y="595"/>
                    </a:lnTo>
                    <a:lnTo>
                      <a:pt x="790" y="613"/>
                    </a:lnTo>
                    <a:lnTo>
                      <a:pt x="808" y="629"/>
                    </a:lnTo>
                    <a:lnTo>
                      <a:pt x="809" y="510"/>
                    </a:lnTo>
                    <a:lnTo>
                      <a:pt x="790" y="471"/>
                    </a:lnTo>
                    <a:lnTo>
                      <a:pt x="771" y="431"/>
                    </a:lnTo>
                    <a:lnTo>
                      <a:pt x="732" y="346"/>
                    </a:lnTo>
                    <a:lnTo>
                      <a:pt x="712" y="303"/>
                    </a:lnTo>
                    <a:lnTo>
                      <a:pt x="690" y="261"/>
                    </a:lnTo>
                    <a:lnTo>
                      <a:pt x="668" y="220"/>
                    </a:lnTo>
                    <a:lnTo>
                      <a:pt x="644" y="181"/>
                    </a:lnTo>
                    <a:lnTo>
                      <a:pt x="632" y="162"/>
                    </a:lnTo>
                    <a:lnTo>
                      <a:pt x="618" y="144"/>
                    </a:lnTo>
                    <a:lnTo>
                      <a:pt x="605" y="126"/>
                    </a:lnTo>
                    <a:lnTo>
                      <a:pt x="591" y="110"/>
                    </a:lnTo>
                    <a:lnTo>
                      <a:pt x="578" y="94"/>
                    </a:lnTo>
                    <a:lnTo>
                      <a:pt x="562" y="79"/>
                    </a:lnTo>
                    <a:lnTo>
                      <a:pt x="548" y="66"/>
                    </a:lnTo>
                    <a:lnTo>
                      <a:pt x="532" y="52"/>
                    </a:lnTo>
                    <a:lnTo>
                      <a:pt x="515" y="41"/>
                    </a:lnTo>
                    <a:lnTo>
                      <a:pt x="498" y="31"/>
                    </a:lnTo>
                    <a:lnTo>
                      <a:pt x="480" y="22"/>
                    </a:lnTo>
                    <a:lnTo>
                      <a:pt x="461" y="14"/>
                    </a:lnTo>
                    <a:lnTo>
                      <a:pt x="442" y="9"/>
                    </a:lnTo>
                    <a:lnTo>
                      <a:pt x="423" y="4"/>
                    </a:lnTo>
                    <a:lnTo>
                      <a:pt x="401" y="1"/>
                    </a:lnTo>
                    <a:lnTo>
                      <a:pt x="380" y="0"/>
                    </a:lnTo>
                    <a:lnTo>
                      <a:pt x="380" y="1"/>
                    </a:lnTo>
                    <a:lnTo>
                      <a:pt x="363" y="1"/>
                    </a:lnTo>
                    <a:lnTo>
                      <a:pt x="345" y="2"/>
                    </a:lnTo>
                    <a:lnTo>
                      <a:pt x="329" y="5"/>
                    </a:lnTo>
                    <a:lnTo>
                      <a:pt x="313" y="9"/>
                    </a:lnTo>
                    <a:lnTo>
                      <a:pt x="297" y="13"/>
                    </a:lnTo>
                    <a:lnTo>
                      <a:pt x="282" y="20"/>
                    </a:lnTo>
                    <a:lnTo>
                      <a:pt x="268" y="27"/>
                    </a:lnTo>
                    <a:lnTo>
                      <a:pt x="253" y="33"/>
                    </a:lnTo>
                    <a:lnTo>
                      <a:pt x="240" y="42"/>
                    </a:lnTo>
                    <a:lnTo>
                      <a:pt x="225" y="51"/>
                    </a:lnTo>
                    <a:lnTo>
                      <a:pt x="213" y="61"/>
                    </a:lnTo>
                    <a:lnTo>
                      <a:pt x="199" y="73"/>
                    </a:lnTo>
                    <a:lnTo>
                      <a:pt x="187" y="84"/>
                    </a:lnTo>
                    <a:lnTo>
                      <a:pt x="176" y="96"/>
                    </a:lnTo>
                    <a:lnTo>
                      <a:pt x="152" y="123"/>
                    </a:lnTo>
                    <a:lnTo>
                      <a:pt x="129" y="151"/>
                    </a:lnTo>
                    <a:lnTo>
                      <a:pt x="109" y="181"/>
                    </a:lnTo>
                    <a:lnTo>
                      <a:pt x="89" y="214"/>
                    </a:lnTo>
                    <a:lnTo>
                      <a:pt x="70" y="246"/>
                    </a:lnTo>
                    <a:lnTo>
                      <a:pt x="52" y="280"/>
                    </a:lnTo>
                    <a:lnTo>
                      <a:pt x="34" y="315"/>
                    </a:lnTo>
                    <a:lnTo>
                      <a:pt x="0" y="3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Freeform 87">
                <a:extLst>
                  <a:ext uri="{FF2B5EF4-FFF2-40B4-BE49-F238E27FC236}">
                    <a16:creationId xmlns:a16="http://schemas.microsoft.com/office/drawing/2014/main" id="{4B5D627E-1E99-4944-8EEB-F5A353E1E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1756" y="4762070"/>
                <a:ext cx="1119182" cy="683511"/>
              </a:xfrm>
              <a:custGeom>
                <a:avLst/>
                <a:gdLst>
                  <a:gd name="T0" fmla="*/ 789 w 977"/>
                  <a:gd name="T1" fmla="*/ 682 h 700"/>
                  <a:gd name="T2" fmla="*/ 821 w 977"/>
                  <a:gd name="T3" fmla="*/ 673 h 700"/>
                  <a:gd name="T4" fmla="*/ 850 w 977"/>
                  <a:gd name="T5" fmla="*/ 654 h 700"/>
                  <a:gd name="T6" fmla="*/ 880 w 977"/>
                  <a:gd name="T7" fmla="*/ 626 h 700"/>
                  <a:gd name="T8" fmla="*/ 932 w 977"/>
                  <a:gd name="T9" fmla="*/ 549 h 700"/>
                  <a:gd name="T10" fmla="*/ 977 w 977"/>
                  <a:gd name="T11" fmla="*/ 609 h 700"/>
                  <a:gd name="T12" fmla="*/ 935 w 977"/>
                  <a:gd name="T13" fmla="*/ 647 h 700"/>
                  <a:gd name="T14" fmla="*/ 887 w 977"/>
                  <a:gd name="T15" fmla="*/ 676 h 700"/>
                  <a:gd name="T16" fmla="*/ 848 w 977"/>
                  <a:gd name="T17" fmla="*/ 691 h 700"/>
                  <a:gd name="T18" fmla="*/ 807 w 977"/>
                  <a:gd name="T19" fmla="*/ 698 h 700"/>
                  <a:gd name="T20" fmla="*/ 776 w 977"/>
                  <a:gd name="T21" fmla="*/ 700 h 700"/>
                  <a:gd name="T22" fmla="*/ 729 w 977"/>
                  <a:gd name="T23" fmla="*/ 695 h 700"/>
                  <a:gd name="T24" fmla="*/ 686 w 977"/>
                  <a:gd name="T25" fmla="*/ 683 h 700"/>
                  <a:gd name="T26" fmla="*/ 647 w 977"/>
                  <a:gd name="T27" fmla="*/ 663 h 700"/>
                  <a:gd name="T28" fmla="*/ 610 w 977"/>
                  <a:gd name="T29" fmla="*/ 636 h 700"/>
                  <a:gd name="T30" fmla="*/ 546 w 977"/>
                  <a:gd name="T31" fmla="*/ 567 h 700"/>
                  <a:gd name="T32" fmla="*/ 491 w 977"/>
                  <a:gd name="T33" fmla="*/ 483 h 700"/>
                  <a:gd name="T34" fmla="*/ 427 w 977"/>
                  <a:gd name="T35" fmla="*/ 359 h 700"/>
                  <a:gd name="T36" fmla="*/ 341 w 977"/>
                  <a:gd name="T37" fmla="*/ 176 h 700"/>
                  <a:gd name="T38" fmla="*/ 297 w 977"/>
                  <a:gd name="T39" fmla="*/ 102 h 700"/>
                  <a:gd name="T40" fmla="*/ 250 w 977"/>
                  <a:gd name="T41" fmla="*/ 49 h 700"/>
                  <a:gd name="T42" fmla="*/ 223 w 977"/>
                  <a:gd name="T43" fmla="*/ 31 h 700"/>
                  <a:gd name="T44" fmla="*/ 195 w 977"/>
                  <a:gd name="T45" fmla="*/ 21 h 700"/>
                  <a:gd name="T46" fmla="*/ 175 w 977"/>
                  <a:gd name="T47" fmla="*/ 18 h 700"/>
                  <a:gd name="T48" fmla="*/ 137 w 977"/>
                  <a:gd name="T49" fmla="*/ 25 h 700"/>
                  <a:gd name="T50" fmla="*/ 102 w 977"/>
                  <a:gd name="T51" fmla="*/ 45 h 700"/>
                  <a:gd name="T52" fmla="*/ 69 w 977"/>
                  <a:gd name="T53" fmla="*/ 78 h 700"/>
                  <a:gd name="T54" fmla="*/ 39 w 977"/>
                  <a:gd name="T55" fmla="*/ 118 h 700"/>
                  <a:gd name="T56" fmla="*/ 1 w 977"/>
                  <a:gd name="T57" fmla="*/ 68 h 700"/>
                  <a:gd name="T58" fmla="*/ 39 w 977"/>
                  <a:gd name="T59" fmla="*/ 40 h 700"/>
                  <a:gd name="T60" fmla="*/ 103 w 977"/>
                  <a:gd name="T61" fmla="*/ 11 h 700"/>
                  <a:gd name="T62" fmla="*/ 176 w 977"/>
                  <a:gd name="T63" fmla="*/ 0 h 700"/>
                  <a:gd name="T64" fmla="*/ 207 w 977"/>
                  <a:gd name="T65" fmla="*/ 3 h 700"/>
                  <a:gd name="T66" fmla="*/ 251 w 977"/>
                  <a:gd name="T67" fmla="*/ 13 h 700"/>
                  <a:gd name="T68" fmla="*/ 292 w 977"/>
                  <a:gd name="T69" fmla="*/ 31 h 700"/>
                  <a:gd name="T70" fmla="*/ 329 w 977"/>
                  <a:gd name="T71" fmla="*/ 55 h 700"/>
                  <a:gd name="T72" fmla="*/ 385 w 977"/>
                  <a:gd name="T73" fmla="*/ 108 h 700"/>
                  <a:gd name="T74" fmla="*/ 443 w 977"/>
                  <a:gd name="T75" fmla="*/ 188 h 700"/>
                  <a:gd name="T76" fmla="*/ 494 w 977"/>
                  <a:gd name="T77" fmla="*/ 278 h 700"/>
                  <a:gd name="T78" fmla="*/ 611 w 977"/>
                  <a:gd name="T79" fmla="*/ 524 h 700"/>
                  <a:gd name="T80" fmla="*/ 656 w 977"/>
                  <a:gd name="T81" fmla="*/ 598 h 700"/>
                  <a:gd name="T82" fmla="*/ 703 w 977"/>
                  <a:gd name="T83" fmla="*/ 651 h 700"/>
                  <a:gd name="T84" fmla="*/ 729 w 977"/>
                  <a:gd name="T85" fmla="*/ 669 h 700"/>
                  <a:gd name="T86" fmla="*/ 757 w 977"/>
                  <a:gd name="T87" fmla="*/ 679 h 700"/>
                  <a:gd name="T88" fmla="*/ 776 w 977"/>
                  <a:gd name="T89" fmla="*/ 682 h 70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connsiteX0" fmla="*/ 7943 w 10000"/>
                  <a:gd name="connsiteY0" fmla="*/ 9743 h 10000"/>
                  <a:gd name="connsiteX1" fmla="*/ 7943 w 10000"/>
                  <a:gd name="connsiteY1" fmla="*/ 9743 h 10000"/>
                  <a:gd name="connsiteX2" fmla="*/ 8076 w 10000"/>
                  <a:gd name="connsiteY2" fmla="*/ 9743 h 10000"/>
                  <a:gd name="connsiteX3" fmla="*/ 8178 w 10000"/>
                  <a:gd name="connsiteY3" fmla="*/ 9700 h 10000"/>
                  <a:gd name="connsiteX4" fmla="*/ 8291 w 10000"/>
                  <a:gd name="connsiteY4" fmla="*/ 9657 h 10000"/>
                  <a:gd name="connsiteX5" fmla="*/ 8403 w 10000"/>
                  <a:gd name="connsiteY5" fmla="*/ 9614 h 10000"/>
                  <a:gd name="connsiteX6" fmla="*/ 8506 w 10000"/>
                  <a:gd name="connsiteY6" fmla="*/ 9529 h 10000"/>
                  <a:gd name="connsiteX7" fmla="*/ 8608 w 10000"/>
                  <a:gd name="connsiteY7" fmla="*/ 9429 h 10000"/>
                  <a:gd name="connsiteX8" fmla="*/ 8700 w 10000"/>
                  <a:gd name="connsiteY8" fmla="*/ 9343 h 10000"/>
                  <a:gd name="connsiteX9" fmla="*/ 8802 w 10000"/>
                  <a:gd name="connsiteY9" fmla="*/ 9214 h 10000"/>
                  <a:gd name="connsiteX10" fmla="*/ 8915 w 10000"/>
                  <a:gd name="connsiteY10" fmla="*/ 9086 h 10000"/>
                  <a:gd name="connsiteX11" fmla="*/ 9007 w 10000"/>
                  <a:gd name="connsiteY11" fmla="*/ 8943 h 10000"/>
                  <a:gd name="connsiteX12" fmla="*/ 9191 w 10000"/>
                  <a:gd name="connsiteY12" fmla="*/ 8614 h 10000"/>
                  <a:gd name="connsiteX13" fmla="*/ 9376 w 10000"/>
                  <a:gd name="connsiteY13" fmla="*/ 8243 h 10000"/>
                  <a:gd name="connsiteX14" fmla="*/ 9539 w 10000"/>
                  <a:gd name="connsiteY14" fmla="*/ 7843 h 10000"/>
                  <a:gd name="connsiteX15" fmla="*/ 9775 w 10000"/>
                  <a:gd name="connsiteY15" fmla="*/ 8286 h 10000"/>
                  <a:gd name="connsiteX16" fmla="*/ 10000 w 10000"/>
                  <a:gd name="connsiteY16" fmla="*/ 8700 h 10000"/>
                  <a:gd name="connsiteX17" fmla="*/ 9785 w 10000"/>
                  <a:gd name="connsiteY17" fmla="*/ 8986 h 10000"/>
                  <a:gd name="connsiteX18" fmla="*/ 9570 w 10000"/>
                  <a:gd name="connsiteY18" fmla="*/ 9243 h 10000"/>
                  <a:gd name="connsiteX19" fmla="*/ 9324 w 10000"/>
                  <a:gd name="connsiteY19" fmla="*/ 9471 h 10000"/>
                  <a:gd name="connsiteX20" fmla="*/ 9212 w 10000"/>
                  <a:gd name="connsiteY20" fmla="*/ 9557 h 10000"/>
                  <a:gd name="connsiteX21" fmla="*/ 9079 w 10000"/>
                  <a:gd name="connsiteY21" fmla="*/ 9657 h 10000"/>
                  <a:gd name="connsiteX22" fmla="*/ 8946 w 10000"/>
                  <a:gd name="connsiteY22" fmla="*/ 9743 h 10000"/>
                  <a:gd name="connsiteX23" fmla="*/ 8823 w 10000"/>
                  <a:gd name="connsiteY23" fmla="*/ 9800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4 h 10000"/>
                  <a:gd name="connsiteX35" fmla="*/ 7021 w 10000"/>
                  <a:gd name="connsiteY35" fmla="*/ 9757 h 10000"/>
                  <a:gd name="connsiteX36" fmla="*/ 6888 w 10000"/>
                  <a:gd name="connsiteY36" fmla="*/ 9657 h 10000"/>
                  <a:gd name="connsiteX37" fmla="*/ 6745 w 10000"/>
                  <a:gd name="connsiteY37" fmla="*/ 9557 h 10000"/>
                  <a:gd name="connsiteX38" fmla="*/ 6622 w 10000"/>
                  <a:gd name="connsiteY38" fmla="*/ 9471 h 10000"/>
                  <a:gd name="connsiteX39" fmla="*/ 6479 w 10000"/>
                  <a:gd name="connsiteY39" fmla="*/ 9343 h 10000"/>
                  <a:gd name="connsiteX40" fmla="*/ 6366 w 10000"/>
                  <a:gd name="connsiteY40" fmla="*/ 9229 h 10000"/>
                  <a:gd name="connsiteX41" fmla="*/ 6244 w 10000"/>
                  <a:gd name="connsiteY41" fmla="*/ 9086 h 10000"/>
                  <a:gd name="connsiteX42" fmla="*/ 6008 w 10000"/>
                  <a:gd name="connsiteY42" fmla="*/ 8786 h 10000"/>
                  <a:gd name="connsiteX43" fmla="*/ 5793 w 10000"/>
                  <a:gd name="connsiteY43" fmla="*/ 8457 h 10000"/>
                  <a:gd name="connsiteX44" fmla="*/ 5589 w 10000"/>
                  <a:gd name="connsiteY44" fmla="*/ 8100 h 10000"/>
                  <a:gd name="connsiteX45" fmla="*/ 5394 w 10000"/>
                  <a:gd name="connsiteY45" fmla="*/ 7714 h 10000"/>
                  <a:gd name="connsiteX46" fmla="*/ 5200 w 10000"/>
                  <a:gd name="connsiteY46" fmla="*/ 7314 h 10000"/>
                  <a:gd name="connsiteX47" fmla="*/ 5026 w 10000"/>
                  <a:gd name="connsiteY47" fmla="*/ 6900 h 10000"/>
                  <a:gd name="connsiteX48" fmla="*/ 4852 w 10000"/>
                  <a:gd name="connsiteY48" fmla="*/ 6471 h 10000"/>
                  <a:gd name="connsiteX49" fmla="*/ 4688 w 10000"/>
                  <a:gd name="connsiteY49" fmla="*/ 6029 h 10000"/>
                  <a:gd name="connsiteX50" fmla="*/ 4371 w 10000"/>
                  <a:gd name="connsiteY50" fmla="*/ 5129 h 10000"/>
                  <a:gd name="connsiteX51" fmla="*/ 3777 w 10000"/>
                  <a:gd name="connsiteY51" fmla="*/ 3357 h 10000"/>
                  <a:gd name="connsiteX52" fmla="*/ 3644 w 10000"/>
                  <a:gd name="connsiteY52" fmla="*/ 2914 h 10000"/>
                  <a:gd name="connsiteX53" fmla="*/ 3490 w 10000"/>
                  <a:gd name="connsiteY53" fmla="*/ 2514 h 10000"/>
                  <a:gd name="connsiteX54" fmla="*/ 3347 w 10000"/>
                  <a:gd name="connsiteY54" fmla="*/ 2157 h 10000"/>
                  <a:gd name="connsiteX55" fmla="*/ 3193 w 10000"/>
                  <a:gd name="connsiteY55" fmla="*/ 1786 h 10000"/>
                  <a:gd name="connsiteX56" fmla="*/ 3040 w 10000"/>
                  <a:gd name="connsiteY56" fmla="*/ 1457 h 10000"/>
                  <a:gd name="connsiteX57" fmla="*/ 2886 w 10000"/>
                  <a:gd name="connsiteY57" fmla="*/ 1171 h 10000"/>
                  <a:gd name="connsiteX58" fmla="*/ 2723 w 10000"/>
                  <a:gd name="connsiteY58" fmla="*/ 900 h 10000"/>
                  <a:gd name="connsiteX59" fmla="*/ 2559 w 10000"/>
                  <a:gd name="connsiteY59" fmla="*/ 700 h 10000"/>
                  <a:gd name="connsiteX60" fmla="*/ 2467 w 10000"/>
                  <a:gd name="connsiteY60" fmla="*/ 600 h 10000"/>
                  <a:gd name="connsiteX61" fmla="*/ 2375 w 10000"/>
                  <a:gd name="connsiteY61" fmla="*/ 500 h 10000"/>
                  <a:gd name="connsiteX62" fmla="*/ 2282 w 10000"/>
                  <a:gd name="connsiteY62" fmla="*/ 443 h 10000"/>
                  <a:gd name="connsiteX63" fmla="*/ 2190 w 10000"/>
                  <a:gd name="connsiteY63" fmla="*/ 371 h 10000"/>
                  <a:gd name="connsiteX64" fmla="*/ 1996 w 10000"/>
                  <a:gd name="connsiteY64" fmla="*/ 300 h 10000"/>
                  <a:gd name="connsiteX65" fmla="*/ 1894 w 10000"/>
                  <a:gd name="connsiteY65" fmla="*/ 271 h 10000"/>
                  <a:gd name="connsiteX66" fmla="*/ 1791 w 10000"/>
                  <a:gd name="connsiteY66" fmla="*/ 257 h 10000"/>
                  <a:gd name="connsiteX67" fmla="*/ 1668 w 10000"/>
                  <a:gd name="connsiteY67" fmla="*/ 271 h 10000"/>
                  <a:gd name="connsiteX68" fmla="*/ 1525 w 10000"/>
                  <a:gd name="connsiteY68" fmla="*/ 314 h 10000"/>
                  <a:gd name="connsiteX69" fmla="*/ 1402 w 10000"/>
                  <a:gd name="connsiteY69" fmla="*/ 357 h 10000"/>
                  <a:gd name="connsiteX70" fmla="*/ 1279 w 10000"/>
                  <a:gd name="connsiteY70" fmla="*/ 443 h 10000"/>
                  <a:gd name="connsiteX71" fmla="*/ 1157 w 10000"/>
                  <a:gd name="connsiteY71" fmla="*/ 529 h 10000"/>
                  <a:gd name="connsiteX72" fmla="*/ 1044 w 10000"/>
                  <a:gd name="connsiteY72" fmla="*/ 643 h 10000"/>
                  <a:gd name="connsiteX73" fmla="*/ 931 w 10000"/>
                  <a:gd name="connsiteY73" fmla="*/ 786 h 10000"/>
                  <a:gd name="connsiteX74" fmla="*/ 809 w 10000"/>
                  <a:gd name="connsiteY74" fmla="*/ 929 h 10000"/>
                  <a:gd name="connsiteX75" fmla="*/ 706 w 10000"/>
                  <a:gd name="connsiteY75" fmla="*/ 1114 h 10000"/>
                  <a:gd name="connsiteX76" fmla="*/ 604 w 10000"/>
                  <a:gd name="connsiteY76" fmla="*/ 1286 h 10000"/>
                  <a:gd name="connsiteX77" fmla="*/ 491 w 10000"/>
                  <a:gd name="connsiteY77" fmla="*/ 1486 h 10000"/>
                  <a:gd name="connsiteX78" fmla="*/ 399 w 10000"/>
                  <a:gd name="connsiteY78" fmla="*/ 1686 h 10000"/>
                  <a:gd name="connsiteX79" fmla="*/ 194 w 10000"/>
                  <a:gd name="connsiteY79" fmla="*/ 2157 h 10000"/>
                  <a:gd name="connsiteX80" fmla="*/ 0 w 10000"/>
                  <a:gd name="connsiteY80" fmla="*/ 2643 h 10000"/>
                  <a:gd name="connsiteX81" fmla="*/ 10 w 10000"/>
                  <a:gd name="connsiteY81" fmla="*/ 971 h 10000"/>
                  <a:gd name="connsiteX82" fmla="*/ 205 w 10000"/>
                  <a:gd name="connsiteY82" fmla="*/ 757 h 10000"/>
                  <a:gd name="connsiteX83" fmla="*/ 399 w 10000"/>
                  <a:gd name="connsiteY83" fmla="*/ 571 h 10000"/>
                  <a:gd name="connsiteX84" fmla="*/ 604 w 10000"/>
                  <a:gd name="connsiteY84" fmla="*/ 386 h 10000"/>
                  <a:gd name="connsiteX85" fmla="*/ 819 w 10000"/>
                  <a:gd name="connsiteY85" fmla="*/ 257 h 10000"/>
                  <a:gd name="connsiteX86" fmla="*/ 1054 w 10000"/>
                  <a:gd name="connsiteY86" fmla="*/ 157 h 10000"/>
                  <a:gd name="connsiteX87" fmla="*/ 1300 w 10000"/>
                  <a:gd name="connsiteY87" fmla="*/ 71 h 10000"/>
                  <a:gd name="connsiteX88" fmla="*/ 1535 w 10000"/>
                  <a:gd name="connsiteY88" fmla="*/ 29 h 10000"/>
                  <a:gd name="connsiteX89" fmla="*/ 1801 w 10000"/>
                  <a:gd name="connsiteY89" fmla="*/ 0 h 10000"/>
                  <a:gd name="connsiteX90" fmla="*/ 1965 w 10000"/>
                  <a:gd name="connsiteY90" fmla="*/ 0 h 10000"/>
                  <a:gd name="connsiteX91" fmla="*/ 2119 w 10000"/>
                  <a:gd name="connsiteY91" fmla="*/ 43 h 10000"/>
                  <a:gd name="connsiteX92" fmla="*/ 2272 w 10000"/>
                  <a:gd name="connsiteY92" fmla="*/ 71 h 10000"/>
                  <a:gd name="connsiteX93" fmla="*/ 2426 w 10000"/>
                  <a:gd name="connsiteY93" fmla="*/ 114 h 10000"/>
                  <a:gd name="connsiteX94" fmla="*/ 2569 w 10000"/>
                  <a:gd name="connsiteY94" fmla="*/ 186 h 10000"/>
                  <a:gd name="connsiteX95" fmla="*/ 2712 w 10000"/>
                  <a:gd name="connsiteY95" fmla="*/ 257 h 10000"/>
                  <a:gd name="connsiteX96" fmla="*/ 2845 w 10000"/>
                  <a:gd name="connsiteY96" fmla="*/ 343 h 10000"/>
                  <a:gd name="connsiteX97" fmla="*/ 2989 w 10000"/>
                  <a:gd name="connsiteY97" fmla="*/ 443 h 10000"/>
                  <a:gd name="connsiteX98" fmla="*/ 3112 w 10000"/>
                  <a:gd name="connsiteY98" fmla="*/ 529 h 10000"/>
                  <a:gd name="connsiteX99" fmla="*/ 3234 w 10000"/>
                  <a:gd name="connsiteY99" fmla="*/ 657 h 10000"/>
                  <a:gd name="connsiteX100" fmla="*/ 3367 w 10000"/>
                  <a:gd name="connsiteY100" fmla="*/ 786 h 10000"/>
                  <a:gd name="connsiteX101" fmla="*/ 3490 w 10000"/>
                  <a:gd name="connsiteY101" fmla="*/ 914 h 10000"/>
                  <a:gd name="connsiteX102" fmla="*/ 3726 w 10000"/>
                  <a:gd name="connsiteY102" fmla="*/ 1200 h 10000"/>
                  <a:gd name="connsiteX103" fmla="*/ 3941 w 10000"/>
                  <a:gd name="connsiteY103" fmla="*/ 1543 h 10000"/>
                  <a:gd name="connsiteX104" fmla="*/ 4145 w 10000"/>
                  <a:gd name="connsiteY104" fmla="*/ 1900 h 10000"/>
                  <a:gd name="connsiteX105" fmla="*/ 4340 w 10000"/>
                  <a:gd name="connsiteY105" fmla="*/ 2286 h 10000"/>
                  <a:gd name="connsiteX106" fmla="*/ 4534 w 10000"/>
                  <a:gd name="connsiteY106" fmla="*/ 2686 h 10000"/>
                  <a:gd name="connsiteX107" fmla="*/ 4708 w 10000"/>
                  <a:gd name="connsiteY107" fmla="*/ 3100 h 10000"/>
                  <a:gd name="connsiteX108" fmla="*/ 4893 w 10000"/>
                  <a:gd name="connsiteY108" fmla="*/ 3529 h 10000"/>
                  <a:gd name="connsiteX109" fmla="*/ 5056 w 10000"/>
                  <a:gd name="connsiteY109" fmla="*/ 3971 h 10000"/>
                  <a:gd name="connsiteX110" fmla="*/ 5363 w 10000"/>
                  <a:gd name="connsiteY110" fmla="*/ 4871 h 10000"/>
                  <a:gd name="connsiteX111" fmla="*/ 5967 w 10000"/>
                  <a:gd name="connsiteY111" fmla="*/ 6657 h 10000"/>
                  <a:gd name="connsiteX112" fmla="*/ 6254 w 10000"/>
                  <a:gd name="connsiteY112" fmla="*/ 7486 h 10000"/>
                  <a:gd name="connsiteX113" fmla="*/ 6407 w 10000"/>
                  <a:gd name="connsiteY113" fmla="*/ 7843 h 10000"/>
                  <a:gd name="connsiteX114" fmla="*/ 6551 w 10000"/>
                  <a:gd name="connsiteY114" fmla="*/ 8214 h 10000"/>
                  <a:gd name="connsiteX115" fmla="*/ 6714 w 10000"/>
                  <a:gd name="connsiteY115" fmla="*/ 8543 h 10000"/>
                  <a:gd name="connsiteX116" fmla="*/ 6868 w 10000"/>
                  <a:gd name="connsiteY116" fmla="*/ 8829 h 10000"/>
                  <a:gd name="connsiteX117" fmla="*/ 7021 w 10000"/>
                  <a:gd name="connsiteY117" fmla="*/ 9100 h 10000"/>
                  <a:gd name="connsiteX118" fmla="*/ 7195 w 10000"/>
                  <a:gd name="connsiteY118" fmla="*/ 9300 h 10000"/>
                  <a:gd name="connsiteX119" fmla="*/ 7288 w 10000"/>
                  <a:gd name="connsiteY119" fmla="*/ 9400 h 10000"/>
                  <a:gd name="connsiteX120" fmla="*/ 7369 w 10000"/>
                  <a:gd name="connsiteY120" fmla="*/ 9500 h 10000"/>
                  <a:gd name="connsiteX121" fmla="*/ 7462 w 10000"/>
                  <a:gd name="connsiteY121" fmla="*/ 9557 h 10000"/>
                  <a:gd name="connsiteX122" fmla="*/ 7554 w 10000"/>
                  <a:gd name="connsiteY122" fmla="*/ 9629 h 10000"/>
                  <a:gd name="connsiteX123" fmla="*/ 7646 w 10000"/>
                  <a:gd name="connsiteY123" fmla="*/ 9671 h 10000"/>
                  <a:gd name="connsiteX124" fmla="*/ 7748 w 10000"/>
                  <a:gd name="connsiteY124" fmla="*/ 9700 h 10000"/>
                  <a:gd name="connsiteX125" fmla="*/ 7851 w 10000"/>
                  <a:gd name="connsiteY125" fmla="*/ 9743 h 10000"/>
                  <a:gd name="connsiteX126" fmla="*/ 7943 w 10000"/>
                  <a:gd name="connsiteY126" fmla="*/ 9743 h 10000"/>
                  <a:gd name="connsiteX0" fmla="*/ 7943 w 10000"/>
                  <a:gd name="connsiteY0" fmla="*/ 9743 h 10000"/>
                  <a:gd name="connsiteX1" fmla="*/ 7943 w 10000"/>
                  <a:gd name="connsiteY1" fmla="*/ 9743 h 10000"/>
                  <a:gd name="connsiteX2" fmla="*/ 8076 w 10000"/>
                  <a:gd name="connsiteY2" fmla="*/ 9743 h 10000"/>
                  <a:gd name="connsiteX3" fmla="*/ 8178 w 10000"/>
                  <a:gd name="connsiteY3" fmla="*/ 9700 h 10000"/>
                  <a:gd name="connsiteX4" fmla="*/ 8291 w 10000"/>
                  <a:gd name="connsiteY4" fmla="*/ 9657 h 10000"/>
                  <a:gd name="connsiteX5" fmla="*/ 8403 w 10000"/>
                  <a:gd name="connsiteY5" fmla="*/ 9614 h 10000"/>
                  <a:gd name="connsiteX6" fmla="*/ 8506 w 10000"/>
                  <a:gd name="connsiteY6" fmla="*/ 9529 h 10000"/>
                  <a:gd name="connsiteX7" fmla="*/ 8608 w 10000"/>
                  <a:gd name="connsiteY7" fmla="*/ 9429 h 10000"/>
                  <a:gd name="connsiteX8" fmla="*/ 8700 w 10000"/>
                  <a:gd name="connsiteY8" fmla="*/ 9343 h 10000"/>
                  <a:gd name="connsiteX9" fmla="*/ 8802 w 10000"/>
                  <a:gd name="connsiteY9" fmla="*/ 9214 h 10000"/>
                  <a:gd name="connsiteX10" fmla="*/ 8915 w 10000"/>
                  <a:gd name="connsiteY10" fmla="*/ 9086 h 10000"/>
                  <a:gd name="connsiteX11" fmla="*/ 9007 w 10000"/>
                  <a:gd name="connsiteY11" fmla="*/ 8943 h 10000"/>
                  <a:gd name="connsiteX12" fmla="*/ 9191 w 10000"/>
                  <a:gd name="connsiteY12" fmla="*/ 8614 h 10000"/>
                  <a:gd name="connsiteX13" fmla="*/ 9376 w 10000"/>
                  <a:gd name="connsiteY13" fmla="*/ 8243 h 10000"/>
                  <a:gd name="connsiteX14" fmla="*/ 9539 w 10000"/>
                  <a:gd name="connsiteY14" fmla="*/ 7843 h 10000"/>
                  <a:gd name="connsiteX15" fmla="*/ 9775 w 10000"/>
                  <a:gd name="connsiteY15" fmla="*/ 8286 h 10000"/>
                  <a:gd name="connsiteX16" fmla="*/ 10000 w 10000"/>
                  <a:gd name="connsiteY16" fmla="*/ 8700 h 10000"/>
                  <a:gd name="connsiteX17" fmla="*/ 9785 w 10000"/>
                  <a:gd name="connsiteY17" fmla="*/ 8986 h 10000"/>
                  <a:gd name="connsiteX18" fmla="*/ 9570 w 10000"/>
                  <a:gd name="connsiteY18" fmla="*/ 9243 h 10000"/>
                  <a:gd name="connsiteX19" fmla="*/ 9324 w 10000"/>
                  <a:gd name="connsiteY19" fmla="*/ 9471 h 10000"/>
                  <a:gd name="connsiteX20" fmla="*/ 9212 w 10000"/>
                  <a:gd name="connsiteY20" fmla="*/ 9557 h 10000"/>
                  <a:gd name="connsiteX21" fmla="*/ 9079 w 10000"/>
                  <a:gd name="connsiteY21" fmla="*/ 9657 h 10000"/>
                  <a:gd name="connsiteX22" fmla="*/ 8946 w 10000"/>
                  <a:gd name="connsiteY22" fmla="*/ 9743 h 10000"/>
                  <a:gd name="connsiteX23" fmla="*/ 8823 w 10000"/>
                  <a:gd name="connsiteY23" fmla="*/ 9800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4 h 10000"/>
                  <a:gd name="connsiteX35" fmla="*/ 7021 w 10000"/>
                  <a:gd name="connsiteY35" fmla="*/ 9757 h 10000"/>
                  <a:gd name="connsiteX36" fmla="*/ 6888 w 10000"/>
                  <a:gd name="connsiteY36" fmla="*/ 9657 h 10000"/>
                  <a:gd name="connsiteX37" fmla="*/ 6745 w 10000"/>
                  <a:gd name="connsiteY37" fmla="*/ 9557 h 10000"/>
                  <a:gd name="connsiteX38" fmla="*/ 6622 w 10000"/>
                  <a:gd name="connsiteY38" fmla="*/ 9471 h 10000"/>
                  <a:gd name="connsiteX39" fmla="*/ 6479 w 10000"/>
                  <a:gd name="connsiteY39" fmla="*/ 9343 h 10000"/>
                  <a:gd name="connsiteX40" fmla="*/ 6366 w 10000"/>
                  <a:gd name="connsiteY40" fmla="*/ 9229 h 10000"/>
                  <a:gd name="connsiteX41" fmla="*/ 6244 w 10000"/>
                  <a:gd name="connsiteY41" fmla="*/ 9086 h 10000"/>
                  <a:gd name="connsiteX42" fmla="*/ 6008 w 10000"/>
                  <a:gd name="connsiteY42" fmla="*/ 8786 h 10000"/>
                  <a:gd name="connsiteX43" fmla="*/ 5793 w 10000"/>
                  <a:gd name="connsiteY43" fmla="*/ 8457 h 10000"/>
                  <a:gd name="connsiteX44" fmla="*/ 5589 w 10000"/>
                  <a:gd name="connsiteY44" fmla="*/ 8100 h 10000"/>
                  <a:gd name="connsiteX45" fmla="*/ 5394 w 10000"/>
                  <a:gd name="connsiteY45" fmla="*/ 7714 h 10000"/>
                  <a:gd name="connsiteX46" fmla="*/ 5200 w 10000"/>
                  <a:gd name="connsiteY46" fmla="*/ 7314 h 10000"/>
                  <a:gd name="connsiteX47" fmla="*/ 5026 w 10000"/>
                  <a:gd name="connsiteY47" fmla="*/ 6900 h 10000"/>
                  <a:gd name="connsiteX48" fmla="*/ 4852 w 10000"/>
                  <a:gd name="connsiteY48" fmla="*/ 6471 h 10000"/>
                  <a:gd name="connsiteX49" fmla="*/ 4688 w 10000"/>
                  <a:gd name="connsiteY49" fmla="*/ 6029 h 10000"/>
                  <a:gd name="connsiteX50" fmla="*/ 4371 w 10000"/>
                  <a:gd name="connsiteY50" fmla="*/ 5129 h 10000"/>
                  <a:gd name="connsiteX51" fmla="*/ 3777 w 10000"/>
                  <a:gd name="connsiteY51" fmla="*/ 3357 h 10000"/>
                  <a:gd name="connsiteX52" fmla="*/ 3644 w 10000"/>
                  <a:gd name="connsiteY52" fmla="*/ 2914 h 10000"/>
                  <a:gd name="connsiteX53" fmla="*/ 3490 w 10000"/>
                  <a:gd name="connsiteY53" fmla="*/ 2514 h 10000"/>
                  <a:gd name="connsiteX54" fmla="*/ 3347 w 10000"/>
                  <a:gd name="connsiteY54" fmla="*/ 2157 h 10000"/>
                  <a:gd name="connsiteX55" fmla="*/ 3193 w 10000"/>
                  <a:gd name="connsiteY55" fmla="*/ 1786 h 10000"/>
                  <a:gd name="connsiteX56" fmla="*/ 3040 w 10000"/>
                  <a:gd name="connsiteY56" fmla="*/ 1457 h 10000"/>
                  <a:gd name="connsiteX57" fmla="*/ 2886 w 10000"/>
                  <a:gd name="connsiteY57" fmla="*/ 1171 h 10000"/>
                  <a:gd name="connsiteX58" fmla="*/ 2723 w 10000"/>
                  <a:gd name="connsiteY58" fmla="*/ 900 h 10000"/>
                  <a:gd name="connsiteX59" fmla="*/ 2559 w 10000"/>
                  <a:gd name="connsiteY59" fmla="*/ 700 h 10000"/>
                  <a:gd name="connsiteX60" fmla="*/ 2467 w 10000"/>
                  <a:gd name="connsiteY60" fmla="*/ 600 h 10000"/>
                  <a:gd name="connsiteX61" fmla="*/ 2375 w 10000"/>
                  <a:gd name="connsiteY61" fmla="*/ 500 h 10000"/>
                  <a:gd name="connsiteX62" fmla="*/ 2282 w 10000"/>
                  <a:gd name="connsiteY62" fmla="*/ 443 h 10000"/>
                  <a:gd name="connsiteX63" fmla="*/ 2190 w 10000"/>
                  <a:gd name="connsiteY63" fmla="*/ 371 h 10000"/>
                  <a:gd name="connsiteX64" fmla="*/ 1996 w 10000"/>
                  <a:gd name="connsiteY64" fmla="*/ 300 h 10000"/>
                  <a:gd name="connsiteX65" fmla="*/ 1791 w 10000"/>
                  <a:gd name="connsiteY65" fmla="*/ 257 h 10000"/>
                  <a:gd name="connsiteX66" fmla="*/ 1668 w 10000"/>
                  <a:gd name="connsiteY66" fmla="*/ 271 h 10000"/>
                  <a:gd name="connsiteX67" fmla="*/ 1525 w 10000"/>
                  <a:gd name="connsiteY67" fmla="*/ 314 h 10000"/>
                  <a:gd name="connsiteX68" fmla="*/ 1402 w 10000"/>
                  <a:gd name="connsiteY68" fmla="*/ 357 h 10000"/>
                  <a:gd name="connsiteX69" fmla="*/ 1279 w 10000"/>
                  <a:gd name="connsiteY69" fmla="*/ 443 h 10000"/>
                  <a:gd name="connsiteX70" fmla="*/ 1157 w 10000"/>
                  <a:gd name="connsiteY70" fmla="*/ 529 h 10000"/>
                  <a:gd name="connsiteX71" fmla="*/ 1044 w 10000"/>
                  <a:gd name="connsiteY71" fmla="*/ 643 h 10000"/>
                  <a:gd name="connsiteX72" fmla="*/ 931 w 10000"/>
                  <a:gd name="connsiteY72" fmla="*/ 786 h 10000"/>
                  <a:gd name="connsiteX73" fmla="*/ 809 w 10000"/>
                  <a:gd name="connsiteY73" fmla="*/ 929 h 10000"/>
                  <a:gd name="connsiteX74" fmla="*/ 706 w 10000"/>
                  <a:gd name="connsiteY74" fmla="*/ 1114 h 10000"/>
                  <a:gd name="connsiteX75" fmla="*/ 604 w 10000"/>
                  <a:gd name="connsiteY75" fmla="*/ 1286 h 10000"/>
                  <a:gd name="connsiteX76" fmla="*/ 491 w 10000"/>
                  <a:gd name="connsiteY76" fmla="*/ 1486 h 10000"/>
                  <a:gd name="connsiteX77" fmla="*/ 399 w 10000"/>
                  <a:gd name="connsiteY77" fmla="*/ 1686 h 10000"/>
                  <a:gd name="connsiteX78" fmla="*/ 194 w 10000"/>
                  <a:gd name="connsiteY78" fmla="*/ 2157 h 10000"/>
                  <a:gd name="connsiteX79" fmla="*/ 0 w 10000"/>
                  <a:gd name="connsiteY79" fmla="*/ 2643 h 10000"/>
                  <a:gd name="connsiteX80" fmla="*/ 10 w 10000"/>
                  <a:gd name="connsiteY80" fmla="*/ 971 h 10000"/>
                  <a:gd name="connsiteX81" fmla="*/ 205 w 10000"/>
                  <a:gd name="connsiteY81" fmla="*/ 757 h 10000"/>
                  <a:gd name="connsiteX82" fmla="*/ 399 w 10000"/>
                  <a:gd name="connsiteY82" fmla="*/ 571 h 10000"/>
                  <a:gd name="connsiteX83" fmla="*/ 604 w 10000"/>
                  <a:gd name="connsiteY83" fmla="*/ 386 h 10000"/>
                  <a:gd name="connsiteX84" fmla="*/ 819 w 10000"/>
                  <a:gd name="connsiteY84" fmla="*/ 257 h 10000"/>
                  <a:gd name="connsiteX85" fmla="*/ 1054 w 10000"/>
                  <a:gd name="connsiteY85" fmla="*/ 157 h 10000"/>
                  <a:gd name="connsiteX86" fmla="*/ 1300 w 10000"/>
                  <a:gd name="connsiteY86" fmla="*/ 71 h 10000"/>
                  <a:gd name="connsiteX87" fmla="*/ 1535 w 10000"/>
                  <a:gd name="connsiteY87" fmla="*/ 29 h 10000"/>
                  <a:gd name="connsiteX88" fmla="*/ 1801 w 10000"/>
                  <a:gd name="connsiteY88" fmla="*/ 0 h 10000"/>
                  <a:gd name="connsiteX89" fmla="*/ 1965 w 10000"/>
                  <a:gd name="connsiteY89" fmla="*/ 0 h 10000"/>
                  <a:gd name="connsiteX90" fmla="*/ 2119 w 10000"/>
                  <a:gd name="connsiteY90" fmla="*/ 43 h 10000"/>
                  <a:gd name="connsiteX91" fmla="*/ 2272 w 10000"/>
                  <a:gd name="connsiteY91" fmla="*/ 71 h 10000"/>
                  <a:gd name="connsiteX92" fmla="*/ 2426 w 10000"/>
                  <a:gd name="connsiteY92" fmla="*/ 114 h 10000"/>
                  <a:gd name="connsiteX93" fmla="*/ 2569 w 10000"/>
                  <a:gd name="connsiteY93" fmla="*/ 186 h 10000"/>
                  <a:gd name="connsiteX94" fmla="*/ 2712 w 10000"/>
                  <a:gd name="connsiteY94" fmla="*/ 257 h 10000"/>
                  <a:gd name="connsiteX95" fmla="*/ 2845 w 10000"/>
                  <a:gd name="connsiteY95" fmla="*/ 343 h 10000"/>
                  <a:gd name="connsiteX96" fmla="*/ 2989 w 10000"/>
                  <a:gd name="connsiteY96" fmla="*/ 443 h 10000"/>
                  <a:gd name="connsiteX97" fmla="*/ 3112 w 10000"/>
                  <a:gd name="connsiteY97" fmla="*/ 529 h 10000"/>
                  <a:gd name="connsiteX98" fmla="*/ 3234 w 10000"/>
                  <a:gd name="connsiteY98" fmla="*/ 657 h 10000"/>
                  <a:gd name="connsiteX99" fmla="*/ 3367 w 10000"/>
                  <a:gd name="connsiteY99" fmla="*/ 786 h 10000"/>
                  <a:gd name="connsiteX100" fmla="*/ 3490 w 10000"/>
                  <a:gd name="connsiteY100" fmla="*/ 914 h 10000"/>
                  <a:gd name="connsiteX101" fmla="*/ 3726 w 10000"/>
                  <a:gd name="connsiteY101" fmla="*/ 1200 h 10000"/>
                  <a:gd name="connsiteX102" fmla="*/ 3941 w 10000"/>
                  <a:gd name="connsiteY102" fmla="*/ 1543 h 10000"/>
                  <a:gd name="connsiteX103" fmla="*/ 4145 w 10000"/>
                  <a:gd name="connsiteY103" fmla="*/ 1900 h 10000"/>
                  <a:gd name="connsiteX104" fmla="*/ 4340 w 10000"/>
                  <a:gd name="connsiteY104" fmla="*/ 2286 h 10000"/>
                  <a:gd name="connsiteX105" fmla="*/ 4534 w 10000"/>
                  <a:gd name="connsiteY105" fmla="*/ 2686 h 10000"/>
                  <a:gd name="connsiteX106" fmla="*/ 4708 w 10000"/>
                  <a:gd name="connsiteY106" fmla="*/ 3100 h 10000"/>
                  <a:gd name="connsiteX107" fmla="*/ 4893 w 10000"/>
                  <a:gd name="connsiteY107" fmla="*/ 3529 h 10000"/>
                  <a:gd name="connsiteX108" fmla="*/ 5056 w 10000"/>
                  <a:gd name="connsiteY108" fmla="*/ 3971 h 10000"/>
                  <a:gd name="connsiteX109" fmla="*/ 5363 w 10000"/>
                  <a:gd name="connsiteY109" fmla="*/ 4871 h 10000"/>
                  <a:gd name="connsiteX110" fmla="*/ 5967 w 10000"/>
                  <a:gd name="connsiteY110" fmla="*/ 6657 h 10000"/>
                  <a:gd name="connsiteX111" fmla="*/ 6254 w 10000"/>
                  <a:gd name="connsiteY111" fmla="*/ 7486 h 10000"/>
                  <a:gd name="connsiteX112" fmla="*/ 6407 w 10000"/>
                  <a:gd name="connsiteY112" fmla="*/ 7843 h 10000"/>
                  <a:gd name="connsiteX113" fmla="*/ 6551 w 10000"/>
                  <a:gd name="connsiteY113" fmla="*/ 8214 h 10000"/>
                  <a:gd name="connsiteX114" fmla="*/ 6714 w 10000"/>
                  <a:gd name="connsiteY114" fmla="*/ 8543 h 10000"/>
                  <a:gd name="connsiteX115" fmla="*/ 6868 w 10000"/>
                  <a:gd name="connsiteY115" fmla="*/ 8829 h 10000"/>
                  <a:gd name="connsiteX116" fmla="*/ 7021 w 10000"/>
                  <a:gd name="connsiteY116" fmla="*/ 9100 h 10000"/>
                  <a:gd name="connsiteX117" fmla="*/ 7195 w 10000"/>
                  <a:gd name="connsiteY117" fmla="*/ 9300 h 10000"/>
                  <a:gd name="connsiteX118" fmla="*/ 7288 w 10000"/>
                  <a:gd name="connsiteY118" fmla="*/ 9400 h 10000"/>
                  <a:gd name="connsiteX119" fmla="*/ 7369 w 10000"/>
                  <a:gd name="connsiteY119" fmla="*/ 9500 h 10000"/>
                  <a:gd name="connsiteX120" fmla="*/ 7462 w 10000"/>
                  <a:gd name="connsiteY120" fmla="*/ 9557 h 10000"/>
                  <a:gd name="connsiteX121" fmla="*/ 7554 w 10000"/>
                  <a:gd name="connsiteY121" fmla="*/ 9629 h 10000"/>
                  <a:gd name="connsiteX122" fmla="*/ 7646 w 10000"/>
                  <a:gd name="connsiteY122" fmla="*/ 9671 h 10000"/>
                  <a:gd name="connsiteX123" fmla="*/ 7748 w 10000"/>
                  <a:gd name="connsiteY123" fmla="*/ 9700 h 10000"/>
                  <a:gd name="connsiteX124" fmla="*/ 7851 w 10000"/>
                  <a:gd name="connsiteY124" fmla="*/ 9743 h 10000"/>
                  <a:gd name="connsiteX125" fmla="*/ 7943 w 10000"/>
                  <a:gd name="connsiteY125" fmla="*/ 9743 h 10000"/>
                  <a:gd name="connsiteX0" fmla="*/ 7943 w 10000"/>
                  <a:gd name="connsiteY0" fmla="*/ 9743 h 10000"/>
                  <a:gd name="connsiteX1" fmla="*/ 7943 w 10000"/>
                  <a:gd name="connsiteY1" fmla="*/ 9743 h 10000"/>
                  <a:gd name="connsiteX2" fmla="*/ 8076 w 10000"/>
                  <a:gd name="connsiteY2" fmla="*/ 9743 h 10000"/>
                  <a:gd name="connsiteX3" fmla="*/ 8178 w 10000"/>
                  <a:gd name="connsiteY3" fmla="*/ 9700 h 10000"/>
                  <a:gd name="connsiteX4" fmla="*/ 8291 w 10000"/>
                  <a:gd name="connsiteY4" fmla="*/ 9657 h 10000"/>
                  <a:gd name="connsiteX5" fmla="*/ 8403 w 10000"/>
                  <a:gd name="connsiteY5" fmla="*/ 9614 h 10000"/>
                  <a:gd name="connsiteX6" fmla="*/ 8506 w 10000"/>
                  <a:gd name="connsiteY6" fmla="*/ 9529 h 10000"/>
                  <a:gd name="connsiteX7" fmla="*/ 8608 w 10000"/>
                  <a:gd name="connsiteY7" fmla="*/ 9429 h 10000"/>
                  <a:gd name="connsiteX8" fmla="*/ 8700 w 10000"/>
                  <a:gd name="connsiteY8" fmla="*/ 9343 h 10000"/>
                  <a:gd name="connsiteX9" fmla="*/ 8802 w 10000"/>
                  <a:gd name="connsiteY9" fmla="*/ 9214 h 10000"/>
                  <a:gd name="connsiteX10" fmla="*/ 8915 w 10000"/>
                  <a:gd name="connsiteY10" fmla="*/ 9086 h 10000"/>
                  <a:gd name="connsiteX11" fmla="*/ 9007 w 10000"/>
                  <a:gd name="connsiteY11" fmla="*/ 8943 h 10000"/>
                  <a:gd name="connsiteX12" fmla="*/ 9191 w 10000"/>
                  <a:gd name="connsiteY12" fmla="*/ 8614 h 10000"/>
                  <a:gd name="connsiteX13" fmla="*/ 9376 w 10000"/>
                  <a:gd name="connsiteY13" fmla="*/ 8243 h 10000"/>
                  <a:gd name="connsiteX14" fmla="*/ 9539 w 10000"/>
                  <a:gd name="connsiteY14" fmla="*/ 7843 h 10000"/>
                  <a:gd name="connsiteX15" fmla="*/ 9775 w 10000"/>
                  <a:gd name="connsiteY15" fmla="*/ 8286 h 10000"/>
                  <a:gd name="connsiteX16" fmla="*/ 10000 w 10000"/>
                  <a:gd name="connsiteY16" fmla="*/ 8700 h 10000"/>
                  <a:gd name="connsiteX17" fmla="*/ 9785 w 10000"/>
                  <a:gd name="connsiteY17" fmla="*/ 8986 h 10000"/>
                  <a:gd name="connsiteX18" fmla="*/ 9570 w 10000"/>
                  <a:gd name="connsiteY18" fmla="*/ 9243 h 10000"/>
                  <a:gd name="connsiteX19" fmla="*/ 9324 w 10000"/>
                  <a:gd name="connsiteY19" fmla="*/ 9471 h 10000"/>
                  <a:gd name="connsiteX20" fmla="*/ 9212 w 10000"/>
                  <a:gd name="connsiteY20" fmla="*/ 9557 h 10000"/>
                  <a:gd name="connsiteX21" fmla="*/ 9079 w 10000"/>
                  <a:gd name="connsiteY21" fmla="*/ 9657 h 10000"/>
                  <a:gd name="connsiteX22" fmla="*/ 8946 w 10000"/>
                  <a:gd name="connsiteY22" fmla="*/ 9743 h 10000"/>
                  <a:gd name="connsiteX23" fmla="*/ 8823 w 10000"/>
                  <a:gd name="connsiteY23" fmla="*/ 9800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4 h 10000"/>
                  <a:gd name="connsiteX35" fmla="*/ 7021 w 10000"/>
                  <a:gd name="connsiteY35" fmla="*/ 9757 h 10000"/>
                  <a:gd name="connsiteX36" fmla="*/ 6888 w 10000"/>
                  <a:gd name="connsiteY36" fmla="*/ 9657 h 10000"/>
                  <a:gd name="connsiteX37" fmla="*/ 6745 w 10000"/>
                  <a:gd name="connsiteY37" fmla="*/ 9557 h 10000"/>
                  <a:gd name="connsiteX38" fmla="*/ 6622 w 10000"/>
                  <a:gd name="connsiteY38" fmla="*/ 9471 h 10000"/>
                  <a:gd name="connsiteX39" fmla="*/ 6479 w 10000"/>
                  <a:gd name="connsiteY39" fmla="*/ 9343 h 10000"/>
                  <a:gd name="connsiteX40" fmla="*/ 6366 w 10000"/>
                  <a:gd name="connsiteY40" fmla="*/ 9229 h 10000"/>
                  <a:gd name="connsiteX41" fmla="*/ 6244 w 10000"/>
                  <a:gd name="connsiteY41" fmla="*/ 9086 h 10000"/>
                  <a:gd name="connsiteX42" fmla="*/ 6008 w 10000"/>
                  <a:gd name="connsiteY42" fmla="*/ 8786 h 10000"/>
                  <a:gd name="connsiteX43" fmla="*/ 5793 w 10000"/>
                  <a:gd name="connsiteY43" fmla="*/ 8457 h 10000"/>
                  <a:gd name="connsiteX44" fmla="*/ 5589 w 10000"/>
                  <a:gd name="connsiteY44" fmla="*/ 8100 h 10000"/>
                  <a:gd name="connsiteX45" fmla="*/ 5394 w 10000"/>
                  <a:gd name="connsiteY45" fmla="*/ 7714 h 10000"/>
                  <a:gd name="connsiteX46" fmla="*/ 5200 w 10000"/>
                  <a:gd name="connsiteY46" fmla="*/ 7314 h 10000"/>
                  <a:gd name="connsiteX47" fmla="*/ 5026 w 10000"/>
                  <a:gd name="connsiteY47" fmla="*/ 6900 h 10000"/>
                  <a:gd name="connsiteX48" fmla="*/ 4852 w 10000"/>
                  <a:gd name="connsiteY48" fmla="*/ 6471 h 10000"/>
                  <a:gd name="connsiteX49" fmla="*/ 4688 w 10000"/>
                  <a:gd name="connsiteY49" fmla="*/ 6029 h 10000"/>
                  <a:gd name="connsiteX50" fmla="*/ 4371 w 10000"/>
                  <a:gd name="connsiteY50" fmla="*/ 5129 h 10000"/>
                  <a:gd name="connsiteX51" fmla="*/ 3777 w 10000"/>
                  <a:gd name="connsiteY51" fmla="*/ 3357 h 10000"/>
                  <a:gd name="connsiteX52" fmla="*/ 3644 w 10000"/>
                  <a:gd name="connsiteY52" fmla="*/ 2914 h 10000"/>
                  <a:gd name="connsiteX53" fmla="*/ 3490 w 10000"/>
                  <a:gd name="connsiteY53" fmla="*/ 2514 h 10000"/>
                  <a:gd name="connsiteX54" fmla="*/ 3347 w 10000"/>
                  <a:gd name="connsiteY54" fmla="*/ 2157 h 10000"/>
                  <a:gd name="connsiteX55" fmla="*/ 3193 w 10000"/>
                  <a:gd name="connsiteY55" fmla="*/ 1786 h 10000"/>
                  <a:gd name="connsiteX56" fmla="*/ 3040 w 10000"/>
                  <a:gd name="connsiteY56" fmla="*/ 1457 h 10000"/>
                  <a:gd name="connsiteX57" fmla="*/ 2886 w 10000"/>
                  <a:gd name="connsiteY57" fmla="*/ 1171 h 10000"/>
                  <a:gd name="connsiteX58" fmla="*/ 2723 w 10000"/>
                  <a:gd name="connsiteY58" fmla="*/ 900 h 10000"/>
                  <a:gd name="connsiteX59" fmla="*/ 2559 w 10000"/>
                  <a:gd name="connsiteY59" fmla="*/ 700 h 10000"/>
                  <a:gd name="connsiteX60" fmla="*/ 2467 w 10000"/>
                  <a:gd name="connsiteY60" fmla="*/ 600 h 10000"/>
                  <a:gd name="connsiteX61" fmla="*/ 2375 w 10000"/>
                  <a:gd name="connsiteY61" fmla="*/ 500 h 10000"/>
                  <a:gd name="connsiteX62" fmla="*/ 2282 w 10000"/>
                  <a:gd name="connsiteY62" fmla="*/ 443 h 10000"/>
                  <a:gd name="connsiteX63" fmla="*/ 2190 w 10000"/>
                  <a:gd name="connsiteY63" fmla="*/ 371 h 10000"/>
                  <a:gd name="connsiteX64" fmla="*/ 1996 w 10000"/>
                  <a:gd name="connsiteY64" fmla="*/ 300 h 10000"/>
                  <a:gd name="connsiteX65" fmla="*/ 1791 w 10000"/>
                  <a:gd name="connsiteY65" fmla="*/ 257 h 10000"/>
                  <a:gd name="connsiteX66" fmla="*/ 1668 w 10000"/>
                  <a:gd name="connsiteY66" fmla="*/ 271 h 10000"/>
                  <a:gd name="connsiteX67" fmla="*/ 1525 w 10000"/>
                  <a:gd name="connsiteY67" fmla="*/ 314 h 10000"/>
                  <a:gd name="connsiteX68" fmla="*/ 1402 w 10000"/>
                  <a:gd name="connsiteY68" fmla="*/ 357 h 10000"/>
                  <a:gd name="connsiteX69" fmla="*/ 1279 w 10000"/>
                  <a:gd name="connsiteY69" fmla="*/ 443 h 10000"/>
                  <a:gd name="connsiteX70" fmla="*/ 1157 w 10000"/>
                  <a:gd name="connsiteY70" fmla="*/ 529 h 10000"/>
                  <a:gd name="connsiteX71" fmla="*/ 1044 w 10000"/>
                  <a:gd name="connsiteY71" fmla="*/ 643 h 10000"/>
                  <a:gd name="connsiteX72" fmla="*/ 931 w 10000"/>
                  <a:gd name="connsiteY72" fmla="*/ 786 h 10000"/>
                  <a:gd name="connsiteX73" fmla="*/ 809 w 10000"/>
                  <a:gd name="connsiteY73" fmla="*/ 929 h 10000"/>
                  <a:gd name="connsiteX74" fmla="*/ 706 w 10000"/>
                  <a:gd name="connsiteY74" fmla="*/ 1114 h 10000"/>
                  <a:gd name="connsiteX75" fmla="*/ 604 w 10000"/>
                  <a:gd name="connsiteY75" fmla="*/ 1286 h 10000"/>
                  <a:gd name="connsiteX76" fmla="*/ 491 w 10000"/>
                  <a:gd name="connsiteY76" fmla="*/ 1486 h 10000"/>
                  <a:gd name="connsiteX77" fmla="*/ 399 w 10000"/>
                  <a:gd name="connsiteY77" fmla="*/ 1686 h 10000"/>
                  <a:gd name="connsiteX78" fmla="*/ 194 w 10000"/>
                  <a:gd name="connsiteY78" fmla="*/ 2157 h 10000"/>
                  <a:gd name="connsiteX79" fmla="*/ 0 w 10000"/>
                  <a:gd name="connsiteY79" fmla="*/ 2643 h 10000"/>
                  <a:gd name="connsiteX80" fmla="*/ 10 w 10000"/>
                  <a:gd name="connsiteY80" fmla="*/ 971 h 10000"/>
                  <a:gd name="connsiteX81" fmla="*/ 205 w 10000"/>
                  <a:gd name="connsiteY81" fmla="*/ 757 h 10000"/>
                  <a:gd name="connsiteX82" fmla="*/ 399 w 10000"/>
                  <a:gd name="connsiteY82" fmla="*/ 571 h 10000"/>
                  <a:gd name="connsiteX83" fmla="*/ 604 w 10000"/>
                  <a:gd name="connsiteY83" fmla="*/ 386 h 10000"/>
                  <a:gd name="connsiteX84" fmla="*/ 819 w 10000"/>
                  <a:gd name="connsiteY84" fmla="*/ 257 h 10000"/>
                  <a:gd name="connsiteX85" fmla="*/ 1054 w 10000"/>
                  <a:gd name="connsiteY85" fmla="*/ 157 h 10000"/>
                  <a:gd name="connsiteX86" fmla="*/ 1300 w 10000"/>
                  <a:gd name="connsiteY86" fmla="*/ 71 h 10000"/>
                  <a:gd name="connsiteX87" fmla="*/ 1535 w 10000"/>
                  <a:gd name="connsiteY87" fmla="*/ 29 h 10000"/>
                  <a:gd name="connsiteX88" fmla="*/ 1801 w 10000"/>
                  <a:gd name="connsiteY88" fmla="*/ 0 h 10000"/>
                  <a:gd name="connsiteX89" fmla="*/ 1965 w 10000"/>
                  <a:gd name="connsiteY89" fmla="*/ 0 h 10000"/>
                  <a:gd name="connsiteX90" fmla="*/ 2272 w 10000"/>
                  <a:gd name="connsiteY90" fmla="*/ 71 h 10000"/>
                  <a:gd name="connsiteX91" fmla="*/ 2426 w 10000"/>
                  <a:gd name="connsiteY91" fmla="*/ 114 h 10000"/>
                  <a:gd name="connsiteX92" fmla="*/ 2569 w 10000"/>
                  <a:gd name="connsiteY92" fmla="*/ 186 h 10000"/>
                  <a:gd name="connsiteX93" fmla="*/ 2712 w 10000"/>
                  <a:gd name="connsiteY93" fmla="*/ 257 h 10000"/>
                  <a:gd name="connsiteX94" fmla="*/ 2845 w 10000"/>
                  <a:gd name="connsiteY94" fmla="*/ 343 h 10000"/>
                  <a:gd name="connsiteX95" fmla="*/ 2989 w 10000"/>
                  <a:gd name="connsiteY95" fmla="*/ 443 h 10000"/>
                  <a:gd name="connsiteX96" fmla="*/ 3112 w 10000"/>
                  <a:gd name="connsiteY96" fmla="*/ 529 h 10000"/>
                  <a:gd name="connsiteX97" fmla="*/ 3234 w 10000"/>
                  <a:gd name="connsiteY97" fmla="*/ 657 h 10000"/>
                  <a:gd name="connsiteX98" fmla="*/ 3367 w 10000"/>
                  <a:gd name="connsiteY98" fmla="*/ 786 h 10000"/>
                  <a:gd name="connsiteX99" fmla="*/ 3490 w 10000"/>
                  <a:gd name="connsiteY99" fmla="*/ 914 h 10000"/>
                  <a:gd name="connsiteX100" fmla="*/ 3726 w 10000"/>
                  <a:gd name="connsiteY100" fmla="*/ 1200 h 10000"/>
                  <a:gd name="connsiteX101" fmla="*/ 3941 w 10000"/>
                  <a:gd name="connsiteY101" fmla="*/ 1543 h 10000"/>
                  <a:gd name="connsiteX102" fmla="*/ 4145 w 10000"/>
                  <a:gd name="connsiteY102" fmla="*/ 1900 h 10000"/>
                  <a:gd name="connsiteX103" fmla="*/ 4340 w 10000"/>
                  <a:gd name="connsiteY103" fmla="*/ 2286 h 10000"/>
                  <a:gd name="connsiteX104" fmla="*/ 4534 w 10000"/>
                  <a:gd name="connsiteY104" fmla="*/ 2686 h 10000"/>
                  <a:gd name="connsiteX105" fmla="*/ 4708 w 10000"/>
                  <a:gd name="connsiteY105" fmla="*/ 3100 h 10000"/>
                  <a:gd name="connsiteX106" fmla="*/ 4893 w 10000"/>
                  <a:gd name="connsiteY106" fmla="*/ 3529 h 10000"/>
                  <a:gd name="connsiteX107" fmla="*/ 5056 w 10000"/>
                  <a:gd name="connsiteY107" fmla="*/ 3971 h 10000"/>
                  <a:gd name="connsiteX108" fmla="*/ 5363 w 10000"/>
                  <a:gd name="connsiteY108" fmla="*/ 4871 h 10000"/>
                  <a:gd name="connsiteX109" fmla="*/ 5967 w 10000"/>
                  <a:gd name="connsiteY109" fmla="*/ 6657 h 10000"/>
                  <a:gd name="connsiteX110" fmla="*/ 6254 w 10000"/>
                  <a:gd name="connsiteY110" fmla="*/ 7486 h 10000"/>
                  <a:gd name="connsiteX111" fmla="*/ 6407 w 10000"/>
                  <a:gd name="connsiteY111" fmla="*/ 7843 h 10000"/>
                  <a:gd name="connsiteX112" fmla="*/ 6551 w 10000"/>
                  <a:gd name="connsiteY112" fmla="*/ 8214 h 10000"/>
                  <a:gd name="connsiteX113" fmla="*/ 6714 w 10000"/>
                  <a:gd name="connsiteY113" fmla="*/ 8543 h 10000"/>
                  <a:gd name="connsiteX114" fmla="*/ 6868 w 10000"/>
                  <a:gd name="connsiteY114" fmla="*/ 8829 h 10000"/>
                  <a:gd name="connsiteX115" fmla="*/ 7021 w 10000"/>
                  <a:gd name="connsiteY115" fmla="*/ 9100 h 10000"/>
                  <a:gd name="connsiteX116" fmla="*/ 7195 w 10000"/>
                  <a:gd name="connsiteY116" fmla="*/ 9300 h 10000"/>
                  <a:gd name="connsiteX117" fmla="*/ 7288 w 10000"/>
                  <a:gd name="connsiteY117" fmla="*/ 9400 h 10000"/>
                  <a:gd name="connsiteX118" fmla="*/ 7369 w 10000"/>
                  <a:gd name="connsiteY118" fmla="*/ 9500 h 10000"/>
                  <a:gd name="connsiteX119" fmla="*/ 7462 w 10000"/>
                  <a:gd name="connsiteY119" fmla="*/ 9557 h 10000"/>
                  <a:gd name="connsiteX120" fmla="*/ 7554 w 10000"/>
                  <a:gd name="connsiteY120" fmla="*/ 9629 h 10000"/>
                  <a:gd name="connsiteX121" fmla="*/ 7646 w 10000"/>
                  <a:gd name="connsiteY121" fmla="*/ 9671 h 10000"/>
                  <a:gd name="connsiteX122" fmla="*/ 7748 w 10000"/>
                  <a:gd name="connsiteY122" fmla="*/ 9700 h 10000"/>
                  <a:gd name="connsiteX123" fmla="*/ 7851 w 10000"/>
                  <a:gd name="connsiteY123" fmla="*/ 9743 h 10000"/>
                  <a:gd name="connsiteX124" fmla="*/ 7943 w 10000"/>
                  <a:gd name="connsiteY124" fmla="*/ 9743 h 10000"/>
                  <a:gd name="connsiteX0" fmla="*/ 7943 w 10000"/>
                  <a:gd name="connsiteY0" fmla="*/ 9743 h 10000"/>
                  <a:gd name="connsiteX1" fmla="*/ 7943 w 10000"/>
                  <a:gd name="connsiteY1" fmla="*/ 9743 h 10000"/>
                  <a:gd name="connsiteX2" fmla="*/ 8076 w 10000"/>
                  <a:gd name="connsiteY2" fmla="*/ 9743 h 10000"/>
                  <a:gd name="connsiteX3" fmla="*/ 8178 w 10000"/>
                  <a:gd name="connsiteY3" fmla="*/ 9700 h 10000"/>
                  <a:gd name="connsiteX4" fmla="*/ 8291 w 10000"/>
                  <a:gd name="connsiteY4" fmla="*/ 9657 h 10000"/>
                  <a:gd name="connsiteX5" fmla="*/ 8403 w 10000"/>
                  <a:gd name="connsiteY5" fmla="*/ 9614 h 10000"/>
                  <a:gd name="connsiteX6" fmla="*/ 8506 w 10000"/>
                  <a:gd name="connsiteY6" fmla="*/ 9529 h 10000"/>
                  <a:gd name="connsiteX7" fmla="*/ 8608 w 10000"/>
                  <a:gd name="connsiteY7" fmla="*/ 9429 h 10000"/>
                  <a:gd name="connsiteX8" fmla="*/ 8700 w 10000"/>
                  <a:gd name="connsiteY8" fmla="*/ 9343 h 10000"/>
                  <a:gd name="connsiteX9" fmla="*/ 8802 w 10000"/>
                  <a:gd name="connsiteY9" fmla="*/ 9214 h 10000"/>
                  <a:gd name="connsiteX10" fmla="*/ 8915 w 10000"/>
                  <a:gd name="connsiteY10" fmla="*/ 9086 h 10000"/>
                  <a:gd name="connsiteX11" fmla="*/ 9007 w 10000"/>
                  <a:gd name="connsiteY11" fmla="*/ 8943 h 10000"/>
                  <a:gd name="connsiteX12" fmla="*/ 9191 w 10000"/>
                  <a:gd name="connsiteY12" fmla="*/ 8614 h 10000"/>
                  <a:gd name="connsiteX13" fmla="*/ 9376 w 10000"/>
                  <a:gd name="connsiteY13" fmla="*/ 8243 h 10000"/>
                  <a:gd name="connsiteX14" fmla="*/ 9539 w 10000"/>
                  <a:gd name="connsiteY14" fmla="*/ 7843 h 10000"/>
                  <a:gd name="connsiteX15" fmla="*/ 9775 w 10000"/>
                  <a:gd name="connsiteY15" fmla="*/ 8286 h 10000"/>
                  <a:gd name="connsiteX16" fmla="*/ 10000 w 10000"/>
                  <a:gd name="connsiteY16" fmla="*/ 8700 h 10000"/>
                  <a:gd name="connsiteX17" fmla="*/ 9785 w 10000"/>
                  <a:gd name="connsiteY17" fmla="*/ 8986 h 10000"/>
                  <a:gd name="connsiteX18" fmla="*/ 9570 w 10000"/>
                  <a:gd name="connsiteY18" fmla="*/ 9243 h 10000"/>
                  <a:gd name="connsiteX19" fmla="*/ 9324 w 10000"/>
                  <a:gd name="connsiteY19" fmla="*/ 9471 h 10000"/>
                  <a:gd name="connsiteX20" fmla="*/ 9212 w 10000"/>
                  <a:gd name="connsiteY20" fmla="*/ 9557 h 10000"/>
                  <a:gd name="connsiteX21" fmla="*/ 9079 w 10000"/>
                  <a:gd name="connsiteY21" fmla="*/ 9657 h 10000"/>
                  <a:gd name="connsiteX22" fmla="*/ 8946 w 10000"/>
                  <a:gd name="connsiteY22" fmla="*/ 9743 h 10000"/>
                  <a:gd name="connsiteX23" fmla="*/ 8823 w 10000"/>
                  <a:gd name="connsiteY23" fmla="*/ 9800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4 h 10000"/>
                  <a:gd name="connsiteX35" fmla="*/ 7021 w 10000"/>
                  <a:gd name="connsiteY35" fmla="*/ 9757 h 10000"/>
                  <a:gd name="connsiteX36" fmla="*/ 6888 w 10000"/>
                  <a:gd name="connsiteY36" fmla="*/ 9657 h 10000"/>
                  <a:gd name="connsiteX37" fmla="*/ 6745 w 10000"/>
                  <a:gd name="connsiteY37" fmla="*/ 9557 h 10000"/>
                  <a:gd name="connsiteX38" fmla="*/ 6622 w 10000"/>
                  <a:gd name="connsiteY38" fmla="*/ 9471 h 10000"/>
                  <a:gd name="connsiteX39" fmla="*/ 6479 w 10000"/>
                  <a:gd name="connsiteY39" fmla="*/ 9343 h 10000"/>
                  <a:gd name="connsiteX40" fmla="*/ 6366 w 10000"/>
                  <a:gd name="connsiteY40" fmla="*/ 9229 h 10000"/>
                  <a:gd name="connsiteX41" fmla="*/ 6244 w 10000"/>
                  <a:gd name="connsiteY41" fmla="*/ 9086 h 10000"/>
                  <a:gd name="connsiteX42" fmla="*/ 6008 w 10000"/>
                  <a:gd name="connsiteY42" fmla="*/ 8786 h 10000"/>
                  <a:gd name="connsiteX43" fmla="*/ 5793 w 10000"/>
                  <a:gd name="connsiteY43" fmla="*/ 8457 h 10000"/>
                  <a:gd name="connsiteX44" fmla="*/ 5589 w 10000"/>
                  <a:gd name="connsiteY44" fmla="*/ 8100 h 10000"/>
                  <a:gd name="connsiteX45" fmla="*/ 5394 w 10000"/>
                  <a:gd name="connsiteY45" fmla="*/ 7714 h 10000"/>
                  <a:gd name="connsiteX46" fmla="*/ 5200 w 10000"/>
                  <a:gd name="connsiteY46" fmla="*/ 7314 h 10000"/>
                  <a:gd name="connsiteX47" fmla="*/ 5026 w 10000"/>
                  <a:gd name="connsiteY47" fmla="*/ 6900 h 10000"/>
                  <a:gd name="connsiteX48" fmla="*/ 4852 w 10000"/>
                  <a:gd name="connsiteY48" fmla="*/ 6471 h 10000"/>
                  <a:gd name="connsiteX49" fmla="*/ 4688 w 10000"/>
                  <a:gd name="connsiteY49" fmla="*/ 6029 h 10000"/>
                  <a:gd name="connsiteX50" fmla="*/ 4371 w 10000"/>
                  <a:gd name="connsiteY50" fmla="*/ 5129 h 10000"/>
                  <a:gd name="connsiteX51" fmla="*/ 3777 w 10000"/>
                  <a:gd name="connsiteY51" fmla="*/ 3357 h 10000"/>
                  <a:gd name="connsiteX52" fmla="*/ 3644 w 10000"/>
                  <a:gd name="connsiteY52" fmla="*/ 2914 h 10000"/>
                  <a:gd name="connsiteX53" fmla="*/ 3490 w 10000"/>
                  <a:gd name="connsiteY53" fmla="*/ 2514 h 10000"/>
                  <a:gd name="connsiteX54" fmla="*/ 3347 w 10000"/>
                  <a:gd name="connsiteY54" fmla="*/ 2157 h 10000"/>
                  <a:gd name="connsiteX55" fmla="*/ 3193 w 10000"/>
                  <a:gd name="connsiteY55" fmla="*/ 1786 h 10000"/>
                  <a:gd name="connsiteX56" fmla="*/ 3040 w 10000"/>
                  <a:gd name="connsiteY56" fmla="*/ 1457 h 10000"/>
                  <a:gd name="connsiteX57" fmla="*/ 2886 w 10000"/>
                  <a:gd name="connsiteY57" fmla="*/ 1171 h 10000"/>
                  <a:gd name="connsiteX58" fmla="*/ 2723 w 10000"/>
                  <a:gd name="connsiteY58" fmla="*/ 900 h 10000"/>
                  <a:gd name="connsiteX59" fmla="*/ 2559 w 10000"/>
                  <a:gd name="connsiteY59" fmla="*/ 700 h 10000"/>
                  <a:gd name="connsiteX60" fmla="*/ 2467 w 10000"/>
                  <a:gd name="connsiteY60" fmla="*/ 600 h 10000"/>
                  <a:gd name="connsiteX61" fmla="*/ 2375 w 10000"/>
                  <a:gd name="connsiteY61" fmla="*/ 500 h 10000"/>
                  <a:gd name="connsiteX62" fmla="*/ 2282 w 10000"/>
                  <a:gd name="connsiteY62" fmla="*/ 443 h 10000"/>
                  <a:gd name="connsiteX63" fmla="*/ 2190 w 10000"/>
                  <a:gd name="connsiteY63" fmla="*/ 371 h 10000"/>
                  <a:gd name="connsiteX64" fmla="*/ 1791 w 10000"/>
                  <a:gd name="connsiteY64" fmla="*/ 257 h 10000"/>
                  <a:gd name="connsiteX65" fmla="*/ 1668 w 10000"/>
                  <a:gd name="connsiteY65" fmla="*/ 271 h 10000"/>
                  <a:gd name="connsiteX66" fmla="*/ 1525 w 10000"/>
                  <a:gd name="connsiteY66" fmla="*/ 314 h 10000"/>
                  <a:gd name="connsiteX67" fmla="*/ 1402 w 10000"/>
                  <a:gd name="connsiteY67" fmla="*/ 357 h 10000"/>
                  <a:gd name="connsiteX68" fmla="*/ 1279 w 10000"/>
                  <a:gd name="connsiteY68" fmla="*/ 443 h 10000"/>
                  <a:gd name="connsiteX69" fmla="*/ 1157 w 10000"/>
                  <a:gd name="connsiteY69" fmla="*/ 529 h 10000"/>
                  <a:gd name="connsiteX70" fmla="*/ 1044 w 10000"/>
                  <a:gd name="connsiteY70" fmla="*/ 643 h 10000"/>
                  <a:gd name="connsiteX71" fmla="*/ 931 w 10000"/>
                  <a:gd name="connsiteY71" fmla="*/ 786 h 10000"/>
                  <a:gd name="connsiteX72" fmla="*/ 809 w 10000"/>
                  <a:gd name="connsiteY72" fmla="*/ 929 h 10000"/>
                  <a:gd name="connsiteX73" fmla="*/ 706 w 10000"/>
                  <a:gd name="connsiteY73" fmla="*/ 1114 h 10000"/>
                  <a:gd name="connsiteX74" fmla="*/ 604 w 10000"/>
                  <a:gd name="connsiteY74" fmla="*/ 1286 h 10000"/>
                  <a:gd name="connsiteX75" fmla="*/ 491 w 10000"/>
                  <a:gd name="connsiteY75" fmla="*/ 1486 h 10000"/>
                  <a:gd name="connsiteX76" fmla="*/ 399 w 10000"/>
                  <a:gd name="connsiteY76" fmla="*/ 1686 h 10000"/>
                  <a:gd name="connsiteX77" fmla="*/ 194 w 10000"/>
                  <a:gd name="connsiteY77" fmla="*/ 2157 h 10000"/>
                  <a:gd name="connsiteX78" fmla="*/ 0 w 10000"/>
                  <a:gd name="connsiteY78" fmla="*/ 2643 h 10000"/>
                  <a:gd name="connsiteX79" fmla="*/ 10 w 10000"/>
                  <a:gd name="connsiteY79" fmla="*/ 971 h 10000"/>
                  <a:gd name="connsiteX80" fmla="*/ 205 w 10000"/>
                  <a:gd name="connsiteY80" fmla="*/ 757 h 10000"/>
                  <a:gd name="connsiteX81" fmla="*/ 399 w 10000"/>
                  <a:gd name="connsiteY81" fmla="*/ 571 h 10000"/>
                  <a:gd name="connsiteX82" fmla="*/ 604 w 10000"/>
                  <a:gd name="connsiteY82" fmla="*/ 386 h 10000"/>
                  <a:gd name="connsiteX83" fmla="*/ 819 w 10000"/>
                  <a:gd name="connsiteY83" fmla="*/ 257 h 10000"/>
                  <a:gd name="connsiteX84" fmla="*/ 1054 w 10000"/>
                  <a:gd name="connsiteY84" fmla="*/ 157 h 10000"/>
                  <a:gd name="connsiteX85" fmla="*/ 1300 w 10000"/>
                  <a:gd name="connsiteY85" fmla="*/ 71 h 10000"/>
                  <a:gd name="connsiteX86" fmla="*/ 1535 w 10000"/>
                  <a:gd name="connsiteY86" fmla="*/ 29 h 10000"/>
                  <a:gd name="connsiteX87" fmla="*/ 1801 w 10000"/>
                  <a:gd name="connsiteY87" fmla="*/ 0 h 10000"/>
                  <a:gd name="connsiteX88" fmla="*/ 1965 w 10000"/>
                  <a:gd name="connsiteY88" fmla="*/ 0 h 10000"/>
                  <a:gd name="connsiteX89" fmla="*/ 2272 w 10000"/>
                  <a:gd name="connsiteY89" fmla="*/ 71 h 10000"/>
                  <a:gd name="connsiteX90" fmla="*/ 2426 w 10000"/>
                  <a:gd name="connsiteY90" fmla="*/ 114 h 10000"/>
                  <a:gd name="connsiteX91" fmla="*/ 2569 w 10000"/>
                  <a:gd name="connsiteY91" fmla="*/ 186 h 10000"/>
                  <a:gd name="connsiteX92" fmla="*/ 2712 w 10000"/>
                  <a:gd name="connsiteY92" fmla="*/ 257 h 10000"/>
                  <a:gd name="connsiteX93" fmla="*/ 2845 w 10000"/>
                  <a:gd name="connsiteY93" fmla="*/ 343 h 10000"/>
                  <a:gd name="connsiteX94" fmla="*/ 2989 w 10000"/>
                  <a:gd name="connsiteY94" fmla="*/ 443 h 10000"/>
                  <a:gd name="connsiteX95" fmla="*/ 3112 w 10000"/>
                  <a:gd name="connsiteY95" fmla="*/ 529 h 10000"/>
                  <a:gd name="connsiteX96" fmla="*/ 3234 w 10000"/>
                  <a:gd name="connsiteY96" fmla="*/ 657 h 10000"/>
                  <a:gd name="connsiteX97" fmla="*/ 3367 w 10000"/>
                  <a:gd name="connsiteY97" fmla="*/ 786 h 10000"/>
                  <a:gd name="connsiteX98" fmla="*/ 3490 w 10000"/>
                  <a:gd name="connsiteY98" fmla="*/ 914 h 10000"/>
                  <a:gd name="connsiteX99" fmla="*/ 3726 w 10000"/>
                  <a:gd name="connsiteY99" fmla="*/ 1200 h 10000"/>
                  <a:gd name="connsiteX100" fmla="*/ 3941 w 10000"/>
                  <a:gd name="connsiteY100" fmla="*/ 1543 h 10000"/>
                  <a:gd name="connsiteX101" fmla="*/ 4145 w 10000"/>
                  <a:gd name="connsiteY101" fmla="*/ 1900 h 10000"/>
                  <a:gd name="connsiteX102" fmla="*/ 4340 w 10000"/>
                  <a:gd name="connsiteY102" fmla="*/ 2286 h 10000"/>
                  <a:gd name="connsiteX103" fmla="*/ 4534 w 10000"/>
                  <a:gd name="connsiteY103" fmla="*/ 2686 h 10000"/>
                  <a:gd name="connsiteX104" fmla="*/ 4708 w 10000"/>
                  <a:gd name="connsiteY104" fmla="*/ 3100 h 10000"/>
                  <a:gd name="connsiteX105" fmla="*/ 4893 w 10000"/>
                  <a:gd name="connsiteY105" fmla="*/ 3529 h 10000"/>
                  <a:gd name="connsiteX106" fmla="*/ 5056 w 10000"/>
                  <a:gd name="connsiteY106" fmla="*/ 3971 h 10000"/>
                  <a:gd name="connsiteX107" fmla="*/ 5363 w 10000"/>
                  <a:gd name="connsiteY107" fmla="*/ 4871 h 10000"/>
                  <a:gd name="connsiteX108" fmla="*/ 5967 w 10000"/>
                  <a:gd name="connsiteY108" fmla="*/ 6657 h 10000"/>
                  <a:gd name="connsiteX109" fmla="*/ 6254 w 10000"/>
                  <a:gd name="connsiteY109" fmla="*/ 7486 h 10000"/>
                  <a:gd name="connsiteX110" fmla="*/ 6407 w 10000"/>
                  <a:gd name="connsiteY110" fmla="*/ 7843 h 10000"/>
                  <a:gd name="connsiteX111" fmla="*/ 6551 w 10000"/>
                  <a:gd name="connsiteY111" fmla="*/ 8214 h 10000"/>
                  <a:gd name="connsiteX112" fmla="*/ 6714 w 10000"/>
                  <a:gd name="connsiteY112" fmla="*/ 8543 h 10000"/>
                  <a:gd name="connsiteX113" fmla="*/ 6868 w 10000"/>
                  <a:gd name="connsiteY113" fmla="*/ 8829 h 10000"/>
                  <a:gd name="connsiteX114" fmla="*/ 7021 w 10000"/>
                  <a:gd name="connsiteY114" fmla="*/ 9100 h 10000"/>
                  <a:gd name="connsiteX115" fmla="*/ 7195 w 10000"/>
                  <a:gd name="connsiteY115" fmla="*/ 9300 h 10000"/>
                  <a:gd name="connsiteX116" fmla="*/ 7288 w 10000"/>
                  <a:gd name="connsiteY116" fmla="*/ 9400 h 10000"/>
                  <a:gd name="connsiteX117" fmla="*/ 7369 w 10000"/>
                  <a:gd name="connsiteY117" fmla="*/ 9500 h 10000"/>
                  <a:gd name="connsiteX118" fmla="*/ 7462 w 10000"/>
                  <a:gd name="connsiteY118" fmla="*/ 9557 h 10000"/>
                  <a:gd name="connsiteX119" fmla="*/ 7554 w 10000"/>
                  <a:gd name="connsiteY119" fmla="*/ 9629 h 10000"/>
                  <a:gd name="connsiteX120" fmla="*/ 7646 w 10000"/>
                  <a:gd name="connsiteY120" fmla="*/ 9671 h 10000"/>
                  <a:gd name="connsiteX121" fmla="*/ 7748 w 10000"/>
                  <a:gd name="connsiteY121" fmla="*/ 9700 h 10000"/>
                  <a:gd name="connsiteX122" fmla="*/ 7851 w 10000"/>
                  <a:gd name="connsiteY122" fmla="*/ 9743 h 10000"/>
                  <a:gd name="connsiteX123" fmla="*/ 7943 w 10000"/>
                  <a:gd name="connsiteY123" fmla="*/ 9743 h 10000"/>
                  <a:gd name="connsiteX0" fmla="*/ 7943 w 10000"/>
                  <a:gd name="connsiteY0" fmla="*/ 9743 h 10000"/>
                  <a:gd name="connsiteX1" fmla="*/ 7943 w 10000"/>
                  <a:gd name="connsiteY1" fmla="*/ 9743 h 10000"/>
                  <a:gd name="connsiteX2" fmla="*/ 8076 w 10000"/>
                  <a:gd name="connsiteY2" fmla="*/ 9743 h 10000"/>
                  <a:gd name="connsiteX3" fmla="*/ 8178 w 10000"/>
                  <a:gd name="connsiteY3" fmla="*/ 9700 h 10000"/>
                  <a:gd name="connsiteX4" fmla="*/ 8291 w 10000"/>
                  <a:gd name="connsiteY4" fmla="*/ 9657 h 10000"/>
                  <a:gd name="connsiteX5" fmla="*/ 8403 w 10000"/>
                  <a:gd name="connsiteY5" fmla="*/ 9614 h 10000"/>
                  <a:gd name="connsiteX6" fmla="*/ 8506 w 10000"/>
                  <a:gd name="connsiteY6" fmla="*/ 9529 h 10000"/>
                  <a:gd name="connsiteX7" fmla="*/ 8608 w 10000"/>
                  <a:gd name="connsiteY7" fmla="*/ 9429 h 10000"/>
                  <a:gd name="connsiteX8" fmla="*/ 8700 w 10000"/>
                  <a:gd name="connsiteY8" fmla="*/ 9343 h 10000"/>
                  <a:gd name="connsiteX9" fmla="*/ 8802 w 10000"/>
                  <a:gd name="connsiteY9" fmla="*/ 9214 h 10000"/>
                  <a:gd name="connsiteX10" fmla="*/ 8915 w 10000"/>
                  <a:gd name="connsiteY10" fmla="*/ 9086 h 10000"/>
                  <a:gd name="connsiteX11" fmla="*/ 9007 w 10000"/>
                  <a:gd name="connsiteY11" fmla="*/ 8943 h 10000"/>
                  <a:gd name="connsiteX12" fmla="*/ 9191 w 10000"/>
                  <a:gd name="connsiteY12" fmla="*/ 8614 h 10000"/>
                  <a:gd name="connsiteX13" fmla="*/ 9376 w 10000"/>
                  <a:gd name="connsiteY13" fmla="*/ 8243 h 10000"/>
                  <a:gd name="connsiteX14" fmla="*/ 9539 w 10000"/>
                  <a:gd name="connsiteY14" fmla="*/ 7843 h 10000"/>
                  <a:gd name="connsiteX15" fmla="*/ 9775 w 10000"/>
                  <a:gd name="connsiteY15" fmla="*/ 8286 h 10000"/>
                  <a:gd name="connsiteX16" fmla="*/ 10000 w 10000"/>
                  <a:gd name="connsiteY16" fmla="*/ 8700 h 10000"/>
                  <a:gd name="connsiteX17" fmla="*/ 9785 w 10000"/>
                  <a:gd name="connsiteY17" fmla="*/ 8986 h 10000"/>
                  <a:gd name="connsiteX18" fmla="*/ 9570 w 10000"/>
                  <a:gd name="connsiteY18" fmla="*/ 9243 h 10000"/>
                  <a:gd name="connsiteX19" fmla="*/ 9324 w 10000"/>
                  <a:gd name="connsiteY19" fmla="*/ 9471 h 10000"/>
                  <a:gd name="connsiteX20" fmla="*/ 9212 w 10000"/>
                  <a:gd name="connsiteY20" fmla="*/ 9557 h 10000"/>
                  <a:gd name="connsiteX21" fmla="*/ 9079 w 10000"/>
                  <a:gd name="connsiteY21" fmla="*/ 9657 h 10000"/>
                  <a:gd name="connsiteX22" fmla="*/ 8946 w 10000"/>
                  <a:gd name="connsiteY22" fmla="*/ 9743 h 10000"/>
                  <a:gd name="connsiteX23" fmla="*/ 8823 w 10000"/>
                  <a:gd name="connsiteY23" fmla="*/ 9800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4 h 10000"/>
                  <a:gd name="connsiteX35" fmla="*/ 7021 w 10000"/>
                  <a:gd name="connsiteY35" fmla="*/ 9757 h 10000"/>
                  <a:gd name="connsiteX36" fmla="*/ 6888 w 10000"/>
                  <a:gd name="connsiteY36" fmla="*/ 9657 h 10000"/>
                  <a:gd name="connsiteX37" fmla="*/ 6745 w 10000"/>
                  <a:gd name="connsiteY37" fmla="*/ 9557 h 10000"/>
                  <a:gd name="connsiteX38" fmla="*/ 6622 w 10000"/>
                  <a:gd name="connsiteY38" fmla="*/ 9471 h 10000"/>
                  <a:gd name="connsiteX39" fmla="*/ 6479 w 10000"/>
                  <a:gd name="connsiteY39" fmla="*/ 9343 h 10000"/>
                  <a:gd name="connsiteX40" fmla="*/ 6366 w 10000"/>
                  <a:gd name="connsiteY40" fmla="*/ 9229 h 10000"/>
                  <a:gd name="connsiteX41" fmla="*/ 6244 w 10000"/>
                  <a:gd name="connsiteY41" fmla="*/ 9086 h 10000"/>
                  <a:gd name="connsiteX42" fmla="*/ 6008 w 10000"/>
                  <a:gd name="connsiteY42" fmla="*/ 8786 h 10000"/>
                  <a:gd name="connsiteX43" fmla="*/ 5793 w 10000"/>
                  <a:gd name="connsiteY43" fmla="*/ 8457 h 10000"/>
                  <a:gd name="connsiteX44" fmla="*/ 5589 w 10000"/>
                  <a:gd name="connsiteY44" fmla="*/ 8100 h 10000"/>
                  <a:gd name="connsiteX45" fmla="*/ 5394 w 10000"/>
                  <a:gd name="connsiteY45" fmla="*/ 7714 h 10000"/>
                  <a:gd name="connsiteX46" fmla="*/ 5200 w 10000"/>
                  <a:gd name="connsiteY46" fmla="*/ 7314 h 10000"/>
                  <a:gd name="connsiteX47" fmla="*/ 5026 w 10000"/>
                  <a:gd name="connsiteY47" fmla="*/ 6900 h 10000"/>
                  <a:gd name="connsiteX48" fmla="*/ 4852 w 10000"/>
                  <a:gd name="connsiteY48" fmla="*/ 6471 h 10000"/>
                  <a:gd name="connsiteX49" fmla="*/ 4688 w 10000"/>
                  <a:gd name="connsiteY49" fmla="*/ 6029 h 10000"/>
                  <a:gd name="connsiteX50" fmla="*/ 4371 w 10000"/>
                  <a:gd name="connsiteY50" fmla="*/ 5129 h 10000"/>
                  <a:gd name="connsiteX51" fmla="*/ 3777 w 10000"/>
                  <a:gd name="connsiteY51" fmla="*/ 3357 h 10000"/>
                  <a:gd name="connsiteX52" fmla="*/ 3644 w 10000"/>
                  <a:gd name="connsiteY52" fmla="*/ 2914 h 10000"/>
                  <a:gd name="connsiteX53" fmla="*/ 3490 w 10000"/>
                  <a:gd name="connsiteY53" fmla="*/ 2514 h 10000"/>
                  <a:gd name="connsiteX54" fmla="*/ 3347 w 10000"/>
                  <a:gd name="connsiteY54" fmla="*/ 2157 h 10000"/>
                  <a:gd name="connsiteX55" fmla="*/ 3193 w 10000"/>
                  <a:gd name="connsiteY55" fmla="*/ 1786 h 10000"/>
                  <a:gd name="connsiteX56" fmla="*/ 3040 w 10000"/>
                  <a:gd name="connsiteY56" fmla="*/ 1457 h 10000"/>
                  <a:gd name="connsiteX57" fmla="*/ 2886 w 10000"/>
                  <a:gd name="connsiteY57" fmla="*/ 1171 h 10000"/>
                  <a:gd name="connsiteX58" fmla="*/ 2723 w 10000"/>
                  <a:gd name="connsiteY58" fmla="*/ 900 h 10000"/>
                  <a:gd name="connsiteX59" fmla="*/ 2559 w 10000"/>
                  <a:gd name="connsiteY59" fmla="*/ 700 h 10000"/>
                  <a:gd name="connsiteX60" fmla="*/ 2467 w 10000"/>
                  <a:gd name="connsiteY60" fmla="*/ 600 h 10000"/>
                  <a:gd name="connsiteX61" fmla="*/ 2375 w 10000"/>
                  <a:gd name="connsiteY61" fmla="*/ 500 h 10000"/>
                  <a:gd name="connsiteX62" fmla="*/ 2282 w 10000"/>
                  <a:gd name="connsiteY62" fmla="*/ 443 h 10000"/>
                  <a:gd name="connsiteX63" fmla="*/ 2190 w 10000"/>
                  <a:gd name="connsiteY63" fmla="*/ 371 h 10000"/>
                  <a:gd name="connsiteX64" fmla="*/ 1791 w 10000"/>
                  <a:gd name="connsiteY64" fmla="*/ 257 h 10000"/>
                  <a:gd name="connsiteX65" fmla="*/ 1668 w 10000"/>
                  <a:gd name="connsiteY65" fmla="*/ 271 h 10000"/>
                  <a:gd name="connsiteX66" fmla="*/ 1525 w 10000"/>
                  <a:gd name="connsiteY66" fmla="*/ 314 h 10000"/>
                  <a:gd name="connsiteX67" fmla="*/ 1402 w 10000"/>
                  <a:gd name="connsiteY67" fmla="*/ 357 h 10000"/>
                  <a:gd name="connsiteX68" fmla="*/ 1279 w 10000"/>
                  <a:gd name="connsiteY68" fmla="*/ 443 h 10000"/>
                  <a:gd name="connsiteX69" fmla="*/ 1157 w 10000"/>
                  <a:gd name="connsiteY69" fmla="*/ 529 h 10000"/>
                  <a:gd name="connsiteX70" fmla="*/ 1044 w 10000"/>
                  <a:gd name="connsiteY70" fmla="*/ 643 h 10000"/>
                  <a:gd name="connsiteX71" fmla="*/ 931 w 10000"/>
                  <a:gd name="connsiteY71" fmla="*/ 786 h 10000"/>
                  <a:gd name="connsiteX72" fmla="*/ 809 w 10000"/>
                  <a:gd name="connsiteY72" fmla="*/ 929 h 10000"/>
                  <a:gd name="connsiteX73" fmla="*/ 706 w 10000"/>
                  <a:gd name="connsiteY73" fmla="*/ 1114 h 10000"/>
                  <a:gd name="connsiteX74" fmla="*/ 604 w 10000"/>
                  <a:gd name="connsiteY74" fmla="*/ 1286 h 10000"/>
                  <a:gd name="connsiteX75" fmla="*/ 491 w 10000"/>
                  <a:gd name="connsiteY75" fmla="*/ 1486 h 10000"/>
                  <a:gd name="connsiteX76" fmla="*/ 399 w 10000"/>
                  <a:gd name="connsiteY76" fmla="*/ 1686 h 10000"/>
                  <a:gd name="connsiteX77" fmla="*/ 194 w 10000"/>
                  <a:gd name="connsiteY77" fmla="*/ 2157 h 10000"/>
                  <a:gd name="connsiteX78" fmla="*/ 0 w 10000"/>
                  <a:gd name="connsiteY78" fmla="*/ 2643 h 10000"/>
                  <a:gd name="connsiteX79" fmla="*/ 10 w 10000"/>
                  <a:gd name="connsiteY79" fmla="*/ 971 h 10000"/>
                  <a:gd name="connsiteX80" fmla="*/ 205 w 10000"/>
                  <a:gd name="connsiteY80" fmla="*/ 757 h 10000"/>
                  <a:gd name="connsiteX81" fmla="*/ 399 w 10000"/>
                  <a:gd name="connsiteY81" fmla="*/ 571 h 10000"/>
                  <a:gd name="connsiteX82" fmla="*/ 604 w 10000"/>
                  <a:gd name="connsiteY82" fmla="*/ 386 h 10000"/>
                  <a:gd name="connsiteX83" fmla="*/ 819 w 10000"/>
                  <a:gd name="connsiteY83" fmla="*/ 257 h 10000"/>
                  <a:gd name="connsiteX84" fmla="*/ 1054 w 10000"/>
                  <a:gd name="connsiteY84" fmla="*/ 157 h 10000"/>
                  <a:gd name="connsiteX85" fmla="*/ 1300 w 10000"/>
                  <a:gd name="connsiteY85" fmla="*/ 71 h 10000"/>
                  <a:gd name="connsiteX86" fmla="*/ 1535 w 10000"/>
                  <a:gd name="connsiteY86" fmla="*/ 29 h 10000"/>
                  <a:gd name="connsiteX87" fmla="*/ 1801 w 10000"/>
                  <a:gd name="connsiteY87" fmla="*/ 0 h 10000"/>
                  <a:gd name="connsiteX88" fmla="*/ 2272 w 10000"/>
                  <a:gd name="connsiteY88" fmla="*/ 71 h 10000"/>
                  <a:gd name="connsiteX89" fmla="*/ 2426 w 10000"/>
                  <a:gd name="connsiteY89" fmla="*/ 114 h 10000"/>
                  <a:gd name="connsiteX90" fmla="*/ 2569 w 10000"/>
                  <a:gd name="connsiteY90" fmla="*/ 186 h 10000"/>
                  <a:gd name="connsiteX91" fmla="*/ 2712 w 10000"/>
                  <a:gd name="connsiteY91" fmla="*/ 257 h 10000"/>
                  <a:gd name="connsiteX92" fmla="*/ 2845 w 10000"/>
                  <a:gd name="connsiteY92" fmla="*/ 343 h 10000"/>
                  <a:gd name="connsiteX93" fmla="*/ 2989 w 10000"/>
                  <a:gd name="connsiteY93" fmla="*/ 443 h 10000"/>
                  <a:gd name="connsiteX94" fmla="*/ 3112 w 10000"/>
                  <a:gd name="connsiteY94" fmla="*/ 529 h 10000"/>
                  <a:gd name="connsiteX95" fmla="*/ 3234 w 10000"/>
                  <a:gd name="connsiteY95" fmla="*/ 657 h 10000"/>
                  <a:gd name="connsiteX96" fmla="*/ 3367 w 10000"/>
                  <a:gd name="connsiteY96" fmla="*/ 786 h 10000"/>
                  <a:gd name="connsiteX97" fmla="*/ 3490 w 10000"/>
                  <a:gd name="connsiteY97" fmla="*/ 914 h 10000"/>
                  <a:gd name="connsiteX98" fmla="*/ 3726 w 10000"/>
                  <a:gd name="connsiteY98" fmla="*/ 1200 h 10000"/>
                  <a:gd name="connsiteX99" fmla="*/ 3941 w 10000"/>
                  <a:gd name="connsiteY99" fmla="*/ 1543 h 10000"/>
                  <a:gd name="connsiteX100" fmla="*/ 4145 w 10000"/>
                  <a:gd name="connsiteY100" fmla="*/ 1900 h 10000"/>
                  <a:gd name="connsiteX101" fmla="*/ 4340 w 10000"/>
                  <a:gd name="connsiteY101" fmla="*/ 2286 h 10000"/>
                  <a:gd name="connsiteX102" fmla="*/ 4534 w 10000"/>
                  <a:gd name="connsiteY102" fmla="*/ 2686 h 10000"/>
                  <a:gd name="connsiteX103" fmla="*/ 4708 w 10000"/>
                  <a:gd name="connsiteY103" fmla="*/ 3100 h 10000"/>
                  <a:gd name="connsiteX104" fmla="*/ 4893 w 10000"/>
                  <a:gd name="connsiteY104" fmla="*/ 3529 h 10000"/>
                  <a:gd name="connsiteX105" fmla="*/ 5056 w 10000"/>
                  <a:gd name="connsiteY105" fmla="*/ 3971 h 10000"/>
                  <a:gd name="connsiteX106" fmla="*/ 5363 w 10000"/>
                  <a:gd name="connsiteY106" fmla="*/ 4871 h 10000"/>
                  <a:gd name="connsiteX107" fmla="*/ 5967 w 10000"/>
                  <a:gd name="connsiteY107" fmla="*/ 6657 h 10000"/>
                  <a:gd name="connsiteX108" fmla="*/ 6254 w 10000"/>
                  <a:gd name="connsiteY108" fmla="*/ 7486 h 10000"/>
                  <a:gd name="connsiteX109" fmla="*/ 6407 w 10000"/>
                  <a:gd name="connsiteY109" fmla="*/ 7843 h 10000"/>
                  <a:gd name="connsiteX110" fmla="*/ 6551 w 10000"/>
                  <a:gd name="connsiteY110" fmla="*/ 8214 h 10000"/>
                  <a:gd name="connsiteX111" fmla="*/ 6714 w 10000"/>
                  <a:gd name="connsiteY111" fmla="*/ 8543 h 10000"/>
                  <a:gd name="connsiteX112" fmla="*/ 6868 w 10000"/>
                  <a:gd name="connsiteY112" fmla="*/ 8829 h 10000"/>
                  <a:gd name="connsiteX113" fmla="*/ 7021 w 10000"/>
                  <a:gd name="connsiteY113" fmla="*/ 9100 h 10000"/>
                  <a:gd name="connsiteX114" fmla="*/ 7195 w 10000"/>
                  <a:gd name="connsiteY114" fmla="*/ 9300 h 10000"/>
                  <a:gd name="connsiteX115" fmla="*/ 7288 w 10000"/>
                  <a:gd name="connsiteY115" fmla="*/ 9400 h 10000"/>
                  <a:gd name="connsiteX116" fmla="*/ 7369 w 10000"/>
                  <a:gd name="connsiteY116" fmla="*/ 9500 h 10000"/>
                  <a:gd name="connsiteX117" fmla="*/ 7462 w 10000"/>
                  <a:gd name="connsiteY117" fmla="*/ 9557 h 10000"/>
                  <a:gd name="connsiteX118" fmla="*/ 7554 w 10000"/>
                  <a:gd name="connsiteY118" fmla="*/ 9629 h 10000"/>
                  <a:gd name="connsiteX119" fmla="*/ 7646 w 10000"/>
                  <a:gd name="connsiteY119" fmla="*/ 9671 h 10000"/>
                  <a:gd name="connsiteX120" fmla="*/ 7748 w 10000"/>
                  <a:gd name="connsiteY120" fmla="*/ 9700 h 10000"/>
                  <a:gd name="connsiteX121" fmla="*/ 7851 w 10000"/>
                  <a:gd name="connsiteY121" fmla="*/ 9743 h 10000"/>
                  <a:gd name="connsiteX122" fmla="*/ 7943 w 10000"/>
                  <a:gd name="connsiteY122" fmla="*/ 9743 h 10000"/>
                  <a:gd name="connsiteX0" fmla="*/ 7943 w 10000"/>
                  <a:gd name="connsiteY0" fmla="*/ 9714 h 9971"/>
                  <a:gd name="connsiteX1" fmla="*/ 7943 w 10000"/>
                  <a:gd name="connsiteY1" fmla="*/ 9714 h 9971"/>
                  <a:gd name="connsiteX2" fmla="*/ 8076 w 10000"/>
                  <a:gd name="connsiteY2" fmla="*/ 9714 h 9971"/>
                  <a:gd name="connsiteX3" fmla="*/ 8178 w 10000"/>
                  <a:gd name="connsiteY3" fmla="*/ 9671 h 9971"/>
                  <a:gd name="connsiteX4" fmla="*/ 8291 w 10000"/>
                  <a:gd name="connsiteY4" fmla="*/ 9628 h 9971"/>
                  <a:gd name="connsiteX5" fmla="*/ 8403 w 10000"/>
                  <a:gd name="connsiteY5" fmla="*/ 9585 h 9971"/>
                  <a:gd name="connsiteX6" fmla="*/ 8506 w 10000"/>
                  <a:gd name="connsiteY6" fmla="*/ 9500 h 9971"/>
                  <a:gd name="connsiteX7" fmla="*/ 8608 w 10000"/>
                  <a:gd name="connsiteY7" fmla="*/ 9400 h 9971"/>
                  <a:gd name="connsiteX8" fmla="*/ 8700 w 10000"/>
                  <a:gd name="connsiteY8" fmla="*/ 9314 h 9971"/>
                  <a:gd name="connsiteX9" fmla="*/ 8802 w 10000"/>
                  <a:gd name="connsiteY9" fmla="*/ 9185 h 9971"/>
                  <a:gd name="connsiteX10" fmla="*/ 8915 w 10000"/>
                  <a:gd name="connsiteY10" fmla="*/ 9057 h 9971"/>
                  <a:gd name="connsiteX11" fmla="*/ 9007 w 10000"/>
                  <a:gd name="connsiteY11" fmla="*/ 8914 h 9971"/>
                  <a:gd name="connsiteX12" fmla="*/ 9191 w 10000"/>
                  <a:gd name="connsiteY12" fmla="*/ 8585 h 9971"/>
                  <a:gd name="connsiteX13" fmla="*/ 9376 w 10000"/>
                  <a:gd name="connsiteY13" fmla="*/ 8214 h 9971"/>
                  <a:gd name="connsiteX14" fmla="*/ 9539 w 10000"/>
                  <a:gd name="connsiteY14" fmla="*/ 7814 h 9971"/>
                  <a:gd name="connsiteX15" fmla="*/ 9775 w 10000"/>
                  <a:gd name="connsiteY15" fmla="*/ 8257 h 9971"/>
                  <a:gd name="connsiteX16" fmla="*/ 10000 w 10000"/>
                  <a:gd name="connsiteY16" fmla="*/ 8671 h 9971"/>
                  <a:gd name="connsiteX17" fmla="*/ 9785 w 10000"/>
                  <a:gd name="connsiteY17" fmla="*/ 8957 h 9971"/>
                  <a:gd name="connsiteX18" fmla="*/ 9570 w 10000"/>
                  <a:gd name="connsiteY18" fmla="*/ 9214 h 9971"/>
                  <a:gd name="connsiteX19" fmla="*/ 9324 w 10000"/>
                  <a:gd name="connsiteY19" fmla="*/ 9442 h 9971"/>
                  <a:gd name="connsiteX20" fmla="*/ 9212 w 10000"/>
                  <a:gd name="connsiteY20" fmla="*/ 9528 h 9971"/>
                  <a:gd name="connsiteX21" fmla="*/ 9079 w 10000"/>
                  <a:gd name="connsiteY21" fmla="*/ 9628 h 9971"/>
                  <a:gd name="connsiteX22" fmla="*/ 8946 w 10000"/>
                  <a:gd name="connsiteY22" fmla="*/ 9714 h 9971"/>
                  <a:gd name="connsiteX23" fmla="*/ 8823 w 10000"/>
                  <a:gd name="connsiteY23" fmla="*/ 9771 h 9971"/>
                  <a:gd name="connsiteX24" fmla="*/ 8680 w 10000"/>
                  <a:gd name="connsiteY24" fmla="*/ 9842 h 9971"/>
                  <a:gd name="connsiteX25" fmla="*/ 8547 w 10000"/>
                  <a:gd name="connsiteY25" fmla="*/ 9885 h 9971"/>
                  <a:gd name="connsiteX26" fmla="*/ 8403 w 10000"/>
                  <a:gd name="connsiteY26" fmla="*/ 9914 h 9971"/>
                  <a:gd name="connsiteX27" fmla="*/ 8260 w 10000"/>
                  <a:gd name="connsiteY27" fmla="*/ 9942 h 9971"/>
                  <a:gd name="connsiteX28" fmla="*/ 8106 w 10000"/>
                  <a:gd name="connsiteY28" fmla="*/ 9971 h 9971"/>
                  <a:gd name="connsiteX29" fmla="*/ 7943 w 10000"/>
                  <a:gd name="connsiteY29" fmla="*/ 9971 h 9971"/>
                  <a:gd name="connsiteX30" fmla="*/ 7779 w 10000"/>
                  <a:gd name="connsiteY30" fmla="*/ 9971 h 9971"/>
                  <a:gd name="connsiteX31" fmla="*/ 7625 w 10000"/>
                  <a:gd name="connsiteY31" fmla="*/ 9928 h 9971"/>
                  <a:gd name="connsiteX32" fmla="*/ 7462 w 10000"/>
                  <a:gd name="connsiteY32" fmla="*/ 9900 h 9971"/>
                  <a:gd name="connsiteX33" fmla="*/ 7308 w 10000"/>
                  <a:gd name="connsiteY33" fmla="*/ 9857 h 9971"/>
                  <a:gd name="connsiteX34" fmla="*/ 7165 w 10000"/>
                  <a:gd name="connsiteY34" fmla="*/ 9785 h 9971"/>
                  <a:gd name="connsiteX35" fmla="*/ 7021 w 10000"/>
                  <a:gd name="connsiteY35" fmla="*/ 9728 h 9971"/>
                  <a:gd name="connsiteX36" fmla="*/ 6888 w 10000"/>
                  <a:gd name="connsiteY36" fmla="*/ 9628 h 9971"/>
                  <a:gd name="connsiteX37" fmla="*/ 6745 w 10000"/>
                  <a:gd name="connsiteY37" fmla="*/ 9528 h 9971"/>
                  <a:gd name="connsiteX38" fmla="*/ 6622 w 10000"/>
                  <a:gd name="connsiteY38" fmla="*/ 9442 h 9971"/>
                  <a:gd name="connsiteX39" fmla="*/ 6479 w 10000"/>
                  <a:gd name="connsiteY39" fmla="*/ 9314 h 9971"/>
                  <a:gd name="connsiteX40" fmla="*/ 6366 w 10000"/>
                  <a:gd name="connsiteY40" fmla="*/ 9200 h 9971"/>
                  <a:gd name="connsiteX41" fmla="*/ 6244 w 10000"/>
                  <a:gd name="connsiteY41" fmla="*/ 9057 h 9971"/>
                  <a:gd name="connsiteX42" fmla="*/ 6008 w 10000"/>
                  <a:gd name="connsiteY42" fmla="*/ 8757 h 9971"/>
                  <a:gd name="connsiteX43" fmla="*/ 5793 w 10000"/>
                  <a:gd name="connsiteY43" fmla="*/ 8428 h 9971"/>
                  <a:gd name="connsiteX44" fmla="*/ 5589 w 10000"/>
                  <a:gd name="connsiteY44" fmla="*/ 8071 h 9971"/>
                  <a:gd name="connsiteX45" fmla="*/ 5394 w 10000"/>
                  <a:gd name="connsiteY45" fmla="*/ 7685 h 9971"/>
                  <a:gd name="connsiteX46" fmla="*/ 5200 w 10000"/>
                  <a:gd name="connsiteY46" fmla="*/ 7285 h 9971"/>
                  <a:gd name="connsiteX47" fmla="*/ 5026 w 10000"/>
                  <a:gd name="connsiteY47" fmla="*/ 6871 h 9971"/>
                  <a:gd name="connsiteX48" fmla="*/ 4852 w 10000"/>
                  <a:gd name="connsiteY48" fmla="*/ 6442 h 9971"/>
                  <a:gd name="connsiteX49" fmla="*/ 4688 w 10000"/>
                  <a:gd name="connsiteY49" fmla="*/ 6000 h 9971"/>
                  <a:gd name="connsiteX50" fmla="*/ 4371 w 10000"/>
                  <a:gd name="connsiteY50" fmla="*/ 5100 h 9971"/>
                  <a:gd name="connsiteX51" fmla="*/ 3777 w 10000"/>
                  <a:gd name="connsiteY51" fmla="*/ 3328 h 9971"/>
                  <a:gd name="connsiteX52" fmla="*/ 3644 w 10000"/>
                  <a:gd name="connsiteY52" fmla="*/ 2885 h 9971"/>
                  <a:gd name="connsiteX53" fmla="*/ 3490 w 10000"/>
                  <a:gd name="connsiteY53" fmla="*/ 2485 h 9971"/>
                  <a:gd name="connsiteX54" fmla="*/ 3347 w 10000"/>
                  <a:gd name="connsiteY54" fmla="*/ 2128 h 9971"/>
                  <a:gd name="connsiteX55" fmla="*/ 3193 w 10000"/>
                  <a:gd name="connsiteY55" fmla="*/ 1757 h 9971"/>
                  <a:gd name="connsiteX56" fmla="*/ 3040 w 10000"/>
                  <a:gd name="connsiteY56" fmla="*/ 1428 h 9971"/>
                  <a:gd name="connsiteX57" fmla="*/ 2886 w 10000"/>
                  <a:gd name="connsiteY57" fmla="*/ 1142 h 9971"/>
                  <a:gd name="connsiteX58" fmla="*/ 2723 w 10000"/>
                  <a:gd name="connsiteY58" fmla="*/ 871 h 9971"/>
                  <a:gd name="connsiteX59" fmla="*/ 2559 w 10000"/>
                  <a:gd name="connsiteY59" fmla="*/ 671 h 9971"/>
                  <a:gd name="connsiteX60" fmla="*/ 2467 w 10000"/>
                  <a:gd name="connsiteY60" fmla="*/ 571 h 9971"/>
                  <a:gd name="connsiteX61" fmla="*/ 2375 w 10000"/>
                  <a:gd name="connsiteY61" fmla="*/ 471 h 9971"/>
                  <a:gd name="connsiteX62" fmla="*/ 2282 w 10000"/>
                  <a:gd name="connsiteY62" fmla="*/ 414 h 9971"/>
                  <a:gd name="connsiteX63" fmla="*/ 2190 w 10000"/>
                  <a:gd name="connsiteY63" fmla="*/ 342 h 9971"/>
                  <a:gd name="connsiteX64" fmla="*/ 1791 w 10000"/>
                  <a:gd name="connsiteY64" fmla="*/ 228 h 9971"/>
                  <a:gd name="connsiteX65" fmla="*/ 1668 w 10000"/>
                  <a:gd name="connsiteY65" fmla="*/ 242 h 9971"/>
                  <a:gd name="connsiteX66" fmla="*/ 1525 w 10000"/>
                  <a:gd name="connsiteY66" fmla="*/ 285 h 9971"/>
                  <a:gd name="connsiteX67" fmla="*/ 1402 w 10000"/>
                  <a:gd name="connsiteY67" fmla="*/ 328 h 9971"/>
                  <a:gd name="connsiteX68" fmla="*/ 1279 w 10000"/>
                  <a:gd name="connsiteY68" fmla="*/ 414 h 9971"/>
                  <a:gd name="connsiteX69" fmla="*/ 1157 w 10000"/>
                  <a:gd name="connsiteY69" fmla="*/ 500 h 9971"/>
                  <a:gd name="connsiteX70" fmla="*/ 1044 w 10000"/>
                  <a:gd name="connsiteY70" fmla="*/ 614 h 9971"/>
                  <a:gd name="connsiteX71" fmla="*/ 931 w 10000"/>
                  <a:gd name="connsiteY71" fmla="*/ 757 h 9971"/>
                  <a:gd name="connsiteX72" fmla="*/ 809 w 10000"/>
                  <a:gd name="connsiteY72" fmla="*/ 900 h 9971"/>
                  <a:gd name="connsiteX73" fmla="*/ 706 w 10000"/>
                  <a:gd name="connsiteY73" fmla="*/ 1085 h 9971"/>
                  <a:gd name="connsiteX74" fmla="*/ 604 w 10000"/>
                  <a:gd name="connsiteY74" fmla="*/ 1257 h 9971"/>
                  <a:gd name="connsiteX75" fmla="*/ 491 w 10000"/>
                  <a:gd name="connsiteY75" fmla="*/ 1457 h 9971"/>
                  <a:gd name="connsiteX76" fmla="*/ 399 w 10000"/>
                  <a:gd name="connsiteY76" fmla="*/ 1657 h 9971"/>
                  <a:gd name="connsiteX77" fmla="*/ 194 w 10000"/>
                  <a:gd name="connsiteY77" fmla="*/ 2128 h 9971"/>
                  <a:gd name="connsiteX78" fmla="*/ 0 w 10000"/>
                  <a:gd name="connsiteY78" fmla="*/ 2614 h 9971"/>
                  <a:gd name="connsiteX79" fmla="*/ 10 w 10000"/>
                  <a:gd name="connsiteY79" fmla="*/ 942 h 9971"/>
                  <a:gd name="connsiteX80" fmla="*/ 205 w 10000"/>
                  <a:gd name="connsiteY80" fmla="*/ 728 h 9971"/>
                  <a:gd name="connsiteX81" fmla="*/ 399 w 10000"/>
                  <a:gd name="connsiteY81" fmla="*/ 542 h 9971"/>
                  <a:gd name="connsiteX82" fmla="*/ 604 w 10000"/>
                  <a:gd name="connsiteY82" fmla="*/ 357 h 9971"/>
                  <a:gd name="connsiteX83" fmla="*/ 819 w 10000"/>
                  <a:gd name="connsiteY83" fmla="*/ 228 h 9971"/>
                  <a:gd name="connsiteX84" fmla="*/ 1054 w 10000"/>
                  <a:gd name="connsiteY84" fmla="*/ 128 h 9971"/>
                  <a:gd name="connsiteX85" fmla="*/ 1300 w 10000"/>
                  <a:gd name="connsiteY85" fmla="*/ 42 h 9971"/>
                  <a:gd name="connsiteX86" fmla="*/ 1535 w 10000"/>
                  <a:gd name="connsiteY86" fmla="*/ 0 h 9971"/>
                  <a:gd name="connsiteX87" fmla="*/ 2272 w 10000"/>
                  <a:gd name="connsiteY87" fmla="*/ 42 h 9971"/>
                  <a:gd name="connsiteX88" fmla="*/ 2426 w 10000"/>
                  <a:gd name="connsiteY88" fmla="*/ 85 h 9971"/>
                  <a:gd name="connsiteX89" fmla="*/ 2569 w 10000"/>
                  <a:gd name="connsiteY89" fmla="*/ 157 h 9971"/>
                  <a:gd name="connsiteX90" fmla="*/ 2712 w 10000"/>
                  <a:gd name="connsiteY90" fmla="*/ 228 h 9971"/>
                  <a:gd name="connsiteX91" fmla="*/ 2845 w 10000"/>
                  <a:gd name="connsiteY91" fmla="*/ 314 h 9971"/>
                  <a:gd name="connsiteX92" fmla="*/ 2989 w 10000"/>
                  <a:gd name="connsiteY92" fmla="*/ 414 h 9971"/>
                  <a:gd name="connsiteX93" fmla="*/ 3112 w 10000"/>
                  <a:gd name="connsiteY93" fmla="*/ 500 h 9971"/>
                  <a:gd name="connsiteX94" fmla="*/ 3234 w 10000"/>
                  <a:gd name="connsiteY94" fmla="*/ 628 h 9971"/>
                  <a:gd name="connsiteX95" fmla="*/ 3367 w 10000"/>
                  <a:gd name="connsiteY95" fmla="*/ 757 h 9971"/>
                  <a:gd name="connsiteX96" fmla="*/ 3490 w 10000"/>
                  <a:gd name="connsiteY96" fmla="*/ 885 h 9971"/>
                  <a:gd name="connsiteX97" fmla="*/ 3726 w 10000"/>
                  <a:gd name="connsiteY97" fmla="*/ 1171 h 9971"/>
                  <a:gd name="connsiteX98" fmla="*/ 3941 w 10000"/>
                  <a:gd name="connsiteY98" fmla="*/ 1514 h 9971"/>
                  <a:gd name="connsiteX99" fmla="*/ 4145 w 10000"/>
                  <a:gd name="connsiteY99" fmla="*/ 1871 h 9971"/>
                  <a:gd name="connsiteX100" fmla="*/ 4340 w 10000"/>
                  <a:gd name="connsiteY100" fmla="*/ 2257 h 9971"/>
                  <a:gd name="connsiteX101" fmla="*/ 4534 w 10000"/>
                  <a:gd name="connsiteY101" fmla="*/ 2657 h 9971"/>
                  <a:gd name="connsiteX102" fmla="*/ 4708 w 10000"/>
                  <a:gd name="connsiteY102" fmla="*/ 3071 h 9971"/>
                  <a:gd name="connsiteX103" fmla="*/ 4893 w 10000"/>
                  <a:gd name="connsiteY103" fmla="*/ 3500 h 9971"/>
                  <a:gd name="connsiteX104" fmla="*/ 5056 w 10000"/>
                  <a:gd name="connsiteY104" fmla="*/ 3942 h 9971"/>
                  <a:gd name="connsiteX105" fmla="*/ 5363 w 10000"/>
                  <a:gd name="connsiteY105" fmla="*/ 4842 h 9971"/>
                  <a:gd name="connsiteX106" fmla="*/ 5967 w 10000"/>
                  <a:gd name="connsiteY106" fmla="*/ 6628 h 9971"/>
                  <a:gd name="connsiteX107" fmla="*/ 6254 w 10000"/>
                  <a:gd name="connsiteY107" fmla="*/ 7457 h 9971"/>
                  <a:gd name="connsiteX108" fmla="*/ 6407 w 10000"/>
                  <a:gd name="connsiteY108" fmla="*/ 7814 h 9971"/>
                  <a:gd name="connsiteX109" fmla="*/ 6551 w 10000"/>
                  <a:gd name="connsiteY109" fmla="*/ 8185 h 9971"/>
                  <a:gd name="connsiteX110" fmla="*/ 6714 w 10000"/>
                  <a:gd name="connsiteY110" fmla="*/ 8514 h 9971"/>
                  <a:gd name="connsiteX111" fmla="*/ 6868 w 10000"/>
                  <a:gd name="connsiteY111" fmla="*/ 8800 h 9971"/>
                  <a:gd name="connsiteX112" fmla="*/ 7021 w 10000"/>
                  <a:gd name="connsiteY112" fmla="*/ 9071 h 9971"/>
                  <a:gd name="connsiteX113" fmla="*/ 7195 w 10000"/>
                  <a:gd name="connsiteY113" fmla="*/ 9271 h 9971"/>
                  <a:gd name="connsiteX114" fmla="*/ 7288 w 10000"/>
                  <a:gd name="connsiteY114" fmla="*/ 9371 h 9971"/>
                  <a:gd name="connsiteX115" fmla="*/ 7369 w 10000"/>
                  <a:gd name="connsiteY115" fmla="*/ 9471 h 9971"/>
                  <a:gd name="connsiteX116" fmla="*/ 7462 w 10000"/>
                  <a:gd name="connsiteY116" fmla="*/ 9528 h 9971"/>
                  <a:gd name="connsiteX117" fmla="*/ 7554 w 10000"/>
                  <a:gd name="connsiteY117" fmla="*/ 9600 h 9971"/>
                  <a:gd name="connsiteX118" fmla="*/ 7646 w 10000"/>
                  <a:gd name="connsiteY118" fmla="*/ 9642 h 9971"/>
                  <a:gd name="connsiteX119" fmla="*/ 7748 w 10000"/>
                  <a:gd name="connsiteY119" fmla="*/ 9671 h 9971"/>
                  <a:gd name="connsiteX120" fmla="*/ 7851 w 10000"/>
                  <a:gd name="connsiteY120" fmla="*/ 9714 h 9971"/>
                  <a:gd name="connsiteX121" fmla="*/ 7943 w 10000"/>
                  <a:gd name="connsiteY121" fmla="*/ 9714 h 9971"/>
                  <a:gd name="connsiteX0" fmla="*/ 7943 w 10000"/>
                  <a:gd name="connsiteY0" fmla="*/ 9742 h 10000"/>
                  <a:gd name="connsiteX1" fmla="*/ 7943 w 10000"/>
                  <a:gd name="connsiteY1" fmla="*/ 9742 h 10000"/>
                  <a:gd name="connsiteX2" fmla="*/ 8076 w 10000"/>
                  <a:gd name="connsiteY2" fmla="*/ 9742 h 10000"/>
                  <a:gd name="connsiteX3" fmla="*/ 8178 w 10000"/>
                  <a:gd name="connsiteY3" fmla="*/ 9699 h 10000"/>
                  <a:gd name="connsiteX4" fmla="*/ 8291 w 10000"/>
                  <a:gd name="connsiteY4" fmla="*/ 9656 h 10000"/>
                  <a:gd name="connsiteX5" fmla="*/ 8403 w 10000"/>
                  <a:gd name="connsiteY5" fmla="*/ 9613 h 10000"/>
                  <a:gd name="connsiteX6" fmla="*/ 8506 w 10000"/>
                  <a:gd name="connsiteY6" fmla="*/ 9528 h 10000"/>
                  <a:gd name="connsiteX7" fmla="*/ 8608 w 10000"/>
                  <a:gd name="connsiteY7" fmla="*/ 9427 h 10000"/>
                  <a:gd name="connsiteX8" fmla="*/ 8700 w 10000"/>
                  <a:gd name="connsiteY8" fmla="*/ 9341 h 10000"/>
                  <a:gd name="connsiteX9" fmla="*/ 8802 w 10000"/>
                  <a:gd name="connsiteY9" fmla="*/ 9212 h 10000"/>
                  <a:gd name="connsiteX10" fmla="*/ 8915 w 10000"/>
                  <a:gd name="connsiteY10" fmla="*/ 9083 h 10000"/>
                  <a:gd name="connsiteX11" fmla="*/ 9007 w 10000"/>
                  <a:gd name="connsiteY11" fmla="*/ 8940 h 10000"/>
                  <a:gd name="connsiteX12" fmla="*/ 9191 w 10000"/>
                  <a:gd name="connsiteY12" fmla="*/ 8610 h 10000"/>
                  <a:gd name="connsiteX13" fmla="*/ 9376 w 10000"/>
                  <a:gd name="connsiteY13" fmla="*/ 8238 h 10000"/>
                  <a:gd name="connsiteX14" fmla="*/ 9539 w 10000"/>
                  <a:gd name="connsiteY14" fmla="*/ 7837 h 10000"/>
                  <a:gd name="connsiteX15" fmla="*/ 9775 w 10000"/>
                  <a:gd name="connsiteY15" fmla="*/ 8281 h 10000"/>
                  <a:gd name="connsiteX16" fmla="*/ 10000 w 10000"/>
                  <a:gd name="connsiteY16" fmla="*/ 8696 h 10000"/>
                  <a:gd name="connsiteX17" fmla="*/ 9785 w 10000"/>
                  <a:gd name="connsiteY17" fmla="*/ 8983 h 10000"/>
                  <a:gd name="connsiteX18" fmla="*/ 9570 w 10000"/>
                  <a:gd name="connsiteY18" fmla="*/ 9241 h 10000"/>
                  <a:gd name="connsiteX19" fmla="*/ 9324 w 10000"/>
                  <a:gd name="connsiteY19" fmla="*/ 9469 h 10000"/>
                  <a:gd name="connsiteX20" fmla="*/ 9212 w 10000"/>
                  <a:gd name="connsiteY20" fmla="*/ 9556 h 10000"/>
                  <a:gd name="connsiteX21" fmla="*/ 9079 w 10000"/>
                  <a:gd name="connsiteY21" fmla="*/ 9656 h 10000"/>
                  <a:gd name="connsiteX22" fmla="*/ 8946 w 10000"/>
                  <a:gd name="connsiteY22" fmla="*/ 9742 h 10000"/>
                  <a:gd name="connsiteX23" fmla="*/ 8823 w 10000"/>
                  <a:gd name="connsiteY23" fmla="*/ 9799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3 h 10000"/>
                  <a:gd name="connsiteX35" fmla="*/ 7021 w 10000"/>
                  <a:gd name="connsiteY35" fmla="*/ 9756 h 10000"/>
                  <a:gd name="connsiteX36" fmla="*/ 6888 w 10000"/>
                  <a:gd name="connsiteY36" fmla="*/ 9656 h 10000"/>
                  <a:gd name="connsiteX37" fmla="*/ 6745 w 10000"/>
                  <a:gd name="connsiteY37" fmla="*/ 9556 h 10000"/>
                  <a:gd name="connsiteX38" fmla="*/ 6622 w 10000"/>
                  <a:gd name="connsiteY38" fmla="*/ 9469 h 10000"/>
                  <a:gd name="connsiteX39" fmla="*/ 6479 w 10000"/>
                  <a:gd name="connsiteY39" fmla="*/ 9341 h 10000"/>
                  <a:gd name="connsiteX40" fmla="*/ 6366 w 10000"/>
                  <a:gd name="connsiteY40" fmla="*/ 9227 h 10000"/>
                  <a:gd name="connsiteX41" fmla="*/ 6244 w 10000"/>
                  <a:gd name="connsiteY41" fmla="*/ 9083 h 10000"/>
                  <a:gd name="connsiteX42" fmla="*/ 6008 w 10000"/>
                  <a:gd name="connsiteY42" fmla="*/ 8782 h 10000"/>
                  <a:gd name="connsiteX43" fmla="*/ 5793 w 10000"/>
                  <a:gd name="connsiteY43" fmla="*/ 8453 h 10000"/>
                  <a:gd name="connsiteX44" fmla="*/ 5589 w 10000"/>
                  <a:gd name="connsiteY44" fmla="*/ 8094 h 10000"/>
                  <a:gd name="connsiteX45" fmla="*/ 5394 w 10000"/>
                  <a:gd name="connsiteY45" fmla="*/ 7707 h 10000"/>
                  <a:gd name="connsiteX46" fmla="*/ 5200 w 10000"/>
                  <a:gd name="connsiteY46" fmla="*/ 7306 h 10000"/>
                  <a:gd name="connsiteX47" fmla="*/ 5026 w 10000"/>
                  <a:gd name="connsiteY47" fmla="*/ 6891 h 10000"/>
                  <a:gd name="connsiteX48" fmla="*/ 4852 w 10000"/>
                  <a:gd name="connsiteY48" fmla="*/ 6461 h 10000"/>
                  <a:gd name="connsiteX49" fmla="*/ 4688 w 10000"/>
                  <a:gd name="connsiteY49" fmla="*/ 6017 h 10000"/>
                  <a:gd name="connsiteX50" fmla="*/ 4371 w 10000"/>
                  <a:gd name="connsiteY50" fmla="*/ 5115 h 10000"/>
                  <a:gd name="connsiteX51" fmla="*/ 3777 w 10000"/>
                  <a:gd name="connsiteY51" fmla="*/ 3338 h 10000"/>
                  <a:gd name="connsiteX52" fmla="*/ 3644 w 10000"/>
                  <a:gd name="connsiteY52" fmla="*/ 2893 h 10000"/>
                  <a:gd name="connsiteX53" fmla="*/ 3490 w 10000"/>
                  <a:gd name="connsiteY53" fmla="*/ 2492 h 10000"/>
                  <a:gd name="connsiteX54" fmla="*/ 3347 w 10000"/>
                  <a:gd name="connsiteY54" fmla="*/ 2134 h 10000"/>
                  <a:gd name="connsiteX55" fmla="*/ 3193 w 10000"/>
                  <a:gd name="connsiteY55" fmla="*/ 1762 h 10000"/>
                  <a:gd name="connsiteX56" fmla="*/ 3040 w 10000"/>
                  <a:gd name="connsiteY56" fmla="*/ 1432 h 10000"/>
                  <a:gd name="connsiteX57" fmla="*/ 2886 w 10000"/>
                  <a:gd name="connsiteY57" fmla="*/ 1145 h 10000"/>
                  <a:gd name="connsiteX58" fmla="*/ 2723 w 10000"/>
                  <a:gd name="connsiteY58" fmla="*/ 874 h 10000"/>
                  <a:gd name="connsiteX59" fmla="*/ 2559 w 10000"/>
                  <a:gd name="connsiteY59" fmla="*/ 673 h 10000"/>
                  <a:gd name="connsiteX60" fmla="*/ 2467 w 10000"/>
                  <a:gd name="connsiteY60" fmla="*/ 573 h 10000"/>
                  <a:gd name="connsiteX61" fmla="*/ 2375 w 10000"/>
                  <a:gd name="connsiteY61" fmla="*/ 472 h 10000"/>
                  <a:gd name="connsiteX62" fmla="*/ 2282 w 10000"/>
                  <a:gd name="connsiteY62" fmla="*/ 415 h 10000"/>
                  <a:gd name="connsiteX63" fmla="*/ 2190 w 10000"/>
                  <a:gd name="connsiteY63" fmla="*/ 343 h 10000"/>
                  <a:gd name="connsiteX64" fmla="*/ 1668 w 10000"/>
                  <a:gd name="connsiteY64" fmla="*/ 243 h 10000"/>
                  <a:gd name="connsiteX65" fmla="*/ 1525 w 10000"/>
                  <a:gd name="connsiteY65" fmla="*/ 286 h 10000"/>
                  <a:gd name="connsiteX66" fmla="*/ 1402 w 10000"/>
                  <a:gd name="connsiteY66" fmla="*/ 329 h 10000"/>
                  <a:gd name="connsiteX67" fmla="*/ 1279 w 10000"/>
                  <a:gd name="connsiteY67" fmla="*/ 415 h 10000"/>
                  <a:gd name="connsiteX68" fmla="*/ 1157 w 10000"/>
                  <a:gd name="connsiteY68" fmla="*/ 501 h 10000"/>
                  <a:gd name="connsiteX69" fmla="*/ 1044 w 10000"/>
                  <a:gd name="connsiteY69" fmla="*/ 616 h 10000"/>
                  <a:gd name="connsiteX70" fmla="*/ 931 w 10000"/>
                  <a:gd name="connsiteY70" fmla="*/ 759 h 10000"/>
                  <a:gd name="connsiteX71" fmla="*/ 809 w 10000"/>
                  <a:gd name="connsiteY71" fmla="*/ 903 h 10000"/>
                  <a:gd name="connsiteX72" fmla="*/ 706 w 10000"/>
                  <a:gd name="connsiteY72" fmla="*/ 1088 h 10000"/>
                  <a:gd name="connsiteX73" fmla="*/ 604 w 10000"/>
                  <a:gd name="connsiteY73" fmla="*/ 1261 h 10000"/>
                  <a:gd name="connsiteX74" fmla="*/ 491 w 10000"/>
                  <a:gd name="connsiteY74" fmla="*/ 1461 h 10000"/>
                  <a:gd name="connsiteX75" fmla="*/ 399 w 10000"/>
                  <a:gd name="connsiteY75" fmla="*/ 1662 h 10000"/>
                  <a:gd name="connsiteX76" fmla="*/ 194 w 10000"/>
                  <a:gd name="connsiteY76" fmla="*/ 2134 h 10000"/>
                  <a:gd name="connsiteX77" fmla="*/ 0 w 10000"/>
                  <a:gd name="connsiteY77" fmla="*/ 2622 h 10000"/>
                  <a:gd name="connsiteX78" fmla="*/ 10 w 10000"/>
                  <a:gd name="connsiteY78" fmla="*/ 945 h 10000"/>
                  <a:gd name="connsiteX79" fmla="*/ 205 w 10000"/>
                  <a:gd name="connsiteY79" fmla="*/ 730 h 10000"/>
                  <a:gd name="connsiteX80" fmla="*/ 399 w 10000"/>
                  <a:gd name="connsiteY80" fmla="*/ 544 h 10000"/>
                  <a:gd name="connsiteX81" fmla="*/ 604 w 10000"/>
                  <a:gd name="connsiteY81" fmla="*/ 358 h 10000"/>
                  <a:gd name="connsiteX82" fmla="*/ 819 w 10000"/>
                  <a:gd name="connsiteY82" fmla="*/ 229 h 10000"/>
                  <a:gd name="connsiteX83" fmla="*/ 1054 w 10000"/>
                  <a:gd name="connsiteY83" fmla="*/ 128 h 10000"/>
                  <a:gd name="connsiteX84" fmla="*/ 1300 w 10000"/>
                  <a:gd name="connsiteY84" fmla="*/ 42 h 10000"/>
                  <a:gd name="connsiteX85" fmla="*/ 1535 w 10000"/>
                  <a:gd name="connsiteY85" fmla="*/ 0 h 10000"/>
                  <a:gd name="connsiteX86" fmla="*/ 2272 w 10000"/>
                  <a:gd name="connsiteY86" fmla="*/ 42 h 10000"/>
                  <a:gd name="connsiteX87" fmla="*/ 2426 w 10000"/>
                  <a:gd name="connsiteY87" fmla="*/ 85 h 10000"/>
                  <a:gd name="connsiteX88" fmla="*/ 2569 w 10000"/>
                  <a:gd name="connsiteY88" fmla="*/ 157 h 10000"/>
                  <a:gd name="connsiteX89" fmla="*/ 2712 w 10000"/>
                  <a:gd name="connsiteY89" fmla="*/ 229 h 10000"/>
                  <a:gd name="connsiteX90" fmla="*/ 2845 w 10000"/>
                  <a:gd name="connsiteY90" fmla="*/ 315 h 10000"/>
                  <a:gd name="connsiteX91" fmla="*/ 2989 w 10000"/>
                  <a:gd name="connsiteY91" fmla="*/ 415 h 10000"/>
                  <a:gd name="connsiteX92" fmla="*/ 3112 w 10000"/>
                  <a:gd name="connsiteY92" fmla="*/ 501 h 10000"/>
                  <a:gd name="connsiteX93" fmla="*/ 3234 w 10000"/>
                  <a:gd name="connsiteY93" fmla="*/ 630 h 10000"/>
                  <a:gd name="connsiteX94" fmla="*/ 3367 w 10000"/>
                  <a:gd name="connsiteY94" fmla="*/ 759 h 10000"/>
                  <a:gd name="connsiteX95" fmla="*/ 3490 w 10000"/>
                  <a:gd name="connsiteY95" fmla="*/ 888 h 10000"/>
                  <a:gd name="connsiteX96" fmla="*/ 3726 w 10000"/>
                  <a:gd name="connsiteY96" fmla="*/ 1174 h 10000"/>
                  <a:gd name="connsiteX97" fmla="*/ 3941 w 10000"/>
                  <a:gd name="connsiteY97" fmla="*/ 1518 h 10000"/>
                  <a:gd name="connsiteX98" fmla="*/ 4145 w 10000"/>
                  <a:gd name="connsiteY98" fmla="*/ 1876 h 10000"/>
                  <a:gd name="connsiteX99" fmla="*/ 4340 w 10000"/>
                  <a:gd name="connsiteY99" fmla="*/ 2264 h 10000"/>
                  <a:gd name="connsiteX100" fmla="*/ 4534 w 10000"/>
                  <a:gd name="connsiteY100" fmla="*/ 2665 h 10000"/>
                  <a:gd name="connsiteX101" fmla="*/ 4708 w 10000"/>
                  <a:gd name="connsiteY101" fmla="*/ 3080 h 10000"/>
                  <a:gd name="connsiteX102" fmla="*/ 4893 w 10000"/>
                  <a:gd name="connsiteY102" fmla="*/ 3510 h 10000"/>
                  <a:gd name="connsiteX103" fmla="*/ 5056 w 10000"/>
                  <a:gd name="connsiteY103" fmla="*/ 3953 h 10000"/>
                  <a:gd name="connsiteX104" fmla="*/ 5363 w 10000"/>
                  <a:gd name="connsiteY104" fmla="*/ 4856 h 10000"/>
                  <a:gd name="connsiteX105" fmla="*/ 5967 w 10000"/>
                  <a:gd name="connsiteY105" fmla="*/ 6647 h 10000"/>
                  <a:gd name="connsiteX106" fmla="*/ 6254 w 10000"/>
                  <a:gd name="connsiteY106" fmla="*/ 7479 h 10000"/>
                  <a:gd name="connsiteX107" fmla="*/ 6407 w 10000"/>
                  <a:gd name="connsiteY107" fmla="*/ 7837 h 10000"/>
                  <a:gd name="connsiteX108" fmla="*/ 6551 w 10000"/>
                  <a:gd name="connsiteY108" fmla="*/ 8209 h 10000"/>
                  <a:gd name="connsiteX109" fmla="*/ 6714 w 10000"/>
                  <a:gd name="connsiteY109" fmla="*/ 8539 h 10000"/>
                  <a:gd name="connsiteX110" fmla="*/ 6868 w 10000"/>
                  <a:gd name="connsiteY110" fmla="*/ 8826 h 10000"/>
                  <a:gd name="connsiteX111" fmla="*/ 7021 w 10000"/>
                  <a:gd name="connsiteY111" fmla="*/ 9097 h 10000"/>
                  <a:gd name="connsiteX112" fmla="*/ 7195 w 10000"/>
                  <a:gd name="connsiteY112" fmla="*/ 9298 h 10000"/>
                  <a:gd name="connsiteX113" fmla="*/ 7288 w 10000"/>
                  <a:gd name="connsiteY113" fmla="*/ 9398 h 10000"/>
                  <a:gd name="connsiteX114" fmla="*/ 7369 w 10000"/>
                  <a:gd name="connsiteY114" fmla="*/ 9499 h 10000"/>
                  <a:gd name="connsiteX115" fmla="*/ 7462 w 10000"/>
                  <a:gd name="connsiteY115" fmla="*/ 9556 h 10000"/>
                  <a:gd name="connsiteX116" fmla="*/ 7554 w 10000"/>
                  <a:gd name="connsiteY116" fmla="*/ 9628 h 10000"/>
                  <a:gd name="connsiteX117" fmla="*/ 7646 w 10000"/>
                  <a:gd name="connsiteY117" fmla="*/ 9670 h 10000"/>
                  <a:gd name="connsiteX118" fmla="*/ 7748 w 10000"/>
                  <a:gd name="connsiteY118" fmla="*/ 9699 h 10000"/>
                  <a:gd name="connsiteX119" fmla="*/ 7851 w 10000"/>
                  <a:gd name="connsiteY119" fmla="*/ 9742 h 10000"/>
                  <a:gd name="connsiteX120" fmla="*/ 7943 w 10000"/>
                  <a:gd name="connsiteY120" fmla="*/ 9742 h 10000"/>
                  <a:gd name="connsiteX0" fmla="*/ 7943 w 10000"/>
                  <a:gd name="connsiteY0" fmla="*/ 9742 h 10000"/>
                  <a:gd name="connsiteX1" fmla="*/ 7943 w 10000"/>
                  <a:gd name="connsiteY1" fmla="*/ 9742 h 10000"/>
                  <a:gd name="connsiteX2" fmla="*/ 8076 w 10000"/>
                  <a:gd name="connsiteY2" fmla="*/ 9742 h 10000"/>
                  <a:gd name="connsiteX3" fmla="*/ 8178 w 10000"/>
                  <a:gd name="connsiteY3" fmla="*/ 9699 h 10000"/>
                  <a:gd name="connsiteX4" fmla="*/ 8291 w 10000"/>
                  <a:gd name="connsiteY4" fmla="*/ 9656 h 10000"/>
                  <a:gd name="connsiteX5" fmla="*/ 8403 w 10000"/>
                  <a:gd name="connsiteY5" fmla="*/ 9613 h 10000"/>
                  <a:gd name="connsiteX6" fmla="*/ 8506 w 10000"/>
                  <a:gd name="connsiteY6" fmla="*/ 9528 h 10000"/>
                  <a:gd name="connsiteX7" fmla="*/ 8608 w 10000"/>
                  <a:gd name="connsiteY7" fmla="*/ 9427 h 10000"/>
                  <a:gd name="connsiteX8" fmla="*/ 8700 w 10000"/>
                  <a:gd name="connsiteY8" fmla="*/ 9341 h 10000"/>
                  <a:gd name="connsiteX9" fmla="*/ 8802 w 10000"/>
                  <a:gd name="connsiteY9" fmla="*/ 9212 h 10000"/>
                  <a:gd name="connsiteX10" fmla="*/ 8915 w 10000"/>
                  <a:gd name="connsiteY10" fmla="*/ 9083 h 10000"/>
                  <a:gd name="connsiteX11" fmla="*/ 9007 w 10000"/>
                  <a:gd name="connsiteY11" fmla="*/ 8940 h 10000"/>
                  <a:gd name="connsiteX12" fmla="*/ 9191 w 10000"/>
                  <a:gd name="connsiteY12" fmla="*/ 8610 h 10000"/>
                  <a:gd name="connsiteX13" fmla="*/ 9376 w 10000"/>
                  <a:gd name="connsiteY13" fmla="*/ 8238 h 10000"/>
                  <a:gd name="connsiteX14" fmla="*/ 9539 w 10000"/>
                  <a:gd name="connsiteY14" fmla="*/ 7837 h 10000"/>
                  <a:gd name="connsiteX15" fmla="*/ 9775 w 10000"/>
                  <a:gd name="connsiteY15" fmla="*/ 8281 h 10000"/>
                  <a:gd name="connsiteX16" fmla="*/ 10000 w 10000"/>
                  <a:gd name="connsiteY16" fmla="*/ 8696 h 10000"/>
                  <a:gd name="connsiteX17" fmla="*/ 9785 w 10000"/>
                  <a:gd name="connsiteY17" fmla="*/ 8983 h 10000"/>
                  <a:gd name="connsiteX18" fmla="*/ 9570 w 10000"/>
                  <a:gd name="connsiteY18" fmla="*/ 9241 h 10000"/>
                  <a:gd name="connsiteX19" fmla="*/ 9324 w 10000"/>
                  <a:gd name="connsiteY19" fmla="*/ 9469 h 10000"/>
                  <a:gd name="connsiteX20" fmla="*/ 9212 w 10000"/>
                  <a:gd name="connsiteY20" fmla="*/ 9556 h 10000"/>
                  <a:gd name="connsiteX21" fmla="*/ 9079 w 10000"/>
                  <a:gd name="connsiteY21" fmla="*/ 9656 h 10000"/>
                  <a:gd name="connsiteX22" fmla="*/ 8946 w 10000"/>
                  <a:gd name="connsiteY22" fmla="*/ 9742 h 10000"/>
                  <a:gd name="connsiteX23" fmla="*/ 8823 w 10000"/>
                  <a:gd name="connsiteY23" fmla="*/ 9799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3 h 10000"/>
                  <a:gd name="connsiteX35" fmla="*/ 7021 w 10000"/>
                  <a:gd name="connsiteY35" fmla="*/ 9756 h 10000"/>
                  <a:gd name="connsiteX36" fmla="*/ 6888 w 10000"/>
                  <a:gd name="connsiteY36" fmla="*/ 9656 h 10000"/>
                  <a:gd name="connsiteX37" fmla="*/ 6745 w 10000"/>
                  <a:gd name="connsiteY37" fmla="*/ 9556 h 10000"/>
                  <a:gd name="connsiteX38" fmla="*/ 6622 w 10000"/>
                  <a:gd name="connsiteY38" fmla="*/ 9469 h 10000"/>
                  <a:gd name="connsiteX39" fmla="*/ 6479 w 10000"/>
                  <a:gd name="connsiteY39" fmla="*/ 9341 h 10000"/>
                  <a:gd name="connsiteX40" fmla="*/ 6366 w 10000"/>
                  <a:gd name="connsiteY40" fmla="*/ 9227 h 10000"/>
                  <a:gd name="connsiteX41" fmla="*/ 6244 w 10000"/>
                  <a:gd name="connsiteY41" fmla="*/ 9083 h 10000"/>
                  <a:gd name="connsiteX42" fmla="*/ 6008 w 10000"/>
                  <a:gd name="connsiteY42" fmla="*/ 8782 h 10000"/>
                  <a:gd name="connsiteX43" fmla="*/ 5793 w 10000"/>
                  <a:gd name="connsiteY43" fmla="*/ 8453 h 10000"/>
                  <a:gd name="connsiteX44" fmla="*/ 5589 w 10000"/>
                  <a:gd name="connsiteY44" fmla="*/ 8094 h 10000"/>
                  <a:gd name="connsiteX45" fmla="*/ 5394 w 10000"/>
                  <a:gd name="connsiteY45" fmla="*/ 7707 h 10000"/>
                  <a:gd name="connsiteX46" fmla="*/ 5200 w 10000"/>
                  <a:gd name="connsiteY46" fmla="*/ 7306 h 10000"/>
                  <a:gd name="connsiteX47" fmla="*/ 5026 w 10000"/>
                  <a:gd name="connsiteY47" fmla="*/ 6891 h 10000"/>
                  <a:gd name="connsiteX48" fmla="*/ 4852 w 10000"/>
                  <a:gd name="connsiteY48" fmla="*/ 6461 h 10000"/>
                  <a:gd name="connsiteX49" fmla="*/ 4688 w 10000"/>
                  <a:gd name="connsiteY49" fmla="*/ 6017 h 10000"/>
                  <a:gd name="connsiteX50" fmla="*/ 4371 w 10000"/>
                  <a:gd name="connsiteY50" fmla="*/ 5115 h 10000"/>
                  <a:gd name="connsiteX51" fmla="*/ 3777 w 10000"/>
                  <a:gd name="connsiteY51" fmla="*/ 3338 h 10000"/>
                  <a:gd name="connsiteX52" fmla="*/ 3644 w 10000"/>
                  <a:gd name="connsiteY52" fmla="*/ 2893 h 10000"/>
                  <a:gd name="connsiteX53" fmla="*/ 3490 w 10000"/>
                  <a:gd name="connsiteY53" fmla="*/ 2492 h 10000"/>
                  <a:gd name="connsiteX54" fmla="*/ 3347 w 10000"/>
                  <a:gd name="connsiteY54" fmla="*/ 2134 h 10000"/>
                  <a:gd name="connsiteX55" fmla="*/ 3193 w 10000"/>
                  <a:gd name="connsiteY55" fmla="*/ 1762 h 10000"/>
                  <a:gd name="connsiteX56" fmla="*/ 3040 w 10000"/>
                  <a:gd name="connsiteY56" fmla="*/ 1432 h 10000"/>
                  <a:gd name="connsiteX57" fmla="*/ 2886 w 10000"/>
                  <a:gd name="connsiteY57" fmla="*/ 1145 h 10000"/>
                  <a:gd name="connsiteX58" fmla="*/ 2723 w 10000"/>
                  <a:gd name="connsiteY58" fmla="*/ 874 h 10000"/>
                  <a:gd name="connsiteX59" fmla="*/ 2559 w 10000"/>
                  <a:gd name="connsiteY59" fmla="*/ 673 h 10000"/>
                  <a:gd name="connsiteX60" fmla="*/ 2467 w 10000"/>
                  <a:gd name="connsiteY60" fmla="*/ 573 h 10000"/>
                  <a:gd name="connsiteX61" fmla="*/ 2375 w 10000"/>
                  <a:gd name="connsiteY61" fmla="*/ 472 h 10000"/>
                  <a:gd name="connsiteX62" fmla="*/ 2282 w 10000"/>
                  <a:gd name="connsiteY62" fmla="*/ 415 h 10000"/>
                  <a:gd name="connsiteX63" fmla="*/ 2190 w 10000"/>
                  <a:gd name="connsiteY63" fmla="*/ 343 h 10000"/>
                  <a:gd name="connsiteX64" fmla="*/ 1668 w 10000"/>
                  <a:gd name="connsiteY64" fmla="*/ 243 h 10000"/>
                  <a:gd name="connsiteX65" fmla="*/ 1402 w 10000"/>
                  <a:gd name="connsiteY65" fmla="*/ 329 h 10000"/>
                  <a:gd name="connsiteX66" fmla="*/ 1279 w 10000"/>
                  <a:gd name="connsiteY66" fmla="*/ 415 h 10000"/>
                  <a:gd name="connsiteX67" fmla="*/ 1157 w 10000"/>
                  <a:gd name="connsiteY67" fmla="*/ 501 h 10000"/>
                  <a:gd name="connsiteX68" fmla="*/ 1044 w 10000"/>
                  <a:gd name="connsiteY68" fmla="*/ 616 h 10000"/>
                  <a:gd name="connsiteX69" fmla="*/ 931 w 10000"/>
                  <a:gd name="connsiteY69" fmla="*/ 759 h 10000"/>
                  <a:gd name="connsiteX70" fmla="*/ 809 w 10000"/>
                  <a:gd name="connsiteY70" fmla="*/ 903 h 10000"/>
                  <a:gd name="connsiteX71" fmla="*/ 706 w 10000"/>
                  <a:gd name="connsiteY71" fmla="*/ 1088 h 10000"/>
                  <a:gd name="connsiteX72" fmla="*/ 604 w 10000"/>
                  <a:gd name="connsiteY72" fmla="*/ 1261 h 10000"/>
                  <a:gd name="connsiteX73" fmla="*/ 491 w 10000"/>
                  <a:gd name="connsiteY73" fmla="*/ 1461 h 10000"/>
                  <a:gd name="connsiteX74" fmla="*/ 399 w 10000"/>
                  <a:gd name="connsiteY74" fmla="*/ 1662 h 10000"/>
                  <a:gd name="connsiteX75" fmla="*/ 194 w 10000"/>
                  <a:gd name="connsiteY75" fmla="*/ 2134 h 10000"/>
                  <a:gd name="connsiteX76" fmla="*/ 0 w 10000"/>
                  <a:gd name="connsiteY76" fmla="*/ 2622 h 10000"/>
                  <a:gd name="connsiteX77" fmla="*/ 10 w 10000"/>
                  <a:gd name="connsiteY77" fmla="*/ 945 h 10000"/>
                  <a:gd name="connsiteX78" fmla="*/ 205 w 10000"/>
                  <a:gd name="connsiteY78" fmla="*/ 730 h 10000"/>
                  <a:gd name="connsiteX79" fmla="*/ 399 w 10000"/>
                  <a:gd name="connsiteY79" fmla="*/ 544 h 10000"/>
                  <a:gd name="connsiteX80" fmla="*/ 604 w 10000"/>
                  <a:gd name="connsiteY80" fmla="*/ 358 h 10000"/>
                  <a:gd name="connsiteX81" fmla="*/ 819 w 10000"/>
                  <a:gd name="connsiteY81" fmla="*/ 229 h 10000"/>
                  <a:gd name="connsiteX82" fmla="*/ 1054 w 10000"/>
                  <a:gd name="connsiteY82" fmla="*/ 128 h 10000"/>
                  <a:gd name="connsiteX83" fmla="*/ 1300 w 10000"/>
                  <a:gd name="connsiteY83" fmla="*/ 42 h 10000"/>
                  <a:gd name="connsiteX84" fmla="*/ 1535 w 10000"/>
                  <a:gd name="connsiteY84" fmla="*/ 0 h 10000"/>
                  <a:gd name="connsiteX85" fmla="*/ 2272 w 10000"/>
                  <a:gd name="connsiteY85" fmla="*/ 42 h 10000"/>
                  <a:gd name="connsiteX86" fmla="*/ 2426 w 10000"/>
                  <a:gd name="connsiteY86" fmla="*/ 85 h 10000"/>
                  <a:gd name="connsiteX87" fmla="*/ 2569 w 10000"/>
                  <a:gd name="connsiteY87" fmla="*/ 157 h 10000"/>
                  <a:gd name="connsiteX88" fmla="*/ 2712 w 10000"/>
                  <a:gd name="connsiteY88" fmla="*/ 229 h 10000"/>
                  <a:gd name="connsiteX89" fmla="*/ 2845 w 10000"/>
                  <a:gd name="connsiteY89" fmla="*/ 315 h 10000"/>
                  <a:gd name="connsiteX90" fmla="*/ 2989 w 10000"/>
                  <a:gd name="connsiteY90" fmla="*/ 415 h 10000"/>
                  <a:gd name="connsiteX91" fmla="*/ 3112 w 10000"/>
                  <a:gd name="connsiteY91" fmla="*/ 501 h 10000"/>
                  <a:gd name="connsiteX92" fmla="*/ 3234 w 10000"/>
                  <a:gd name="connsiteY92" fmla="*/ 630 h 10000"/>
                  <a:gd name="connsiteX93" fmla="*/ 3367 w 10000"/>
                  <a:gd name="connsiteY93" fmla="*/ 759 h 10000"/>
                  <a:gd name="connsiteX94" fmla="*/ 3490 w 10000"/>
                  <a:gd name="connsiteY94" fmla="*/ 888 h 10000"/>
                  <a:gd name="connsiteX95" fmla="*/ 3726 w 10000"/>
                  <a:gd name="connsiteY95" fmla="*/ 1174 h 10000"/>
                  <a:gd name="connsiteX96" fmla="*/ 3941 w 10000"/>
                  <a:gd name="connsiteY96" fmla="*/ 1518 h 10000"/>
                  <a:gd name="connsiteX97" fmla="*/ 4145 w 10000"/>
                  <a:gd name="connsiteY97" fmla="*/ 1876 h 10000"/>
                  <a:gd name="connsiteX98" fmla="*/ 4340 w 10000"/>
                  <a:gd name="connsiteY98" fmla="*/ 2264 h 10000"/>
                  <a:gd name="connsiteX99" fmla="*/ 4534 w 10000"/>
                  <a:gd name="connsiteY99" fmla="*/ 2665 h 10000"/>
                  <a:gd name="connsiteX100" fmla="*/ 4708 w 10000"/>
                  <a:gd name="connsiteY100" fmla="*/ 3080 h 10000"/>
                  <a:gd name="connsiteX101" fmla="*/ 4893 w 10000"/>
                  <a:gd name="connsiteY101" fmla="*/ 3510 h 10000"/>
                  <a:gd name="connsiteX102" fmla="*/ 5056 w 10000"/>
                  <a:gd name="connsiteY102" fmla="*/ 3953 h 10000"/>
                  <a:gd name="connsiteX103" fmla="*/ 5363 w 10000"/>
                  <a:gd name="connsiteY103" fmla="*/ 4856 h 10000"/>
                  <a:gd name="connsiteX104" fmla="*/ 5967 w 10000"/>
                  <a:gd name="connsiteY104" fmla="*/ 6647 h 10000"/>
                  <a:gd name="connsiteX105" fmla="*/ 6254 w 10000"/>
                  <a:gd name="connsiteY105" fmla="*/ 7479 h 10000"/>
                  <a:gd name="connsiteX106" fmla="*/ 6407 w 10000"/>
                  <a:gd name="connsiteY106" fmla="*/ 7837 h 10000"/>
                  <a:gd name="connsiteX107" fmla="*/ 6551 w 10000"/>
                  <a:gd name="connsiteY107" fmla="*/ 8209 h 10000"/>
                  <a:gd name="connsiteX108" fmla="*/ 6714 w 10000"/>
                  <a:gd name="connsiteY108" fmla="*/ 8539 h 10000"/>
                  <a:gd name="connsiteX109" fmla="*/ 6868 w 10000"/>
                  <a:gd name="connsiteY109" fmla="*/ 8826 h 10000"/>
                  <a:gd name="connsiteX110" fmla="*/ 7021 w 10000"/>
                  <a:gd name="connsiteY110" fmla="*/ 9097 h 10000"/>
                  <a:gd name="connsiteX111" fmla="*/ 7195 w 10000"/>
                  <a:gd name="connsiteY111" fmla="*/ 9298 h 10000"/>
                  <a:gd name="connsiteX112" fmla="*/ 7288 w 10000"/>
                  <a:gd name="connsiteY112" fmla="*/ 9398 h 10000"/>
                  <a:gd name="connsiteX113" fmla="*/ 7369 w 10000"/>
                  <a:gd name="connsiteY113" fmla="*/ 9499 h 10000"/>
                  <a:gd name="connsiteX114" fmla="*/ 7462 w 10000"/>
                  <a:gd name="connsiteY114" fmla="*/ 9556 h 10000"/>
                  <a:gd name="connsiteX115" fmla="*/ 7554 w 10000"/>
                  <a:gd name="connsiteY115" fmla="*/ 9628 h 10000"/>
                  <a:gd name="connsiteX116" fmla="*/ 7646 w 10000"/>
                  <a:gd name="connsiteY116" fmla="*/ 9670 h 10000"/>
                  <a:gd name="connsiteX117" fmla="*/ 7748 w 10000"/>
                  <a:gd name="connsiteY117" fmla="*/ 9699 h 10000"/>
                  <a:gd name="connsiteX118" fmla="*/ 7851 w 10000"/>
                  <a:gd name="connsiteY118" fmla="*/ 9742 h 10000"/>
                  <a:gd name="connsiteX119" fmla="*/ 7943 w 10000"/>
                  <a:gd name="connsiteY119" fmla="*/ 9742 h 10000"/>
                  <a:gd name="connsiteX0" fmla="*/ 7943 w 10000"/>
                  <a:gd name="connsiteY0" fmla="*/ 9742 h 10000"/>
                  <a:gd name="connsiteX1" fmla="*/ 7943 w 10000"/>
                  <a:gd name="connsiteY1" fmla="*/ 9742 h 10000"/>
                  <a:gd name="connsiteX2" fmla="*/ 8076 w 10000"/>
                  <a:gd name="connsiteY2" fmla="*/ 9742 h 10000"/>
                  <a:gd name="connsiteX3" fmla="*/ 8178 w 10000"/>
                  <a:gd name="connsiteY3" fmla="*/ 9699 h 10000"/>
                  <a:gd name="connsiteX4" fmla="*/ 8291 w 10000"/>
                  <a:gd name="connsiteY4" fmla="*/ 9656 h 10000"/>
                  <a:gd name="connsiteX5" fmla="*/ 8403 w 10000"/>
                  <a:gd name="connsiteY5" fmla="*/ 9613 h 10000"/>
                  <a:gd name="connsiteX6" fmla="*/ 8506 w 10000"/>
                  <a:gd name="connsiteY6" fmla="*/ 9528 h 10000"/>
                  <a:gd name="connsiteX7" fmla="*/ 8608 w 10000"/>
                  <a:gd name="connsiteY7" fmla="*/ 9427 h 10000"/>
                  <a:gd name="connsiteX8" fmla="*/ 8700 w 10000"/>
                  <a:gd name="connsiteY8" fmla="*/ 9341 h 10000"/>
                  <a:gd name="connsiteX9" fmla="*/ 8802 w 10000"/>
                  <a:gd name="connsiteY9" fmla="*/ 9212 h 10000"/>
                  <a:gd name="connsiteX10" fmla="*/ 8915 w 10000"/>
                  <a:gd name="connsiteY10" fmla="*/ 9083 h 10000"/>
                  <a:gd name="connsiteX11" fmla="*/ 9007 w 10000"/>
                  <a:gd name="connsiteY11" fmla="*/ 8940 h 10000"/>
                  <a:gd name="connsiteX12" fmla="*/ 9191 w 10000"/>
                  <a:gd name="connsiteY12" fmla="*/ 8610 h 10000"/>
                  <a:gd name="connsiteX13" fmla="*/ 9376 w 10000"/>
                  <a:gd name="connsiteY13" fmla="*/ 8238 h 10000"/>
                  <a:gd name="connsiteX14" fmla="*/ 9539 w 10000"/>
                  <a:gd name="connsiteY14" fmla="*/ 7837 h 10000"/>
                  <a:gd name="connsiteX15" fmla="*/ 9775 w 10000"/>
                  <a:gd name="connsiteY15" fmla="*/ 8281 h 10000"/>
                  <a:gd name="connsiteX16" fmla="*/ 10000 w 10000"/>
                  <a:gd name="connsiteY16" fmla="*/ 8696 h 10000"/>
                  <a:gd name="connsiteX17" fmla="*/ 9785 w 10000"/>
                  <a:gd name="connsiteY17" fmla="*/ 8983 h 10000"/>
                  <a:gd name="connsiteX18" fmla="*/ 9570 w 10000"/>
                  <a:gd name="connsiteY18" fmla="*/ 9241 h 10000"/>
                  <a:gd name="connsiteX19" fmla="*/ 9324 w 10000"/>
                  <a:gd name="connsiteY19" fmla="*/ 9469 h 10000"/>
                  <a:gd name="connsiteX20" fmla="*/ 9212 w 10000"/>
                  <a:gd name="connsiteY20" fmla="*/ 9556 h 10000"/>
                  <a:gd name="connsiteX21" fmla="*/ 9079 w 10000"/>
                  <a:gd name="connsiteY21" fmla="*/ 9656 h 10000"/>
                  <a:gd name="connsiteX22" fmla="*/ 8946 w 10000"/>
                  <a:gd name="connsiteY22" fmla="*/ 9742 h 10000"/>
                  <a:gd name="connsiteX23" fmla="*/ 8823 w 10000"/>
                  <a:gd name="connsiteY23" fmla="*/ 9799 h 10000"/>
                  <a:gd name="connsiteX24" fmla="*/ 8680 w 10000"/>
                  <a:gd name="connsiteY24" fmla="*/ 9871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3 h 10000"/>
                  <a:gd name="connsiteX35" fmla="*/ 7021 w 10000"/>
                  <a:gd name="connsiteY35" fmla="*/ 9756 h 10000"/>
                  <a:gd name="connsiteX36" fmla="*/ 6888 w 10000"/>
                  <a:gd name="connsiteY36" fmla="*/ 9656 h 10000"/>
                  <a:gd name="connsiteX37" fmla="*/ 6745 w 10000"/>
                  <a:gd name="connsiteY37" fmla="*/ 9556 h 10000"/>
                  <a:gd name="connsiteX38" fmla="*/ 6622 w 10000"/>
                  <a:gd name="connsiteY38" fmla="*/ 9469 h 10000"/>
                  <a:gd name="connsiteX39" fmla="*/ 6479 w 10000"/>
                  <a:gd name="connsiteY39" fmla="*/ 9341 h 10000"/>
                  <a:gd name="connsiteX40" fmla="*/ 6366 w 10000"/>
                  <a:gd name="connsiteY40" fmla="*/ 9227 h 10000"/>
                  <a:gd name="connsiteX41" fmla="*/ 6244 w 10000"/>
                  <a:gd name="connsiteY41" fmla="*/ 9083 h 10000"/>
                  <a:gd name="connsiteX42" fmla="*/ 6008 w 10000"/>
                  <a:gd name="connsiteY42" fmla="*/ 8782 h 10000"/>
                  <a:gd name="connsiteX43" fmla="*/ 5793 w 10000"/>
                  <a:gd name="connsiteY43" fmla="*/ 8453 h 10000"/>
                  <a:gd name="connsiteX44" fmla="*/ 5589 w 10000"/>
                  <a:gd name="connsiteY44" fmla="*/ 8094 h 10000"/>
                  <a:gd name="connsiteX45" fmla="*/ 5394 w 10000"/>
                  <a:gd name="connsiteY45" fmla="*/ 7707 h 10000"/>
                  <a:gd name="connsiteX46" fmla="*/ 5200 w 10000"/>
                  <a:gd name="connsiteY46" fmla="*/ 7306 h 10000"/>
                  <a:gd name="connsiteX47" fmla="*/ 5026 w 10000"/>
                  <a:gd name="connsiteY47" fmla="*/ 6891 h 10000"/>
                  <a:gd name="connsiteX48" fmla="*/ 4852 w 10000"/>
                  <a:gd name="connsiteY48" fmla="*/ 6461 h 10000"/>
                  <a:gd name="connsiteX49" fmla="*/ 4688 w 10000"/>
                  <a:gd name="connsiteY49" fmla="*/ 6017 h 10000"/>
                  <a:gd name="connsiteX50" fmla="*/ 4371 w 10000"/>
                  <a:gd name="connsiteY50" fmla="*/ 5115 h 10000"/>
                  <a:gd name="connsiteX51" fmla="*/ 3777 w 10000"/>
                  <a:gd name="connsiteY51" fmla="*/ 3338 h 10000"/>
                  <a:gd name="connsiteX52" fmla="*/ 3644 w 10000"/>
                  <a:gd name="connsiteY52" fmla="*/ 2893 h 10000"/>
                  <a:gd name="connsiteX53" fmla="*/ 3490 w 10000"/>
                  <a:gd name="connsiteY53" fmla="*/ 2492 h 10000"/>
                  <a:gd name="connsiteX54" fmla="*/ 3347 w 10000"/>
                  <a:gd name="connsiteY54" fmla="*/ 2134 h 10000"/>
                  <a:gd name="connsiteX55" fmla="*/ 3193 w 10000"/>
                  <a:gd name="connsiteY55" fmla="*/ 1762 h 10000"/>
                  <a:gd name="connsiteX56" fmla="*/ 3040 w 10000"/>
                  <a:gd name="connsiteY56" fmla="*/ 1432 h 10000"/>
                  <a:gd name="connsiteX57" fmla="*/ 2886 w 10000"/>
                  <a:gd name="connsiteY57" fmla="*/ 1145 h 10000"/>
                  <a:gd name="connsiteX58" fmla="*/ 2723 w 10000"/>
                  <a:gd name="connsiteY58" fmla="*/ 874 h 10000"/>
                  <a:gd name="connsiteX59" fmla="*/ 2559 w 10000"/>
                  <a:gd name="connsiteY59" fmla="*/ 673 h 10000"/>
                  <a:gd name="connsiteX60" fmla="*/ 2467 w 10000"/>
                  <a:gd name="connsiteY60" fmla="*/ 573 h 10000"/>
                  <a:gd name="connsiteX61" fmla="*/ 2375 w 10000"/>
                  <a:gd name="connsiteY61" fmla="*/ 472 h 10000"/>
                  <a:gd name="connsiteX62" fmla="*/ 2282 w 10000"/>
                  <a:gd name="connsiteY62" fmla="*/ 415 h 10000"/>
                  <a:gd name="connsiteX63" fmla="*/ 2190 w 10000"/>
                  <a:gd name="connsiteY63" fmla="*/ 343 h 10000"/>
                  <a:gd name="connsiteX64" fmla="*/ 1402 w 10000"/>
                  <a:gd name="connsiteY64" fmla="*/ 329 h 10000"/>
                  <a:gd name="connsiteX65" fmla="*/ 1279 w 10000"/>
                  <a:gd name="connsiteY65" fmla="*/ 415 h 10000"/>
                  <a:gd name="connsiteX66" fmla="*/ 1157 w 10000"/>
                  <a:gd name="connsiteY66" fmla="*/ 501 h 10000"/>
                  <a:gd name="connsiteX67" fmla="*/ 1044 w 10000"/>
                  <a:gd name="connsiteY67" fmla="*/ 616 h 10000"/>
                  <a:gd name="connsiteX68" fmla="*/ 931 w 10000"/>
                  <a:gd name="connsiteY68" fmla="*/ 759 h 10000"/>
                  <a:gd name="connsiteX69" fmla="*/ 809 w 10000"/>
                  <a:gd name="connsiteY69" fmla="*/ 903 h 10000"/>
                  <a:gd name="connsiteX70" fmla="*/ 706 w 10000"/>
                  <a:gd name="connsiteY70" fmla="*/ 1088 h 10000"/>
                  <a:gd name="connsiteX71" fmla="*/ 604 w 10000"/>
                  <a:gd name="connsiteY71" fmla="*/ 1261 h 10000"/>
                  <a:gd name="connsiteX72" fmla="*/ 491 w 10000"/>
                  <a:gd name="connsiteY72" fmla="*/ 1461 h 10000"/>
                  <a:gd name="connsiteX73" fmla="*/ 399 w 10000"/>
                  <a:gd name="connsiteY73" fmla="*/ 1662 h 10000"/>
                  <a:gd name="connsiteX74" fmla="*/ 194 w 10000"/>
                  <a:gd name="connsiteY74" fmla="*/ 2134 h 10000"/>
                  <a:gd name="connsiteX75" fmla="*/ 0 w 10000"/>
                  <a:gd name="connsiteY75" fmla="*/ 2622 h 10000"/>
                  <a:gd name="connsiteX76" fmla="*/ 10 w 10000"/>
                  <a:gd name="connsiteY76" fmla="*/ 945 h 10000"/>
                  <a:gd name="connsiteX77" fmla="*/ 205 w 10000"/>
                  <a:gd name="connsiteY77" fmla="*/ 730 h 10000"/>
                  <a:gd name="connsiteX78" fmla="*/ 399 w 10000"/>
                  <a:gd name="connsiteY78" fmla="*/ 544 h 10000"/>
                  <a:gd name="connsiteX79" fmla="*/ 604 w 10000"/>
                  <a:gd name="connsiteY79" fmla="*/ 358 h 10000"/>
                  <a:gd name="connsiteX80" fmla="*/ 819 w 10000"/>
                  <a:gd name="connsiteY80" fmla="*/ 229 h 10000"/>
                  <a:gd name="connsiteX81" fmla="*/ 1054 w 10000"/>
                  <a:gd name="connsiteY81" fmla="*/ 128 h 10000"/>
                  <a:gd name="connsiteX82" fmla="*/ 1300 w 10000"/>
                  <a:gd name="connsiteY82" fmla="*/ 42 h 10000"/>
                  <a:gd name="connsiteX83" fmla="*/ 1535 w 10000"/>
                  <a:gd name="connsiteY83" fmla="*/ 0 h 10000"/>
                  <a:gd name="connsiteX84" fmla="*/ 2272 w 10000"/>
                  <a:gd name="connsiteY84" fmla="*/ 42 h 10000"/>
                  <a:gd name="connsiteX85" fmla="*/ 2426 w 10000"/>
                  <a:gd name="connsiteY85" fmla="*/ 85 h 10000"/>
                  <a:gd name="connsiteX86" fmla="*/ 2569 w 10000"/>
                  <a:gd name="connsiteY86" fmla="*/ 157 h 10000"/>
                  <a:gd name="connsiteX87" fmla="*/ 2712 w 10000"/>
                  <a:gd name="connsiteY87" fmla="*/ 229 h 10000"/>
                  <a:gd name="connsiteX88" fmla="*/ 2845 w 10000"/>
                  <a:gd name="connsiteY88" fmla="*/ 315 h 10000"/>
                  <a:gd name="connsiteX89" fmla="*/ 2989 w 10000"/>
                  <a:gd name="connsiteY89" fmla="*/ 415 h 10000"/>
                  <a:gd name="connsiteX90" fmla="*/ 3112 w 10000"/>
                  <a:gd name="connsiteY90" fmla="*/ 501 h 10000"/>
                  <a:gd name="connsiteX91" fmla="*/ 3234 w 10000"/>
                  <a:gd name="connsiteY91" fmla="*/ 630 h 10000"/>
                  <a:gd name="connsiteX92" fmla="*/ 3367 w 10000"/>
                  <a:gd name="connsiteY92" fmla="*/ 759 h 10000"/>
                  <a:gd name="connsiteX93" fmla="*/ 3490 w 10000"/>
                  <a:gd name="connsiteY93" fmla="*/ 888 h 10000"/>
                  <a:gd name="connsiteX94" fmla="*/ 3726 w 10000"/>
                  <a:gd name="connsiteY94" fmla="*/ 1174 h 10000"/>
                  <a:gd name="connsiteX95" fmla="*/ 3941 w 10000"/>
                  <a:gd name="connsiteY95" fmla="*/ 1518 h 10000"/>
                  <a:gd name="connsiteX96" fmla="*/ 4145 w 10000"/>
                  <a:gd name="connsiteY96" fmla="*/ 1876 h 10000"/>
                  <a:gd name="connsiteX97" fmla="*/ 4340 w 10000"/>
                  <a:gd name="connsiteY97" fmla="*/ 2264 h 10000"/>
                  <a:gd name="connsiteX98" fmla="*/ 4534 w 10000"/>
                  <a:gd name="connsiteY98" fmla="*/ 2665 h 10000"/>
                  <a:gd name="connsiteX99" fmla="*/ 4708 w 10000"/>
                  <a:gd name="connsiteY99" fmla="*/ 3080 h 10000"/>
                  <a:gd name="connsiteX100" fmla="*/ 4893 w 10000"/>
                  <a:gd name="connsiteY100" fmla="*/ 3510 h 10000"/>
                  <a:gd name="connsiteX101" fmla="*/ 5056 w 10000"/>
                  <a:gd name="connsiteY101" fmla="*/ 3953 h 10000"/>
                  <a:gd name="connsiteX102" fmla="*/ 5363 w 10000"/>
                  <a:gd name="connsiteY102" fmla="*/ 4856 h 10000"/>
                  <a:gd name="connsiteX103" fmla="*/ 5967 w 10000"/>
                  <a:gd name="connsiteY103" fmla="*/ 6647 h 10000"/>
                  <a:gd name="connsiteX104" fmla="*/ 6254 w 10000"/>
                  <a:gd name="connsiteY104" fmla="*/ 7479 h 10000"/>
                  <a:gd name="connsiteX105" fmla="*/ 6407 w 10000"/>
                  <a:gd name="connsiteY105" fmla="*/ 7837 h 10000"/>
                  <a:gd name="connsiteX106" fmla="*/ 6551 w 10000"/>
                  <a:gd name="connsiteY106" fmla="*/ 8209 h 10000"/>
                  <a:gd name="connsiteX107" fmla="*/ 6714 w 10000"/>
                  <a:gd name="connsiteY107" fmla="*/ 8539 h 10000"/>
                  <a:gd name="connsiteX108" fmla="*/ 6868 w 10000"/>
                  <a:gd name="connsiteY108" fmla="*/ 8826 h 10000"/>
                  <a:gd name="connsiteX109" fmla="*/ 7021 w 10000"/>
                  <a:gd name="connsiteY109" fmla="*/ 9097 h 10000"/>
                  <a:gd name="connsiteX110" fmla="*/ 7195 w 10000"/>
                  <a:gd name="connsiteY110" fmla="*/ 9298 h 10000"/>
                  <a:gd name="connsiteX111" fmla="*/ 7288 w 10000"/>
                  <a:gd name="connsiteY111" fmla="*/ 9398 h 10000"/>
                  <a:gd name="connsiteX112" fmla="*/ 7369 w 10000"/>
                  <a:gd name="connsiteY112" fmla="*/ 9499 h 10000"/>
                  <a:gd name="connsiteX113" fmla="*/ 7462 w 10000"/>
                  <a:gd name="connsiteY113" fmla="*/ 9556 h 10000"/>
                  <a:gd name="connsiteX114" fmla="*/ 7554 w 10000"/>
                  <a:gd name="connsiteY114" fmla="*/ 9628 h 10000"/>
                  <a:gd name="connsiteX115" fmla="*/ 7646 w 10000"/>
                  <a:gd name="connsiteY115" fmla="*/ 9670 h 10000"/>
                  <a:gd name="connsiteX116" fmla="*/ 7748 w 10000"/>
                  <a:gd name="connsiteY116" fmla="*/ 9699 h 10000"/>
                  <a:gd name="connsiteX117" fmla="*/ 7851 w 10000"/>
                  <a:gd name="connsiteY117" fmla="*/ 9742 h 10000"/>
                  <a:gd name="connsiteX118" fmla="*/ 7943 w 10000"/>
                  <a:gd name="connsiteY118" fmla="*/ 9742 h 10000"/>
                  <a:gd name="connsiteX0" fmla="*/ 7943 w 10000"/>
                  <a:gd name="connsiteY0" fmla="*/ 9700 h 9958"/>
                  <a:gd name="connsiteX1" fmla="*/ 7943 w 10000"/>
                  <a:gd name="connsiteY1" fmla="*/ 9700 h 9958"/>
                  <a:gd name="connsiteX2" fmla="*/ 8076 w 10000"/>
                  <a:gd name="connsiteY2" fmla="*/ 9700 h 9958"/>
                  <a:gd name="connsiteX3" fmla="*/ 8178 w 10000"/>
                  <a:gd name="connsiteY3" fmla="*/ 9657 h 9958"/>
                  <a:gd name="connsiteX4" fmla="*/ 8291 w 10000"/>
                  <a:gd name="connsiteY4" fmla="*/ 9614 h 9958"/>
                  <a:gd name="connsiteX5" fmla="*/ 8403 w 10000"/>
                  <a:gd name="connsiteY5" fmla="*/ 9571 h 9958"/>
                  <a:gd name="connsiteX6" fmla="*/ 8506 w 10000"/>
                  <a:gd name="connsiteY6" fmla="*/ 9486 h 9958"/>
                  <a:gd name="connsiteX7" fmla="*/ 8608 w 10000"/>
                  <a:gd name="connsiteY7" fmla="*/ 9385 h 9958"/>
                  <a:gd name="connsiteX8" fmla="*/ 8700 w 10000"/>
                  <a:gd name="connsiteY8" fmla="*/ 9299 h 9958"/>
                  <a:gd name="connsiteX9" fmla="*/ 8802 w 10000"/>
                  <a:gd name="connsiteY9" fmla="*/ 9170 h 9958"/>
                  <a:gd name="connsiteX10" fmla="*/ 8915 w 10000"/>
                  <a:gd name="connsiteY10" fmla="*/ 9041 h 9958"/>
                  <a:gd name="connsiteX11" fmla="*/ 9007 w 10000"/>
                  <a:gd name="connsiteY11" fmla="*/ 8898 h 9958"/>
                  <a:gd name="connsiteX12" fmla="*/ 9191 w 10000"/>
                  <a:gd name="connsiteY12" fmla="*/ 8568 h 9958"/>
                  <a:gd name="connsiteX13" fmla="*/ 9376 w 10000"/>
                  <a:gd name="connsiteY13" fmla="*/ 8196 h 9958"/>
                  <a:gd name="connsiteX14" fmla="*/ 9539 w 10000"/>
                  <a:gd name="connsiteY14" fmla="*/ 7795 h 9958"/>
                  <a:gd name="connsiteX15" fmla="*/ 9775 w 10000"/>
                  <a:gd name="connsiteY15" fmla="*/ 8239 h 9958"/>
                  <a:gd name="connsiteX16" fmla="*/ 10000 w 10000"/>
                  <a:gd name="connsiteY16" fmla="*/ 8654 h 9958"/>
                  <a:gd name="connsiteX17" fmla="*/ 9785 w 10000"/>
                  <a:gd name="connsiteY17" fmla="*/ 8941 h 9958"/>
                  <a:gd name="connsiteX18" fmla="*/ 9570 w 10000"/>
                  <a:gd name="connsiteY18" fmla="*/ 9199 h 9958"/>
                  <a:gd name="connsiteX19" fmla="*/ 9324 w 10000"/>
                  <a:gd name="connsiteY19" fmla="*/ 9427 h 9958"/>
                  <a:gd name="connsiteX20" fmla="*/ 9212 w 10000"/>
                  <a:gd name="connsiteY20" fmla="*/ 9514 h 9958"/>
                  <a:gd name="connsiteX21" fmla="*/ 9079 w 10000"/>
                  <a:gd name="connsiteY21" fmla="*/ 9614 h 9958"/>
                  <a:gd name="connsiteX22" fmla="*/ 8946 w 10000"/>
                  <a:gd name="connsiteY22" fmla="*/ 9700 h 9958"/>
                  <a:gd name="connsiteX23" fmla="*/ 8823 w 10000"/>
                  <a:gd name="connsiteY23" fmla="*/ 9757 h 9958"/>
                  <a:gd name="connsiteX24" fmla="*/ 8680 w 10000"/>
                  <a:gd name="connsiteY24" fmla="*/ 9829 h 9958"/>
                  <a:gd name="connsiteX25" fmla="*/ 8547 w 10000"/>
                  <a:gd name="connsiteY25" fmla="*/ 9872 h 9958"/>
                  <a:gd name="connsiteX26" fmla="*/ 8403 w 10000"/>
                  <a:gd name="connsiteY26" fmla="*/ 9901 h 9958"/>
                  <a:gd name="connsiteX27" fmla="*/ 8260 w 10000"/>
                  <a:gd name="connsiteY27" fmla="*/ 9929 h 9958"/>
                  <a:gd name="connsiteX28" fmla="*/ 8106 w 10000"/>
                  <a:gd name="connsiteY28" fmla="*/ 9958 h 9958"/>
                  <a:gd name="connsiteX29" fmla="*/ 7943 w 10000"/>
                  <a:gd name="connsiteY29" fmla="*/ 9958 h 9958"/>
                  <a:gd name="connsiteX30" fmla="*/ 7779 w 10000"/>
                  <a:gd name="connsiteY30" fmla="*/ 9958 h 9958"/>
                  <a:gd name="connsiteX31" fmla="*/ 7625 w 10000"/>
                  <a:gd name="connsiteY31" fmla="*/ 9915 h 9958"/>
                  <a:gd name="connsiteX32" fmla="*/ 7462 w 10000"/>
                  <a:gd name="connsiteY32" fmla="*/ 9887 h 9958"/>
                  <a:gd name="connsiteX33" fmla="*/ 7308 w 10000"/>
                  <a:gd name="connsiteY33" fmla="*/ 9844 h 9958"/>
                  <a:gd name="connsiteX34" fmla="*/ 7165 w 10000"/>
                  <a:gd name="connsiteY34" fmla="*/ 9771 h 9958"/>
                  <a:gd name="connsiteX35" fmla="*/ 7021 w 10000"/>
                  <a:gd name="connsiteY35" fmla="*/ 9714 h 9958"/>
                  <a:gd name="connsiteX36" fmla="*/ 6888 w 10000"/>
                  <a:gd name="connsiteY36" fmla="*/ 9614 h 9958"/>
                  <a:gd name="connsiteX37" fmla="*/ 6745 w 10000"/>
                  <a:gd name="connsiteY37" fmla="*/ 9514 h 9958"/>
                  <a:gd name="connsiteX38" fmla="*/ 6622 w 10000"/>
                  <a:gd name="connsiteY38" fmla="*/ 9427 h 9958"/>
                  <a:gd name="connsiteX39" fmla="*/ 6479 w 10000"/>
                  <a:gd name="connsiteY39" fmla="*/ 9299 h 9958"/>
                  <a:gd name="connsiteX40" fmla="*/ 6366 w 10000"/>
                  <a:gd name="connsiteY40" fmla="*/ 9185 h 9958"/>
                  <a:gd name="connsiteX41" fmla="*/ 6244 w 10000"/>
                  <a:gd name="connsiteY41" fmla="*/ 9041 h 9958"/>
                  <a:gd name="connsiteX42" fmla="*/ 6008 w 10000"/>
                  <a:gd name="connsiteY42" fmla="*/ 8740 h 9958"/>
                  <a:gd name="connsiteX43" fmla="*/ 5793 w 10000"/>
                  <a:gd name="connsiteY43" fmla="*/ 8411 h 9958"/>
                  <a:gd name="connsiteX44" fmla="*/ 5589 w 10000"/>
                  <a:gd name="connsiteY44" fmla="*/ 8052 h 9958"/>
                  <a:gd name="connsiteX45" fmla="*/ 5394 w 10000"/>
                  <a:gd name="connsiteY45" fmla="*/ 7665 h 9958"/>
                  <a:gd name="connsiteX46" fmla="*/ 5200 w 10000"/>
                  <a:gd name="connsiteY46" fmla="*/ 7264 h 9958"/>
                  <a:gd name="connsiteX47" fmla="*/ 5026 w 10000"/>
                  <a:gd name="connsiteY47" fmla="*/ 6849 h 9958"/>
                  <a:gd name="connsiteX48" fmla="*/ 4852 w 10000"/>
                  <a:gd name="connsiteY48" fmla="*/ 6419 h 9958"/>
                  <a:gd name="connsiteX49" fmla="*/ 4688 w 10000"/>
                  <a:gd name="connsiteY49" fmla="*/ 5975 h 9958"/>
                  <a:gd name="connsiteX50" fmla="*/ 4371 w 10000"/>
                  <a:gd name="connsiteY50" fmla="*/ 5073 h 9958"/>
                  <a:gd name="connsiteX51" fmla="*/ 3777 w 10000"/>
                  <a:gd name="connsiteY51" fmla="*/ 3296 h 9958"/>
                  <a:gd name="connsiteX52" fmla="*/ 3644 w 10000"/>
                  <a:gd name="connsiteY52" fmla="*/ 2851 h 9958"/>
                  <a:gd name="connsiteX53" fmla="*/ 3490 w 10000"/>
                  <a:gd name="connsiteY53" fmla="*/ 2450 h 9958"/>
                  <a:gd name="connsiteX54" fmla="*/ 3347 w 10000"/>
                  <a:gd name="connsiteY54" fmla="*/ 2092 h 9958"/>
                  <a:gd name="connsiteX55" fmla="*/ 3193 w 10000"/>
                  <a:gd name="connsiteY55" fmla="*/ 1720 h 9958"/>
                  <a:gd name="connsiteX56" fmla="*/ 3040 w 10000"/>
                  <a:gd name="connsiteY56" fmla="*/ 1390 h 9958"/>
                  <a:gd name="connsiteX57" fmla="*/ 2886 w 10000"/>
                  <a:gd name="connsiteY57" fmla="*/ 1103 h 9958"/>
                  <a:gd name="connsiteX58" fmla="*/ 2723 w 10000"/>
                  <a:gd name="connsiteY58" fmla="*/ 832 h 9958"/>
                  <a:gd name="connsiteX59" fmla="*/ 2559 w 10000"/>
                  <a:gd name="connsiteY59" fmla="*/ 631 h 9958"/>
                  <a:gd name="connsiteX60" fmla="*/ 2467 w 10000"/>
                  <a:gd name="connsiteY60" fmla="*/ 531 h 9958"/>
                  <a:gd name="connsiteX61" fmla="*/ 2375 w 10000"/>
                  <a:gd name="connsiteY61" fmla="*/ 430 h 9958"/>
                  <a:gd name="connsiteX62" fmla="*/ 2282 w 10000"/>
                  <a:gd name="connsiteY62" fmla="*/ 373 h 9958"/>
                  <a:gd name="connsiteX63" fmla="*/ 2190 w 10000"/>
                  <a:gd name="connsiteY63" fmla="*/ 301 h 9958"/>
                  <a:gd name="connsiteX64" fmla="*/ 1402 w 10000"/>
                  <a:gd name="connsiteY64" fmla="*/ 287 h 9958"/>
                  <a:gd name="connsiteX65" fmla="*/ 1279 w 10000"/>
                  <a:gd name="connsiteY65" fmla="*/ 373 h 9958"/>
                  <a:gd name="connsiteX66" fmla="*/ 1157 w 10000"/>
                  <a:gd name="connsiteY66" fmla="*/ 459 h 9958"/>
                  <a:gd name="connsiteX67" fmla="*/ 1044 w 10000"/>
                  <a:gd name="connsiteY67" fmla="*/ 574 h 9958"/>
                  <a:gd name="connsiteX68" fmla="*/ 931 w 10000"/>
                  <a:gd name="connsiteY68" fmla="*/ 717 h 9958"/>
                  <a:gd name="connsiteX69" fmla="*/ 809 w 10000"/>
                  <a:gd name="connsiteY69" fmla="*/ 861 h 9958"/>
                  <a:gd name="connsiteX70" fmla="*/ 706 w 10000"/>
                  <a:gd name="connsiteY70" fmla="*/ 1046 h 9958"/>
                  <a:gd name="connsiteX71" fmla="*/ 604 w 10000"/>
                  <a:gd name="connsiteY71" fmla="*/ 1219 h 9958"/>
                  <a:gd name="connsiteX72" fmla="*/ 491 w 10000"/>
                  <a:gd name="connsiteY72" fmla="*/ 1419 h 9958"/>
                  <a:gd name="connsiteX73" fmla="*/ 399 w 10000"/>
                  <a:gd name="connsiteY73" fmla="*/ 1620 h 9958"/>
                  <a:gd name="connsiteX74" fmla="*/ 194 w 10000"/>
                  <a:gd name="connsiteY74" fmla="*/ 2092 h 9958"/>
                  <a:gd name="connsiteX75" fmla="*/ 0 w 10000"/>
                  <a:gd name="connsiteY75" fmla="*/ 2580 h 9958"/>
                  <a:gd name="connsiteX76" fmla="*/ 10 w 10000"/>
                  <a:gd name="connsiteY76" fmla="*/ 903 h 9958"/>
                  <a:gd name="connsiteX77" fmla="*/ 205 w 10000"/>
                  <a:gd name="connsiteY77" fmla="*/ 688 h 9958"/>
                  <a:gd name="connsiteX78" fmla="*/ 399 w 10000"/>
                  <a:gd name="connsiteY78" fmla="*/ 502 h 9958"/>
                  <a:gd name="connsiteX79" fmla="*/ 604 w 10000"/>
                  <a:gd name="connsiteY79" fmla="*/ 316 h 9958"/>
                  <a:gd name="connsiteX80" fmla="*/ 819 w 10000"/>
                  <a:gd name="connsiteY80" fmla="*/ 187 h 9958"/>
                  <a:gd name="connsiteX81" fmla="*/ 1054 w 10000"/>
                  <a:gd name="connsiteY81" fmla="*/ 86 h 9958"/>
                  <a:gd name="connsiteX82" fmla="*/ 1300 w 10000"/>
                  <a:gd name="connsiteY82" fmla="*/ 0 h 9958"/>
                  <a:gd name="connsiteX83" fmla="*/ 2272 w 10000"/>
                  <a:gd name="connsiteY83" fmla="*/ 0 h 9958"/>
                  <a:gd name="connsiteX84" fmla="*/ 2426 w 10000"/>
                  <a:gd name="connsiteY84" fmla="*/ 43 h 9958"/>
                  <a:gd name="connsiteX85" fmla="*/ 2569 w 10000"/>
                  <a:gd name="connsiteY85" fmla="*/ 115 h 9958"/>
                  <a:gd name="connsiteX86" fmla="*/ 2712 w 10000"/>
                  <a:gd name="connsiteY86" fmla="*/ 187 h 9958"/>
                  <a:gd name="connsiteX87" fmla="*/ 2845 w 10000"/>
                  <a:gd name="connsiteY87" fmla="*/ 273 h 9958"/>
                  <a:gd name="connsiteX88" fmla="*/ 2989 w 10000"/>
                  <a:gd name="connsiteY88" fmla="*/ 373 h 9958"/>
                  <a:gd name="connsiteX89" fmla="*/ 3112 w 10000"/>
                  <a:gd name="connsiteY89" fmla="*/ 459 h 9958"/>
                  <a:gd name="connsiteX90" fmla="*/ 3234 w 10000"/>
                  <a:gd name="connsiteY90" fmla="*/ 588 h 9958"/>
                  <a:gd name="connsiteX91" fmla="*/ 3367 w 10000"/>
                  <a:gd name="connsiteY91" fmla="*/ 717 h 9958"/>
                  <a:gd name="connsiteX92" fmla="*/ 3490 w 10000"/>
                  <a:gd name="connsiteY92" fmla="*/ 846 h 9958"/>
                  <a:gd name="connsiteX93" fmla="*/ 3726 w 10000"/>
                  <a:gd name="connsiteY93" fmla="*/ 1132 h 9958"/>
                  <a:gd name="connsiteX94" fmla="*/ 3941 w 10000"/>
                  <a:gd name="connsiteY94" fmla="*/ 1476 h 9958"/>
                  <a:gd name="connsiteX95" fmla="*/ 4145 w 10000"/>
                  <a:gd name="connsiteY95" fmla="*/ 1834 h 9958"/>
                  <a:gd name="connsiteX96" fmla="*/ 4340 w 10000"/>
                  <a:gd name="connsiteY96" fmla="*/ 2222 h 9958"/>
                  <a:gd name="connsiteX97" fmla="*/ 4534 w 10000"/>
                  <a:gd name="connsiteY97" fmla="*/ 2623 h 9958"/>
                  <a:gd name="connsiteX98" fmla="*/ 4708 w 10000"/>
                  <a:gd name="connsiteY98" fmla="*/ 3038 h 9958"/>
                  <a:gd name="connsiteX99" fmla="*/ 4893 w 10000"/>
                  <a:gd name="connsiteY99" fmla="*/ 3468 h 9958"/>
                  <a:gd name="connsiteX100" fmla="*/ 5056 w 10000"/>
                  <a:gd name="connsiteY100" fmla="*/ 3911 h 9958"/>
                  <a:gd name="connsiteX101" fmla="*/ 5363 w 10000"/>
                  <a:gd name="connsiteY101" fmla="*/ 4814 h 9958"/>
                  <a:gd name="connsiteX102" fmla="*/ 5967 w 10000"/>
                  <a:gd name="connsiteY102" fmla="*/ 6605 h 9958"/>
                  <a:gd name="connsiteX103" fmla="*/ 6254 w 10000"/>
                  <a:gd name="connsiteY103" fmla="*/ 7437 h 9958"/>
                  <a:gd name="connsiteX104" fmla="*/ 6407 w 10000"/>
                  <a:gd name="connsiteY104" fmla="*/ 7795 h 9958"/>
                  <a:gd name="connsiteX105" fmla="*/ 6551 w 10000"/>
                  <a:gd name="connsiteY105" fmla="*/ 8167 h 9958"/>
                  <a:gd name="connsiteX106" fmla="*/ 6714 w 10000"/>
                  <a:gd name="connsiteY106" fmla="*/ 8497 h 9958"/>
                  <a:gd name="connsiteX107" fmla="*/ 6868 w 10000"/>
                  <a:gd name="connsiteY107" fmla="*/ 8784 h 9958"/>
                  <a:gd name="connsiteX108" fmla="*/ 7021 w 10000"/>
                  <a:gd name="connsiteY108" fmla="*/ 9055 h 9958"/>
                  <a:gd name="connsiteX109" fmla="*/ 7195 w 10000"/>
                  <a:gd name="connsiteY109" fmla="*/ 9256 h 9958"/>
                  <a:gd name="connsiteX110" fmla="*/ 7288 w 10000"/>
                  <a:gd name="connsiteY110" fmla="*/ 9356 h 9958"/>
                  <a:gd name="connsiteX111" fmla="*/ 7369 w 10000"/>
                  <a:gd name="connsiteY111" fmla="*/ 9457 h 9958"/>
                  <a:gd name="connsiteX112" fmla="*/ 7462 w 10000"/>
                  <a:gd name="connsiteY112" fmla="*/ 9514 h 9958"/>
                  <a:gd name="connsiteX113" fmla="*/ 7554 w 10000"/>
                  <a:gd name="connsiteY113" fmla="*/ 9586 h 9958"/>
                  <a:gd name="connsiteX114" fmla="*/ 7646 w 10000"/>
                  <a:gd name="connsiteY114" fmla="*/ 9628 h 9958"/>
                  <a:gd name="connsiteX115" fmla="*/ 7748 w 10000"/>
                  <a:gd name="connsiteY115" fmla="*/ 9657 h 9958"/>
                  <a:gd name="connsiteX116" fmla="*/ 7851 w 10000"/>
                  <a:gd name="connsiteY116" fmla="*/ 9700 h 9958"/>
                  <a:gd name="connsiteX117" fmla="*/ 7943 w 10000"/>
                  <a:gd name="connsiteY117" fmla="*/ 9700 h 9958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402 w 10000"/>
                  <a:gd name="connsiteY64" fmla="*/ 288 h 10000"/>
                  <a:gd name="connsiteX65" fmla="*/ 1279 w 10000"/>
                  <a:gd name="connsiteY65" fmla="*/ 375 h 10000"/>
                  <a:gd name="connsiteX66" fmla="*/ 1157 w 10000"/>
                  <a:gd name="connsiteY66" fmla="*/ 461 h 10000"/>
                  <a:gd name="connsiteX67" fmla="*/ 1044 w 10000"/>
                  <a:gd name="connsiteY67" fmla="*/ 576 h 10000"/>
                  <a:gd name="connsiteX68" fmla="*/ 931 w 10000"/>
                  <a:gd name="connsiteY68" fmla="*/ 720 h 10000"/>
                  <a:gd name="connsiteX69" fmla="*/ 809 w 10000"/>
                  <a:gd name="connsiteY69" fmla="*/ 865 h 10000"/>
                  <a:gd name="connsiteX70" fmla="*/ 706 w 10000"/>
                  <a:gd name="connsiteY70" fmla="*/ 1050 h 10000"/>
                  <a:gd name="connsiteX71" fmla="*/ 604 w 10000"/>
                  <a:gd name="connsiteY71" fmla="*/ 1224 h 10000"/>
                  <a:gd name="connsiteX72" fmla="*/ 491 w 10000"/>
                  <a:gd name="connsiteY72" fmla="*/ 1425 h 10000"/>
                  <a:gd name="connsiteX73" fmla="*/ 399 w 10000"/>
                  <a:gd name="connsiteY73" fmla="*/ 1627 h 10000"/>
                  <a:gd name="connsiteX74" fmla="*/ 194 w 10000"/>
                  <a:gd name="connsiteY74" fmla="*/ 2101 h 10000"/>
                  <a:gd name="connsiteX75" fmla="*/ 0 w 10000"/>
                  <a:gd name="connsiteY75" fmla="*/ 2591 h 10000"/>
                  <a:gd name="connsiteX76" fmla="*/ 10 w 10000"/>
                  <a:gd name="connsiteY76" fmla="*/ 907 h 10000"/>
                  <a:gd name="connsiteX77" fmla="*/ 205 w 10000"/>
                  <a:gd name="connsiteY77" fmla="*/ 691 h 10000"/>
                  <a:gd name="connsiteX78" fmla="*/ 399 w 10000"/>
                  <a:gd name="connsiteY78" fmla="*/ 504 h 10000"/>
                  <a:gd name="connsiteX79" fmla="*/ 604 w 10000"/>
                  <a:gd name="connsiteY79" fmla="*/ 317 h 10000"/>
                  <a:gd name="connsiteX80" fmla="*/ 819 w 10000"/>
                  <a:gd name="connsiteY80" fmla="*/ 188 h 10000"/>
                  <a:gd name="connsiteX81" fmla="*/ 1054 w 10000"/>
                  <a:gd name="connsiteY81" fmla="*/ 86 h 10000"/>
                  <a:gd name="connsiteX82" fmla="*/ 2272 w 10000"/>
                  <a:gd name="connsiteY82" fmla="*/ 0 h 10000"/>
                  <a:gd name="connsiteX83" fmla="*/ 2426 w 10000"/>
                  <a:gd name="connsiteY83" fmla="*/ 43 h 10000"/>
                  <a:gd name="connsiteX84" fmla="*/ 2569 w 10000"/>
                  <a:gd name="connsiteY84" fmla="*/ 115 h 10000"/>
                  <a:gd name="connsiteX85" fmla="*/ 2712 w 10000"/>
                  <a:gd name="connsiteY85" fmla="*/ 188 h 10000"/>
                  <a:gd name="connsiteX86" fmla="*/ 2845 w 10000"/>
                  <a:gd name="connsiteY86" fmla="*/ 274 h 10000"/>
                  <a:gd name="connsiteX87" fmla="*/ 2989 w 10000"/>
                  <a:gd name="connsiteY87" fmla="*/ 375 h 10000"/>
                  <a:gd name="connsiteX88" fmla="*/ 3112 w 10000"/>
                  <a:gd name="connsiteY88" fmla="*/ 461 h 10000"/>
                  <a:gd name="connsiteX89" fmla="*/ 3234 w 10000"/>
                  <a:gd name="connsiteY89" fmla="*/ 590 h 10000"/>
                  <a:gd name="connsiteX90" fmla="*/ 3367 w 10000"/>
                  <a:gd name="connsiteY90" fmla="*/ 720 h 10000"/>
                  <a:gd name="connsiteX91" fmla="*/ 3490 w 10000"/>
                  <a:gd name="connsiteY91" fmla="*/ 850 h 10000"/>
                  <a:gd name="connsiteX92" fmla="*/ 3726 w 10000"/>
                  <a:gd name="connsiteY92" fmla="*/ 1137 h 10000"/>
                  <a:gd name="connsiteX93" fmla="*/ 3941 w 10000"/>
                  <a:gd name="connsiteY93" fmla="*/ 1482 h 10000"/>
                  <a:gd name="connsiteX94" fmla="*/ 4145 w 10000"/>
                  <a:gd name="connsiteY94" fmla="*/ 1842 h 10000"/>
                  <a:gd name="connsiteX95" fmla="*/ 4340 w 10000"/>
                  <a:gd name="connsiteY95" fmla="*/ 2231 h 10000"/>
                  <a:gd name="connsiteX96" fmla="*/ 4534 w 10000"/>
                  <a:gd name="connsiteY96" fmla="*/ 2634 h 10000"/>
                  <a:gd name="connsiteX97" fmla="*/ 4708 w 10000"/>
                  <a:gd name="connsiteY97" fmla="*/ 3051 h 10000"/>
                  <a:gd name="connsiteX98" fmla="*/ 4893 w 10000"/>
                  <a:gd name="connsiteY98" fmla="*/ 3483 h 10000"/>
                  <a:gd name="connsiteX99" fmla="*/ 5056 w 10000"/>
                  <a:gd name="connsiteY99" fmla="*/ 3927 h 10000"/>
                  <a:gd name="connsiteX100" fmla="*/ 5363 w 10000"/>
                  <a:gd name="connsiteY100" fmla="*/ 4834 h 10000"/>
                  <a:gd name="connsiteX101" fmla="*/ 5967 w 10000"/>
                  <a:gd name="connsiteY101" fmla="*/ 6633 h 10000"/>
                  <a:gd name="connsiteX102" fmla="*/ 6254 w 10000"/>
                  <a:gd name="connsiteY102" fmla="*/ 7468 h 10000"/>
                  <a:gd name="connsiteX103" fmla="*/ 6407 w 10000"/>
                  <a:gd name="connsiteY103" fmla="*/ 7828 h 10000"/>
                  <a:gd name="connsiteX104" fmla="*/ 6551 w 10000"/>
                  <a:gd name="connsiteY104" fmla="*/ 8201 h 10000"/>
                  <a:gd name="connsiteX105" fmla="*/ 6714 w 10000"/>
                  <a:gd name="connsiteY105" fmla="*/ 8533 h 10000"/>
                  <a:gd name="connsiteX106" fmla="*/ 6868 w 10000"/>
                  <a:gd name="connsiteY106" fmla="*/ 8821 h 10000"/>
                  <a:gd name="connsiteX107" fmla="*/ 7021 w 10000"/>
                  <a:gd name="connsiteY107" fmla="*/ 9093 h 10000"/>
                  <a:gd name="connsiteX108" fmla="*/ 7195 w 10000"/>
                  <a:gd name="connsiteY108" fmla="*/ 9295 h 10000"/>
                  <a:gd name="connsiteX109" fmla="*/ 7288 w 10000"/>
                  <a:gd name="connsiteY109" fmla="*/ 9395 h 10000"/>
                  <a:gd name="connsiteX110" fmla="*/ 7369 w 10000"/>
                  <a:gd name="connsiteY110" fmla="*/ 9497 h 10000"/>
                  <a:gd name="connsiteX111" fmla="*/ 7462 w 10000"/>
                  <a:gd name="connsiteY111" fmla="*/ 9554 h 10000"/>
                  <a:gd name="connsiteX112" fmla="*/ 7554 w 10000"/>
                  <a:gd name="connsiteY112" fmla="*/ 9626 h 10000"/>
                  <a:gd name="connsiteX113" fmla="*/ 7646 w 10000"/>
                  <a:gd name="connsiteY113" fmla="*/ 9669 h 10000"/>
                  <a:gd name="connsiteX114" fmla="*/ 7748 w 10000"/>
                  <a:gd name="connsiteY114" fmla="*/ 9698 h 10000"/>
                  <a:gd name="connsiteX115" fmla="*/ 7851 w 10000"/>
                  <a:gd name="connsiteY115" fmla="*/ 9741 h 10000"/>
                  <a:gd name="connsiteX116" fmla="*/ 7943 w 10000"/>
                  <a:gd name="connsiteY116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279 w 10000"/>
                  <a:gd name="connsiteY64" fmla="*/ 375 h 10000"/>
                  <a:gd name="connsiteX65" fmla="*/ 1157 w 10000"/>
                  <a:gd name="connsiteY65" fmla="*/ 461 h 10000"/>
                  <a:gd name="connsiteX66" fmla="*/ 1044 w 10000"/>
                  <a:gd name="connsiteY66" fmla="*/ 576 h 10000"/>
                  <a:gd name="connsiteX67" fmla="*/ 931 w 10000"/>
                  <a:gd name="connsiteY67" fmla="*/ 720 h 10000"/>
                  <a:gd name="connsiteX68" fmla="*/ 809 w 10000"/>
                  <a:gd name="connsiteY68" fmla="*/ 865 h 10000"/>
                  <a:gd name="connsiteX69" fmla="*/ 706 w 10000"/>
                  <a:gd name="connsiteY69" fmla="*/ 1050 h 10000"/>
                  <a:gd name="connsiteX70" fmla="*/ 604 w 10000"/>
                  <a:gd name="connsiteY70" fmla="*/ 1224 h 10000"/>
                  <a:gd name="connsiteX71" fmla="*/ 491 w 10000"/>
                  <a:gd name="connsiteY71" fmla="*/ 1425 h 10000"/>
                  <a:gd name="connsiteX72" fmla="*/ 399 w 10000"/>
                  <a:gd name="connsiteY72" fmla="*/ 1627 h 10000"/>
                  <a:gd name="connsiteX73" fmla="*/ 194 w 10000"/>
                  <a:gd name="connsiteY73" fmla="*/ 2101 h 10000"/>
                  <a:gd name="connsiteX74" fmla="*/ 0 w 10000"/>
                  <a:gd name="connsiteY74" fmla="*/ 2591 h 10000"/>
                  <a:gd name="connsiteX75" fmla="*/ 10 w 10000"/>
                  <a:gd name="connsiteY75" fmla="*/ 907 h 10000"/>
                  <a:gd name="connsiteX76" fmla="*/ 205 w 10000"/>
                  <a:gd name="connsiteY76" fmla="*/ 691 h 10000"/>
                  <a:gd name="connsiteX77" fmla="*/ 399 w 10000"/>
                  <a:gd name="connsiteY77" fmla="*/ 504 h 10000"/>
                  <a:gd name="connsiteX78" fmla="*/ 604 w 10000"/>
                  <a:gd name="connsiteY78" fmla="*/ 317 h 10000"/>
                  <a:gd name="connsiteX79" fmla="*/ 819 w 10000"/>
                  <a:gd name="connsiteY79" fmla="*/ 188 h 10000"/>
                  <a:gd name="connsiteX80" fmla="*/ 1054 w 10000"/>
                  <a:gd name="connsiteY80" fmla="*/ 86 h 10000"/>
                  <a:gd name="connsiteX81" fmla="*/ 2272 w 10000"/>
                  <a:gd name="connsiteY81" fmla="*/ 0 h 10000"/>
                  <a:gd name="connsiteX82" fmla="*/ 2426 w 10000"/>
                  <a:gd name="connsiteY82" fmla="*/ 43 h 10000"/>
                  <a:gd name="connsiteX83" fmla="*/ 2569 w 10000"/>
                  <a:gd name="connsiteY83" fmla="*/ 115 h 10000"/>
                  <a:gd name="connsiteX84" fmla="*/ 2712 w 10000"/>
                  <a:gd name="connsiteY84" fmla="*/ 188 h 10000"/>
                  <a:gd name="connsiteX85" fmla="*/ 2845 w 10000"/>
                  <a:gd name="connsiteY85" fmla="*/ 274 h 10000"/>
                  <a:gd name="connsiteX86" fmla="*/ 2989 w 10000"/>
                  <a:gd name="connsiteY86" fmla="*/ 375 h 10000"/>
                  <a:gd name="connsiteX87" fmla="*/ 3112 w 10000"/>
                  <a:gd name="connsiteY87" fmla="*/ 461 h 10000"/>
                  <a:gd name="connsiteX88" fmla="*/ 3234 w 10000"/>
                  <a:gd name="connsiteY88" fmla="*/ 590 h 10000"/>
                  <a:gd name="connsiteX89" fmla="*/ 3367 w 10000"/>
                  <a:gd name="connsiteY89" fmla="*/ 720 h 10000"/>
                  <a:gd name="connsiteX90" fmla="*/ 3490 w 10000"/>
                  <a:gd name="connsiteY90" fmla="*/ 850 h 10000"/>
                  <a:gd name="connsiteX91" fmla="*/ 3726 w 10000"/>
                  <a:gd name="connsiteY91" fmla="*/ 1137 h 10000"/>
                  <a:gd name="connsiteX92" fmla="*/ 3941 w 10000"/>
                  <a:gd name="connsiteY92" fmla="*/ 1482 h 10000"/>
                  <a:gd name="connsiteX93" fmla="*/ 4145 w 10000"/>
                  <a:gd name="connsiteY93" fmla="*/ 1842 h 10000"/>
                  <a:gd name="connsiteX94" fmla="*/ 4340 w 10000"/>
                  <a:gd name="connsiteY94" fmla="*/ 2231 h 10000"/>
                  <a:gd name="connsiteX95" fmla="*/ 4534 w 10000"/>
                  <a:gd name="connsiteY95" fmla="*/ 2634 h 10000"/>
                  <a:gd name="connsiteX96" fmla="*/ 4708 w 10000"/>
                  <a:gd name="connsiteY96" fmla="*/ 3051 h 10000"/>
                  <a:gd name="connsiteX97" fmla="*/ 4893 w 10000"/>
                  <a:gd name="connsiteY97" fmla="*/ 3483 h 10000"/>
                  <a:gd name="connsiteX98" fmla="*/ 5056 w 10000"/>
                  <a:gd name="connsiteY98" fmla="*/ 3927 h 10000"/>
                  <a:gd name="connsiteX99" fmla="*/ 5363 w 10000"/>
                  <a:gd name="connsiteY99" fmla="*/ 4834 h 10000"/>
                  <a:gd name="connsiteX100" fmla="*/ 5967 w 10000"/>
                  <a:gd name="connsiteY100" fmla="*/ 6633 h 10000"/>
                  <a:gd name="connsiteX101" fmla="*/ 6254 w 10000"/>
                  <a:gd name="connsiteY101" fmla="*/ 7468 h 10000"/>
                  <a:gd name="connsiteX102" fmla="*/ 6407 w 10000"/>
                  <a:gd name="connsiteY102" fmla="*/ 7828 h 10000"/>
                  <a:gd name="connsiteX103" fmla="*/ 6551 w 10000"/>
                  <a:gd name="connsiteY103" fmla="*/ 8201 h 10000"/>
                  <a:gd name="connsiteX104" fmla="*/ 6714 w 10000"/>
                  <a:gd name="connsiteY104" fmla="*/ 8533 h 10000"/>
                  <a:gd name="connsiteX105" fmla="*/ 6868 w 10000"/>
                  <a:gd name="connsiteY105" fmla="*/ 8821 h 10000"/>
                  <a:gd name="connsiteX106" fmla="*/ 7021 w 10000"/>
                  <a:gd name="connsiteY106" fmla="*/ 9093 h 10000"/>
                  <a:gd name="connsiteX107" fmla="*/ 7195 w 10000"/>
                  <a:gd name="connsiteY107" fmla="*/ 9295 h 10000"/>
                  <a:gd name="connsiteX108" fmla="*/ 7288 w 10000"/>
                  <a:gd name="connsiteY108" fmla="*/ 9395 h 10000"/>
                  <a:gd name="connsiteX109" fmla="*/ 7369 w 10000"/>
                  <a:gd name="connsiteY109" fmla="*/ 9497 h 10000"/>
                  <a:gd name="connsiteX110" fmla="*/ 7462 w 10000"/>
                  <a:gd name="connsiteY110" fmla="*/ 9554 h 10000"/>
                  <a:gd name="connsiteX111" fmla="*/ 7554 w 10000"/>
                  <a:gd name="connsiteY111" fmla="*/ 9626 h 10000"/>
                  <a:gd name="connsiteX112" fmla="*/ 7646 w 10000"/>
                  <a:gd name="connsiteY112" fmla="*/ 9669 h 10000"/>
                  <a:gd name="connsiteX113" fmla="*/ 7748 w 10000"/>
                  <a:gd name="connsiteY113" fmla="*/ 9698 h 10000"/>
                  <a:gd name="connsiteX114" fmla="*/ 7851 w 10000"/>
                  <a:gd name="connsiteY114" fmla="*/ 9741 h 10000"/>
                  <a:gd name="connsiteX115" fmla="*/ 7943 w 10000"/>
                  <a:gd name="connsiteY115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157 w 10000"/>
                  <a:gd name="connsiteY64" fmla="*/ 461 h 10000"/>
                  <a:gd name="connsiteX65" fmla="*/ 1044 w 10000"/>
                  <a:gd name="connsiteY65" fmla="*/ 576 h 10000"/>
                  <a:gd name="connsiteX66" fmla="*/ 931 w 10000"/>
                  <a:gd name="connsiteY66" fmla="*/ 720 h 10000"/>
                  <a:gd name="connsiteX67" fmla="*/ 809 w 10000"/>
                  <a:gd name="connsiteY67" fmla="*/ 865 h 10000"/>
                  <a:gd name="connsiteX68" fmla="*/ 706 w 10000"/>
                  <a:gd name="connsiteY68" fmla="*/ 1050 h 10000"/>
                  <a:gd name="connsiteX69" fmla="*/ 604 w 10000"/>
                  <a:gd name="connsiteY69" fmla="*/ 1224 h 10000"/>
                  <a:gd name="connsiteX70" fmla="*/ 491 w 10000"/>
                  <a:gd name="connsiteY70" fmla="*/ 1425 h 10000"/>
                  <a:gd name="connsiteX71" fmla="*/ 399 w 10000"/>
                  <a:gd name="connsiteY71" fmla="*/ 1627 h 10000"/>
                  <a:gd name="connsiteX72" fmla="*/ 194 w 10000"/>
                  <a:gd name="connsiteY72" fmla="*/ 2101 h 10000"/>
                  <a:gd name="connsiteX73" fmla="*/ 0 w 10000"/>
                  <a:gd name="connsiteY73" fmla="*/ 2591 h 10000"/>
                  <a:gd name="connsiteX74" fmla="*/ 10 w 10000"/>
                  <a:gd name="connsiteY74" fmla="*/ 907 h 10000"/>
                  <a:gd name="connsiteX75" fmla="*/ 205 w 10000"/>
                  <a:gd name="connsiteY75" fmla="*/ 691 h 10000"/>
                  <a:gd name="connsiteX76" fmla="*/ 399 w 10000"/>
                  <a:gd name="connsiteY76" fmla="*/ 504 h 10000"/>
                  <a:gd name="connsiteX77" fmla="*/ 604 w 10000"/>
                  <a:gd name="connsiteY77" fmla="*/ 317 h 10000"/>
                  <a:gd name="connsiteX78" fmla="*/ 819 w 10000"/>
                  <a:gd name="connsiteY78" fmla="*/ 188 h 10000"/>
                  <a:gd name="connsiteX79" fmla="*/ 1054 w 10000"/>
                  <a:gd name="connsiteY79" fmla="*/ 86 h 10000"/>
                  <a:gd name="connsiteX80" fmla="*/ 2272 w 10000"/>
                  <a:gd name="connsiteY80" fmla="*/ 0 h 10000"/>
                  <a:gd name="connsiteX81" fmla="*/ 2426 w 10000"/>
                  <a:gd name="connsiteY81" fmla="*/ 43 h 10000"/>
                  <a:gd name="connsiteX82" fmla="*/ 2569 w 10000"/>
                  <a:gd name="connsiteY82" fmla="*/ 115 h 10000"/>
                  <a:gd name="connsiteX83" fmla="*/ 2712 w 10000"/>
                  <a:gd name="connsiteY83" fmla="*/ 188 h 10000"/>
                  <a:gd name="connsiteX84" fmla="*/ 2845 w 10000"/>
                  <a:gd name="connsiteY84" fmla="*/ 274 h 10000"/>
                  <a:gd name="connsiteX85" fmla="*/ 2989 w 10000"/>
                  <a:gd name="connsiteY85" fmla="*/ 375 h 10000"/>
                  <a:gd name="connsiteX86" fmla="*/ 3112 w 10000"/>
                  <a:gd name="connsiteY86" fmla="*/ 461 h 10000"/>
                  <a:gd name="connsiteX87" fmla="*/ 3234 w 10000"/>
                  <a:gd name="connsiteY87" fmla="*/ 590 h 10000"/>
                  <a:gd name="connsiteX88" fmla="*/ 3367 w 10000"/>
                  <a:gd name="connsiteY88" fmla="*/ 720 h 10000"/>
                  <a:gd name="connsiteX89" fmla="*/ 3490 w 10000"/>
                  <a:gd name="connsiteY89" fmla="*/ 850 h 10000"/>
                  <a:gd name="connsiteX90" fmla="*/ 3726 w 10000"/>
                  <a:gd name="connsiteY90" fmla="*/ 1137 h 10000"/>
                  <a:gd name="connsiteX91" fmla="*/ 3941 w 10000"/>
                  <a:gd name="connsiteY91" fmla="*/ 1482 h 10000"/>
                  <a:gd name="connsiteX92" fmla="*/ 4145 w 10000"/>
                  <a:gd name="connsiteY92" fmla="*/ 1842 h 10000"/>
                  <a:gd name="connsiteX93" fmla="*/ 4340 w 10000"/>
                  <a:gd name="connsiteY93" fmla="*/ 2231 h 10000"/>
                  <a:gd name="connsiteX94" fmla="*/ 4534 w 10000"/>
                  <a:gd name="connsiteY94" fmla="*/ 2634 h 10000"/>
                  <a:gd name="connsiteX95" fmla="*/ 4708 w 10000"/>
                  <a:gd name="connsiteY95" fmla="*/ 3051 h 10000"/>
                  <a:gd name="connsiteX96" fmla="*/ 4893 w 10000"/>
                  <a:gd name="connsiteY96" fmla="*/ 3483 h 10000"/>
                  <a:gd name="connsiteX97" fmla="*/ 5056 w 10000"/>
                  <a:gd name="connsiteY97" fmla="*/ 3927 h 10000"/>
                  <a:gd name="connsiteX98" fmla="*/ 5363 w 10000"/>
                  <a:gd name="connsiteY98" fmla="*/ 4834 h 10000"/>
                  <a:gd name="connsiteX99" fmla="*/ 5967 w 10000"/>
                  <a:gd name="connsiteY99" fmla="*/ 6633 h 10000"/>
                  <a:gd name="connsiteX100" fmla="*/ 6254 w 10000"/>
                  <a:gd name="connsiteY100" fmla="*/ 7468 h 10000"/>
                  <a:gd name="connsiteX101" fmla="*/ 6407 w 10000"/>
                  <a:gd name="connsiteY101" fmla="*/ 7828 h 10000"/>
                  <a:gd name="connsiteX102" fmla="*/ 6551 w 10000"/>
                  <a:gd name="connsiteY102" fmla="*/ 8201 h 10000"/>
                  <a:gd name="connsiteX103" fmla="*/ 6714 w 10000"/>
                  <a:gd name="connsiteY103" fmla="*/ 8533 h 10000"/>
                  <a:gd name="connsiteX104" fmla="*/ 6868 w 10000"/>
                  <a:gd name="connsiteY104" fmla="*/ 8821 h 10000"/>
                  <a:gd name="connsiteX105" fmla="*/ 7021 w 10000"/>
                  <a:gd name="connsiteY105" fmla="*/ 9093 h 10000"/>
                  <a:gd name="connsiteX106" fmla="*/ 7195 w 10000"/>
                  <a:gd name="connsiteY106" fmla="*/ 9295 h 10000"/>
                  <a:gd name="connsiteX107" fmla="*/ 7288 w 10000"/>
                  <a:gd name="connsiteY107" fmla="*/ 9395 h 10000"/>
                  <a:gd name="connsiteX108" fmla="*/ 7369 w 10000"/>
                  <a:gd name="connsiteY108" fmla="*/ 9497 h 10000"/>
                  <a:gd name="connsiteX109" fmla="*/ 7462 w 10000"/>
                  <a:gd name="connsiteY109" fmla="*/ 9554 h 10000"/>
                  <a:gd name="connsiteX110" fmla="*/ 7554 w 10000"/>
                  <a:gd name="connsiteY110" fmla="*/ 9626 h 10000"/>
                  <a:gd name="connsiteX111" fmla="*/ 7646 w 10000"/>
                  <a:gd name="connsiteY111" fmla="*/ 9669 h 10000"/>
                  <a:gd name="connsiteX112" fmla="*/ 7748 w 10000"/>
                  <a:gd name="connsiteY112" fmla="*/ 9698 h 10000"/>
                  <a:gd name="connsiteX113" fmla="*/ 7851 w 10000"/>
                  <a:gd name="connsiteY113" fmla="*/ 9741 h 10000"/>
                  <a:gd name="connsiteX114" fmla="*/ 7943 w 10000"/>
                  <a:gd name="connsiteY114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044 w 10000"/>
                  <a:gd name="connsiteY64" fmla="*/ 576 h 10000"/>
                  <a:gd name="connsiteX65" fmla="*/ 931 w 10000"/>
                  <a:gd name="connsiteY65" fmla="*/ 720 h 10000"/>
                  <a:gd name="connsiteX66" fmla="*/ 809 w 10000"/>
                  <a:gd name="connsiteY66" fmla="*/ 865 h 10000"/>
                  <a:gd name="connsiteX67" fmla="*/ 706 w 10000"/>
                  <a:gd name="connsiteY67" fmla="*/ 1050 h 10000"/>
                  <a:gd name="connsiteX68" fmla="*/ 604 w 10000"/>
                  <a:gd name="connsiteY68" fmla="*/ 1224 h 10000"/>
                  <a:gd name="connsiteX69" fmla="*/ 491 w 10000"/>
                  <a:gd name="connsiteY69" fmla="*/ 1425 h 10000"/>
                  <a:gd name="connsiteX70" fmla="*/ 399 w 10000"/>
                  <a:gd name="connsiteY70" fmla="*/ 1627 h 10000"/>
                  <a:gd name="connsiteX71" fmla="*/ 194 w 10000"/>
                  <a:gd name="connsiteY71" fmla="*/ 2101 h 10000"/>
                  <a:gd name="connsiteX72" fmla="*/ 0 w 10000"/>
                  <a:gd name="connsiteY72" fmla="*/ 2591 h 10000"/>
                  <a:gd name="connsiteX73" fmla="*/ 10 w 10000"/>
                  <a:gd name="connsiteY73" fmla="*/ 907 h 10000"/>
                  <a:gd name="connsiteX74" fmla="*/ 205 w 10000"/>
                  <a:gd name="connsiteY74" fmla="*/ 691 h 10000"/>
                  <a:gd name="connsiteX75" fmla="*/ 399 w 10000"/>
                  <a:gd name="connsiteY75" fmla="*/ 504 h 10000"/>
                  <a:gd name="connsiteX76" fmla="*/ 604 w 10000"/>
                  <a:gd name="connsiteY76" fmla="*/ 317 h 10000"/>
                  <a:gd name="connsiteX77" fmla="*/ 819 w 10000"/>
                  <a:gd name="connsiteY77" fmla="*/ 188 h 10000"/>
                  <a:gd name="connsiteX78" fmla="*/ 1054 w 10000"/>
                  <a:gd name="connsiteY78" fmla="*/ 86 h 10000"/>
                  <a:gd name="connsiteX79" fmla="*/ 2272 w 10000"/>
                  <a:gd name="connsiteY79" fmla="*/ 0 h 10000"/>
                  <a:gd name="connsiteX80" fmla="*/ 2426 w 10000"/>
                  <a:gd name="connsiteY80" fmla="*/ 43 h 10000"/>
                  <a:gd name="connsiteX81" fmla="*/ 2569 w 10000"/>
                  <a:gd name="connsiteY81" fmla="*/ 115 h 10000"/>
                  <a:gd name="connsiteX82" fmla="*/ 2712 w 10000"/>
                  <a:gd name="connsiteY82" fmla="*/ 188 h 10000"/>
                  <a:gd name="connsiteX83" fmla="*/ 2845 w 10000"/>
                  <a:gd name="connsiteY83" fmla="*/ 274 h 10000"/>
                  <a:gd name="connsiteX84" fmla="*/ 2989 w 10000"/>
                  <a:gd name="connsiteY84" fmla="*/ 375 h 10000"/>
                  <a:gd name="connsiteX85" fmla="*/ 3112 w 10000"/>
                  <a:gd name="connsiteY85" fmla="*/ 461 h 10000"/>
                  <a:gd name="connsiteX86" fmla="*/ 3234 w 10000"/>
                  <a:gd name="connsiteY86" fmla="*/ 590 h 10000"/>
                  <a:gd name="connsiteX87" fmla="*/ 3367 w 10000"/>
                  <a:gd name="connsiteY87" fmla="*/ 720 h 10000"/>
                  <a:gd name="connsiteX88" fmla="*/ 3490 w 10000"/>
                  <a:gd name="connsiteY88" fmla="*/ 850 h 10000"/>
                  <a:gd name="connsiteX89" fmla="*/ 3726 w 10000"/>
                  <a:gd name="connsiteY89" fmla="*/ 1137 h 10000"/>
                  <a:gd name="connsiteX90" fmla="*/ 3941 w 10000"/>
                  <a:gd name="connsiteY90" fmla="*/ 1482 h 10000"/>
                  <a:gd name="connsiteX91" fmla="*/ 4145 w 10000"/>
                  <a:gd name="connsiteY91" fmla="*/ 1842 h 10000"/>
                  <a:gd name="connsiteX92" fmla="*/ 4340 w 10000"/>
                  <a:gd name="connsiteY92" fmla="*/ 2231 h 10000"/>
                  <a:gd name="connsiteX93" fmla="*/ 4534 w 10000"/>
                  <a:gd name="connsiteY93" fmla="*/ 2634 h 10000"/>
                  <a:gd name="connsiteX94" fmla="*/ 4708 w 10000"/>
                  <a:gd name="connsiteY94" fmla="*/ 3051 h 10000"/>
                  <a:gd name="connsiteX95" fmla="*/ 4893 w 10000"/>
                  <a:gd name="connsiteY95" fmla="*/ 3483 h 10000"/>
                  <a:gd name="connsiteX96" fmla="*/ 5056 w 10000"/>
                  <a:gd name="connsiteY96" fmla="*/ 3927 h 10000"/>
                  <a:gd name="connsiteX97" fmla="*/ 5363 w 10000"/>
                  <a:gd name="connsiteY97" fmla="*/ 4834 h 10000"/>
                  <a:gd name="connsiteX98" fmla="*/ 5967 w 10000"/>
                  <a:gd name="connsiteY98" fmla="*/ 6633 h 10000"/>
                  <a:gd name="connsiteX99" fmla="*/ 6254 w 10000"/>
                  <a:gd name="connsiteY99" fmla="*/ 7468 h 10000"/>
                  <a:gd name="connsiteX100" fmla="*/ 6407 w 10000"/>
                  <a:gd name="connsiteY100" fmla="*/ 7828 h 10000"/>
                  <a:gd name="connsiteX101" fmla="*/ 6551 w 10000"/>
                  <a:gd name="connsiteY101" fmla="*/ 8201 h 10000"/>
                  <a:gd name="connsiteX102" fmla="*/ 6714 w 10000"/>
                  <a:gd name="connsiteY102" fmla="*/ 8533 h 10000"/>
                  <a:gd name="connsiteX103" fmla="*/ 6868 w 10000"/>
                  <a:gd name="connsiteY103" fmla="*/ 8821 h 10000"/>
                  <a:gd name="connsiteX104" fmla="*/ 7021 w 10000"/>
                  <a:gd name="connsiteY104" fmla="*/ 9093 h 10000"/>
                  <a:gd name="connsiteX105" fmla="*/ 7195 w 10000"/>
                  <a:gd name="connsiteY105" fmla="*/ 9295 h 10000"/>
                  <a:gd name="connsiteX106" fmla="*/ 7288 w 10000"/>
                  <a:gd name="connsiteY106" fmla="*/ 9395 h 10000"/>
                  <a:gd name="connsiteX107" fmla="*/ 7369 w 10000"/>
                  <a:gd name="connsiteY107" fmla="*/ 9497 h 10000"/>
                  <a:gd name="connsiteX108" fmla="*/ 7462 w 10000"/>
                  <a:gd name="connsiteY108" fmla="*/ 9554 h 10000"/>
                  <a:gd name="connsiteX109" fmla="*/ 7554 w 10000"/>
                  <a:gd name="connsiteY109" fmla="*/ 9626 h 10000"/>
                  <a:gd name="connsiteX110" fmla="*/ 7646 w 10000"/>
                  <a:gd name="connsiteY110" fmla="*/ 9669 h 10000"/>
                  <a:gd name="connsiteX111" fmla="*/ 7748 w 10000"/>
                  <a:gd name="connsiteY111" fmla="*/ 9698 h 10000"/>
                  <a:gd name="connsiteX112" fmla="*/ 7851 w 10000"/>
                  <a:gd name="connsiteY112" fmla="*/ 9741 h 10000"/>
                  <a:gd name="connsiteX113" fmla="*/ 7943 w 10000"/>
                  <a:gd name="connsiteY113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044 w 10000"/>
                  <a:gd name="connsiteY64" fmla="*/ 576 h 10000"/>
                  <a:gd name="connsiteX65" fmla="*/ 931 w 10000"/>
                  <a:gd name="connsiteY65" fmla="*/ 720 h 10000"/>
                  <a:gd name="connsiteX66" fmla="*/ 809 w 10000"/>
                  <a:gd name="connsiteY66" fmla="*/ 865 h 10000"/>
                  <a:gd name="connsiteX67" fmla="*/ 706 w 10000"/>
                  <a:gd name="connsiteY67" fmla="*/ 1050 h 10000"/>
                  <a:gd name="connsiteX68" fmla="*/ 604 w 10000"/>
                  <a:gd name="connsiteY68" fmla="*/ 1224 h 10000"/>
                  <a:gd name="connsiteX69" fmla="*/ 491 w 10000"/>
                  <a:gd name="connsiteY69" fmla="*/ 1425 h 10000"/>
                  <a:gd name="connsiteX70" fmla="*/ 399 w 10000"/>
                  <a:gd name="connsiteY70" fmla="*/ 1627 h 10000"/>
                  <a:gd name="connsiteX71" fmla="*/ 194 w 10000"/>
                  <a:gd name="connsiteY71" fmla="*/ 2101 h 10000"/>
                  <a:gd name="connsiteX72" fmla="*/ 0 w 10000"/>
                  <a:gd name="connsiteY72" fmla="*/ 2591 h 10000"/>
                  <a:gd name="connsiteX73" fmla="*/ 10 w 10000"/>
                  <a:gd name="connsiteY73" fmla="*/ 907 h 10000"/>
                  <a:gd name="connsiteX74" fmla="*/ 205 w 10000"/>
                  <a:gd name="connsiteY74" fmla="*/ 691 h 10000"/>
                  <a:gd name="connsiteX75" fmla="*/ 399 w 10000"/>
                  <a:gd name="connsiteY75" fmla="*/ 504 h 10000"/>
                  <a:gd name="connsiteX76" fmla="*/ 604 w 10000"/>
                  <a:gd name="connsiteY76" fmla="*/ 317 h 10000"/>
                  <a:gd name="connsiteX77" fmla="*/ 819 w 10000"/>
                  <a:gd name="connsiteY77" fmla="*/ 188 h 10000"/>
                  <a:gd name="connsiteX78" fmla="*/ 2272 w 10000"/>
                  <a:gd name="connsiteY78" fmla="*/ 0 h 10000"/>
                  <a:gd name="connsiteX79" fmla="*/ 2426 w 10000"/>
                  <a:gd name="connsiteY79" fmla="*/ 43 h 10000"/>
                  <a:gd name="connsiteX80" fmla="*/ 2569 w 10000"/>
                  <a:gd name="connsiteY80" fmla="*/ 115 h 10000"/>
                  <a:gd name="connsiteX81" fmla="*/ 2712 w 10000"/>
                  <a:gd name="connsiteY81" fmla="*/ 188 h 10000"/>
                  <a:gd name="connsiteX82" fmla="*/ 2845 w 10000"/>
                  <a:gd name="connsiteY82" fmla="*/ 274 h 10000"/>
                  <a:gd name="connsiteX83" fmla="*/ 2989 w 10000"/>
                  <a:gd name="connsiteY83" fmla="*/ 375 h 10000"/>
                  <a:gd name="connsiteX84" fmla="*/ 3112 w 10000"/>
                  <a:gd name="connsiteY84" fmla="*/ 461 h 10000"/>
                  <a:gd name="connsiteX85" fmla="*/ 3234 w 10000"/>
                  <a:gd name="connsiteY85" fmla="*/ 590 h 10000"/>
                  <a:gd name="connsiteX86" fmla="*/ 3367 w 10000"/>
                  <a:gd name="connsiteY86" fmla="*/ 720 h 10000"/>
                  <a:gd name="connsiteX87" fmla="*/ 3490 w 10000"/>
                  <a:gd name="connsiteY87" fmla="*/ 850 h 10000"/>
                  <a:gd name="connsiteX88" fmla="*/ 3726 w 10000"/>
                  <a:gd name="connsiteY88" fmla="*/ 1137 h 10000"/>
                  <a:gd name="connsiteX89" fmla="*/ 3941 w 10000"/>
                  <a:gd name="connsiteY89" fmla="*/ 1482 h 10000"/>
                  <a:gd name="connsiteX90" fmla="*/ 4145 w 10000"/>
                  <a:gd name="connsiteY90" fmla="*/ 1842 h 10000"/>
                  <a:gd name="connsiteX91" fmla="*/ 4340 w 10000"/>
                  <a:gd name="connsiteY91" fmla="*/ 2231 h 10000"/>
                  <a:gd name="connsiteX92" fmla="*/ 4534 w 10000"/>
                  <a:gd name="connsiteY92" fmla="*/ 2634 h 10000"/>
                  <a:gd name="connsiteX93" fmla="*/ 4708 w 10000"/>
                  <a:gd name="connsiteY93" fmla="*/ 3051 h 10000"/>
                  <a:gd name="connsiteX94" fmla="*/ 4893 w 10000"/>
                  <a:gd name="connsiteY94" fmla="*/ 3483 h 10000"/>
                  <a:gd name="connsiteX95" fmla="*/ 5056 w 10000"/>
                  <a:gd name="connsiteY95" fmla="*/ 3927 h 10000"/>
                  <a:gd name="connsiteX96" fmla="*/ 5363 w 10000"/>
                  <a:gd name="connsiteY96" fmla="*/ 4834 h 10000"/>
                  <a:gd name="connsiteX97" fmla="*/ 5967 w 10000"/>
                  <a:gd name="connsiteY97" fmla="*/ 6633 h 10000"/>
                  <a:gd name="connsiteX98" fmla="*/ 6254 w 10000"/>
                  <a:gd name="connsiteY98" fmla="*/ 7468 h 10000"/>
                  <a:gd name="connsiteX99" fmla="*/ 6407 w 10000"/>
                  <a:gd name="connsiteY99" fmla="*/ 7828 h 10000"/>
                  <a:gd name="connsiteX100" fmla="*/ 6551 w 10000"/>
                  <a:gd name="connsiteY100" fmla="*/ 8201 h 10000"/>
                  <a:gd name="connsiteX101" fmla="*/ 6714 w 10000"/>
                  <a:gd name="connsiteY101" fmla="*/ 8533 h 10000"/>
                  <a:gd name="connsiteX102" fmla="*/ 6868 w 10000"/>
                  <a:gd name="connsiteY102" fmla="*/ 8821 h 10000"/>
                  <a:gd name="connsiteX103" fmla="*/ 7021 w 10000"/>
                  <a:gd name="connsiteY103" fmla="*/ 9093 h 10000"/>
                  <a:gd name="connsiteX104" fmla="*/ 7195 w 10000"/>
                  <a:gd name="connsiteY104" fmla="*/ 9295 h 10000"/>
                  <a:gd name="connsiteX105" fmla="*/ 7288 w 10000"/>
                  <a:gd name="connsiteY105" fmla="*/ 9395 h 10000"/>
                  <a:gd name="connsiteX106" fmla="*/ 7369 w 10000"/>
                  <a:gd name="connsiteY106" fmla="*/ 9497 h 10000"/>
                  <a:gd name="connsiteX107" fmla="*/ 7462 w 10000"/>
                  <a:gd name="connsiteY107" fmla="*/ 9554 h 10000"/>
                  <a:gd name="connsiteX108" fmla="*/ 7554 w 10000"/>
                  <a:gd name="connsiteY108" fmla="*/ 9626 h 10000"/>
                  <a:gd name="connsiteX109" fmla="*/ 7646 w 10000"/>
                  <a:gd name="connsiteY109" fmla="*/ 9669 h 10000"/>
                  <a:gd name="connsiteX110" fmla="*/ 7748 w 10000"/>
                  <a:gd name="connsiteY110" fmla="*/ 9698 h 10000"/>
                  <a:gd name="connsiteX111" fmla="*/ 7851 w 10000"/>
                  <a:gd name="connsiteY111" fmla="*/ 9741 h 10000"/>
                  <a:gd name="connsiteX112" fmla="*/ 7943 w 10000"/>
                  <a:gd name="connsiteY112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931 w 10000"/>
                  <a:gd name="connsiteY64" fmla="*/ 720 h 10000"/>
                  <a:gd name="connsiteX65" fmla="*/ 809 w 10000"/>
                  <a:gd name="connsiteY65" fmla="*/ 865 h 10000"/>
                  <a:gd name="connsiteX66" fmla="*/ 706 w 10000"/>
                  <a:gd name="connsiteY66" fmla="*/ 1050 h 10000"/>
                  <a:gd name="connsiteX67" fmla="*/ 604 w 10000"/>
                  <a:gd name="connsiteY67" fmla="*/ 1224 h 10000"/>
                  <a:gd name="connsiteX68" fmla="*/ 491 w 10000"/>
                  <a:gd name="connsiteY68" fmla="*/ 1425 h 10000"/>
                  <a:gd name="connsiteX69" fmla="*/ 399 w 10000"/>
                  <a:gd name="connsiteY69" fmla="*/ 1627 h 10000"/>
                  <a:gd name="connsiteX70" fmla="*/ 194 w 10000"/>
                  <a:gd name="connsiteY70" fmla="*/ 2101 h 10000"/>
                  <a:gd name="connsiteX71" fmla="*/ 0 w 10000"/>
                  <a:gd name="connsiteY71" fmla="*/ 2591 h 10000"/>
                  <a:gd name="connsiteX72" fmla="*/ 10 w 10000"/>
                  <a:gd name="connsiteY72" fmla="*/ 907 h 10000"/>
                  <a:gd name="connsiteX73" fmla="*/ 205 w 10000"/>
                  <a:gd name="connsiteY73" fmla="*/ 691 h 10000"/>
                  <a:gd name="connsiteX74" fmla="*/ 399 w 10000"/>
                  <a:gd name="connsiteY74" fmla="*/ 504 h 10000"/>
                  <a:gd name="connsiteX75" fmla="*/ 604 w 10000"/>
                  <a:gd name="connsiteY75" fmla="*/ 317 h 10000"/>
                  <a:gd name="connsiteX76" fmla="*/ 819 w 10000"/>
                  <a:gd name="connsiteY76" fmla="*/ 188 h 10000"/>
                  <a:gd name="connsiteX77" fmla="*/ 2272 w 10000"/>
                  <a:gd name="connsiteY77" fmla="*/ 0 h 10000"/>
                  <a:gd name="connsiteX78" fmla="*/ 2426 w 10000"/>
                  <a:gd name="connsiteY78" fmla="*/ 43 h 10000"/>
                  <a:gd name="connsiteX79" fmla="*/ 2569 w 10000"/>
                  <a:gd name="connsiteY79" fmla="*/ 115 h 10000"/>
                  <a:gd name="connsiteX80" fmla="*/ 2712 w 10000"/>
                  <a:gd name="connsiteY80" fmla="*/ 188 h 10000"/>
                  <a:gd name="connsiteX81" fmla="*/ 2845 w 10000"/>
                  <a:gd name="connsiteY81" fmla="*/ 274 h 10000"/>
                  <a:gd name="connsiteX82" fmla="*/ 2989 w 10000"/>
                  <a:gd name="connsiteY82" fmla="*/ 375 h 10000"/>
                  <a:gd name="connsiteX83" fmla="*/ 3112 w 10000"/>
                  <a:gd name="connsiteY83" fmla="*/ 461 h 10000"/>
                  <a:gd name="connsiteX84" fmla="*/ 3234 w 10000"/>
                  <a:gd name="connsiteY84" fmla="*/ 590 h 10000"/>
                  <a:gd name="connsiteX85" fmla="*/ 3367 w 10000"/>
                  <a:gd name="connsiteY85" fmla="*/ 720 h 10000"/>
                  <a:gd name="connsiteX86" fmla="*/ 3490 w 10000"/>
                  <a:gd name="connsiteY86" fmla="*/ 850 h 10000"/>
                  <a:gd name="connsiteX87" fmla="*/ 3726 w 10000"/>
                  <a:gd name="connsiteY87" fmla="*/ 1137 h 10000"/>
                  <a:gd name="connsiteX88" fmla="*/ 3941 w 10000"/>
                  <a:gd name="connsiteY88" fmla="*/ 1482 h 10000"/>
                  <a:gd name="connsiteX89" fmla="*/ 4145 w 10000"/>
                  <a:gd name="connsiteY89" fmla="*/ 1842 h 10000"/>
                  <a:gd name="connsiteX90" fmla="*/ 4340 w 10000"/>
                  <a:gd name="connsiteY90" fmla="*/ 2231 h 10000"/>
                  <a:gd name="connsiteX91" fmla="*/ 4534 w 10000"/>
                  <a:gd name="connsiteY91" fmla="*/ 2634 h 10000"/>
                  <a:gd name="connsiteX92" fmla="*/ 4708 w 10000"/>
                  <a:gd name="connsiteY92" fmla="*/ 3051 h 10000"/>
                  <a:gd name="connsiteX93" fmla="*/ 4893 w 10000"/>
                  <a:gd name="connsiteY93" fmla="*/ 3483 h 10000"/>
                  <a:gd name="connsiteX94" fmla="*/ 5056 w 10000"/>
                  <a:gd name="connsiteY94" fmla="*/ 3927 h 10000"/>
                  <a:gd name="connsiteX95" fmla="*/ 5363 w 10000"/>
                  <a:gd name="connsiteY95" fmla="*/ 4834 h 10000"/>
                  <a:gd name="connsiteX96" fmla="*/ 5967 w 10000"/>
                  <a:gd name="connsiteY96" fmla="*/ 6633 h 10000"/>
                  <a:gd name="connsiteX97" fmla="*/ 6254 w 10000"/>
                  <a:gd name="connsiteY97" fmla="*/ 7468 h 10000"/>
                  <a:gd name="connsiteX98" fmla="*/ 6407 w 10000"/>
                  <a:gd name="connsiteY98" fmla="*/ 7828 h 10000"/>
                  <a:gd name="connsiteX99" fmla="*/ 6551 w 10000"/>
                  <a:gd name="connsiteY99" fmla="*/ 8201 h 10000"/>
                  <a:gd name="connsiteX100" fmla="*/ 6714 w 10000"/>
                  <a:gd name="connsiteY100" fmla="*/ 8533 h 10000"/>
                  <a:gd name="connsiteX101" fmla="*/ 6868 w 10000"/>
                  <a:gd name="connsiteY101" fmla="*/ 8821 h 10000"/>
                  <a:gd name="connsiteX102" fmla="*/ 7021 w 10000"/>
                  <a:gd name="connsiteY102" fmla="*/ 9093 h 10000"/>
                  <a:gd name="connsiteX103" fmla="*/ 7195 w 10000"/>
                  <a:gd name="connsiteY103" fmla="*/ 9295 h 10000"/>
                  <a:gd name="connsiteX104" fmla="*/ 7288 w 10000"/>
                  <a:gd name="connsiteY104" fmla="*/ 9395 h 10000"/>
                  <a:gd name="connsiteX105" fmla="*/ 7369 w 10000"/>
                  <a:gd name="connsiteY105" fmla="*/ 9497 h 10000"/>
                  <a:gd name="connsiteX106" fmla="*/ 7462 w 10000"/>
                  <a:gd name="connsiteY106" fmla="*/ 9554 h 10000"/>
                  <a:gd name="connsiteX107" fmla="*/ 7554 w 10000"/>
                  <a:gd name="connsiteY107" fmla="*/ 9626 h 10000"/>
                  <a:gd name="connsiteX108" fmla="*/ 7646 w 10000"/>
                  <a:gd name="connsiteY108" fmla="*/ 9669 h 10000"/>
                  <a:gd name="connsiteX109" fmla="*/ 7748 w 10000"/>
                  <a:gd name="connsiteY109" fmla="*/ 9698 h 10000"/>
                  <a:gd name="connsiteX110" fmla="*/ 7851 w 10000"/>
                  <a:gd name="connsiteY110" fmla="*/ 9741 h 10000"/>
                  <a:gd name="connsiteX111" fmla="*/ 7943 w 10000"/>
                  <a:gd name="connsiteY111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931 w 10000"/>
                  <a:gd name="connsiteY64" fmla="*/ 720 h 10000"/>
                  <a:gd name="connsiteX65" fmla="*/ 809 w 10000"/>
                  <a:gd name="connsiteY65" fmla="*/ 865 h 10000"/>
                  <a:gd name="connsiteX66" fmla="*/ 706 w 10000"/>
                  <a:gd name="connsiteY66" fmla="*/ 1050 h 10000"/>
                  <a:gd name="connsiteX67" fmla="*/ 604 w 10000"/>
                  <a:gd name="connsiteY67" fmla="*/ 1224 h 10000"/>
                  <a:gd name="connsiteX68" fmla="*/ 491 w 10000"/>
                  <a:gd name="connsiteY68" fmla="*/ 1425 h 10000"/>
                  <a:gd name="connsiteX69" fmla="*/ 399 w 10000"/>
                  <a:gd name="connsiteY69" fmla="*/ 1627 h 10000"/>
                  <a:gd name="connsiteX70" fmla="*/ 194 w 10000"/>
                  <a:gd name="connsiteY70" fmla="*/ 2101 h 10000"/>
                  <a:gd name="connsiteX71" fmla="*/ 0 w 10000"/>
                  <a:gd name="connsiteY71" fmla="*/ 2591 h 10000"/>
                  <a:gd name="connsiteX72" fmla="*/ 10 w 10000"/>
                  <a:gd name="connsiteY72" fmla="*/ 907 h 10000"/>
                  <a:gd name="connsiteX73" fmla="*/ 205 w 10000"/>
                  <a:gd name="connsiteY73" fmla="*/ 691 h 10000"/>
                  <a:gd name="connsiteX74" fmla="*/ 399 w 10000"/>
                  <a:gd name="connsiteY74" fmla="*/ 504 h 10000"/>
                  <a:gd name="connsiteX75" fmla="*/ 604 w 10000"/>
                  <a:gd name="connsiteY75" fmla="*/ 317 h 10000"/>
                  <a:gd name="connsiteX76" fmla="*/ 2272 w 10000"/>
                  <a:gd name="connsiteY76" fmla="*/ 0 h 10000"/>
                  <a:gd name="connsiteX77" fmla="*/ 2426 w 10000"/>
                  <a:gd name="connsiteY77" fmla="*/ 43 h 10000"/>
                  <a:gd name="connsiteX78" fmla="*/ 2569 w 10000"/>
                  <a:gd name="connsiteY78" fmla="*/ 115 h 10000"/>
                  <a:gd name="connsiteX79" fmla="*/ 2712 w 10000"/>
                  <a:gd name="connsiteY79" fmla="*/ 188 h 10000"/>
                  <a:gd name="connsiteX80" fmla="*/ 2845 w 10000"/>
                  <a:gd name="connsiteY80" fmla="*/ 274 h 10000"/>
                  <a:gd name="connsiteX81" fmla="*/ 2989 w 10000"/>
                  <a:gd name="connsiteY81" fmla="*/ 375 h 10000"/>
                  <a:gd name="connsiteX82" fmla="*/ 3112 w 10000"/>
                  <a:gd name="connsiteY82" fmla="*/ 461 h 10000"/>
                  <a:gd name="connsiteX83" fmla="*/ 3234 w 10000"/>
                  <a:gd name="connsiteY83" fmla="*/ 590 h 10000"/>
                  <a:gd name="connsiteX84" fmla="*/ 3367 w 10000"/>
                  <a:gd name="connsiteY84" fmla="*/ 720 h 10000"/>
                  <a:gd name="connsiteX85" fmla="*/ 3490 w 10000"/>
                  <a:gd name="connsiteY85" fmla="*/ 850 h 10000"/>
                  <a:gd name="connsiteX86" fmla="*/ 3726 w 10000"/>
                  <a:gd name="connsiteY86" fmla="*/ 1137 h 10000"/>
                  <a:gd name="connsiteX87" fmla="*/ 3941 w 10000"/>
                  <a:gd name="connsiteY87" fmla="*/ 1482 h 10000"/>
                  <a:gd name="connsiteX88" fmla="*/ 4145 w 10000"/>
                  <a:gd name="connsiteY88" fmla="*/ 1842 h 10000"/>
                  <a:gd name="connsiteX89" fmla="*/ 4340 w 10000"/>
                  <a:gd name="connsiteY89" fmla="*/ 2231 h 10000"/>
                  <a:gd name="connsiteX90" fmla="*/ 4534 w 10000"/>
                  <a:gd name="connsiteY90" fmla="*/ 2634 h 10000"/>
                  <a:gd name="connsiteX91" fmla="*/ 4708 w 10000"/>
                  <a:gd name="connsiteY91" fmla="*/ 3051 h 10000"/>
                  <a:gd name="connsiteX92" fmla="*/ 4893 w 10000"/>
                  <a:gd name="connsiteY92" fmla="*/ 3483 h 10000"/>
                  <a:gd name="connsiteX93" fmla="*/ 5056 w 10000"/>
                  <a:gd name="connsiteY93" fmla="*/ 3927 h 10000"/>
                  <a:gd name="connsiteX94" fmla="*/ 5363 w 10000"/>
                  <a:gd name="connsiteY94" fmla="*/ 4834 h 10000"/>
                  <a:gd name="connsiteX95" fmla="*/ 5967 w 10000"/>
                  <a:gd name="connsiteY95" fmla="*/ 6633 h 10000"/>
                  <a:gd name="connsiteX96" fmla="*/ 6254 w 10000"/>
                  <a:gd name="connsiteY96" fmla="*/ 7468 h 10000"/>
                  <a:gd name="connsiteX97" fmla="*/ 6407 w 10000"/>
                  <a:gd name="connsiteY97" fmla="*/ 7828 h 10000"/>
                  <a:gd name="connsiteX98" fmla="*/ 6551 w 10000"/>
                  <a:gd name="connsiteY98" fmla="*/ 8201 h 10000"/>
                  <a:gd name="connsiteX99" fmla="*/ 6714 w 10000"/>
                  <a:gd name="connsiteY99" fmla="*/ 8533 h 10000"/>
                  <a:gd name="connsiteX100" fmla="*/ 6868 w 10000"/>
                  <a:gd name="connsiteY100" fmla="*/ 8821 h 10000"/>
                  <a:gd name="connsiteX101" fmla="*/ 7021 w 10000"/>
                  <a:gd name="connsiteY101" fmla="*/ 9093 h 10000"/>
                  <a:gd name="connsiteX102" fmla="*/ 7195 w 10000"/>
                  <a:gd name="connsiteY102" fmla="*/ 9295 h 10000"/>
                  <a:gd name="connsiteX103" fmla="*/ 7288 w 10000"/>
                  <a:gd name="connsiteY103" fmla="*/ 9395 h 10000"/>
                  <a:gd name="connsiteX104" fmla="*/ 7369 w 10000"/>
                  <a:gd name="connsiteY104" fmla="*/ 9497 h 10000"/>
                  <a:gd name="connsiteX105" fmla="*/ 7462 w 10000"/>
                  <a:gd name="connsiteY105" fmla="*/ 9554 h 10000"/>
                  <a:gd name="connsiteX106" fmla="*/ 7554 w 10000"/>
                  <a:gd name="connsiteY106" fmla="*/ 9626 h 10000"/>
                  <a:gd name="connsiteX107" fmla="*/ 7646 w 10000"/>
                  <a:gd name="connsiteY107" fmla="*/ 9669 h 10000"/>
                  <a:gd name="connsiteX108" fmla="*/ 7748 w 10000"/>
                  <a:gd name="connsiteY108" fmla="*/ 9698 h 10000"/>
                  <a:gd name="connsiteX109" fmla="*/ 7851 w 10000"/>
                  <a:gd name="connsiteY109" fmla="*/ 9741 h 10000"/>
                  <a:gd name="connsiteX110" fmla="*/ 7943 w 10000"/>
                  <a:gd name="connsiteY110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809 w 10000"/>
                  <a:gd name="connsiteY64" fmla="*/ 865 h 10000"/>
                  <a:gd name="connsiteX65" fmla="*/ 706 w 10000"/>
                  <a:gd name="connsiteY65" fmla="*/ 1050 h 10000"/>
                  <a:gd name="connsiteX66" fmla="*/ 604 w 10000"/>
                  <a:gd name="connsiteY66" fmla="*/ 1224 h 10000"/>
                  <a:gd name="connsiteX67" fmla="*/ 491 w 10000"/>
                  <a:gd name="connsiteY67" fmla="*/ 1425 h 10000"/>
                  <a:gd name="connsiteX68" fmla="*/ 399 w 10000"/>
                  <a:gd name="connsiteY68" fmla="*/ 1627 h 10000"/>
                  <a:gd name="connsiteX69" fmla="*/ 194 w 10000"/>
                  <a:gd name="connsiteY69" fmla="*/ 2101 h 10000"/>
                  <a:gd name="connsiteX70" fmla="*/ 0 w 10000"/>
                  <a:gd name="connsiteY70" fmla="*/ 2591 h 10000"/>
                  <a:gd name="connsiteX71" fmla="*/ 10 w 10000"/>
                  <a:gd name="connsiteY71" fmla="*/ 907 h 10000"/>
                  <a:gd name="connsiteX72" fmla="*/ 205 w 10000"/>
                  <a:gd name="connsiteY72" fmla="*/ 691 h 10000"/>
                  <a:gd name="connsiteX73" fmla="*/ 399 w 10000"/>
                  <a:gd name="connsiteY73" fmla="*/ 504 h 10000"/>
                  <a:gd name="connsiteX74" fmla="*/ 604 w 10000"/>
                  <a:gd name="connsiteY74" fmla="*/ 317 h 10000"/>
                  <a:gd name="connsiteX75" fmla="*/ 2272 w 10000"/>
                  <a:gd name="connsiteY75" fmla="*/ 0 h 10000"/>
                  <a:gd name="connsiteX76" fmla="*/ 2426 w 10000"/>
                  <a:gd name="connsiteY76" fmla="*/ 43 h 10000"/>
                  <a:gd name="connsiteX77" fmla="*/ 2569 w 10000"/>
                  <a:gd name="connsiteY77" fmla="*/ 115 h 10000"/>
                  <a:gd name="connsiteX78" fmla="*/ 2712 w 10000"/>
                  <a:gd name="connsiteY78" fmla="*/ 188 h 10000"/>
                  <a:gd name="connsiteX79" fmla="*/ 2845 w 10000"/>
                  <a:gd name="connsiteY79" fmla="*/ 274 h 10000"/>
                  <a:gd name="connsiteX80" fmla="*/ 2989 w 10000"/>
                  <a:gd name="connsiteY80" fmla="*/ 375 h 10000"/>
                  <a:gd name="connsiteX81" fmla="*/ 3112 w 10000"/>
                  <a:gd name="connsiteY81" fmla="*/ 461 h 10000"/>
                  <a:gd name="connsiteX82" fmla="*/ 3234 w 10000"/>
                  <a:gd name="connsiteY82" fmla="*/ 590 h 10000"/>
                  <a:gd name="connsiteX83" fmla="*/ 3367 w 10000"/>
                  <a:gd name="connsiteY83" fmla="*/ 720 h 10000"/>
                  <a:gd name="connsiteX84" fmla="*/ 3490 w 10000"/>
                  <a:gd name="connsiteY84" fmla="*/ 850 h 10000"/>
                  <a:gd name="connsiteX85" fmla="*/ 3726 w 10000"/>
                  <a:gd name="connsiteY85" fmla="*/ 1137 h 10000"/>
                  <a:gd name="connsiteX86" fmla="*/ 3941 w 10000"/>
                  <a:gd name="connsiteY86" fmla="*/ 1482 h 10000"/>
                  <a:gd name="connsiteX87" fmla="*/ 4145 w 10000"/>
                  <a:gd name="connsiteY87" fmla="*/ 1842 h 10000"/>
                  <a:gd name="connsiteX88" fmla="*/ 4340 w 10000"/>
                  <a:gd name="connsiteY88" fmla="*/ 2231 h 10000"/>
                  <a:gd name="connsiteX89" fmla="*/ 4534 w 10000"/>
                  <a:gd name="connsiteY89" fmla="*/ 2634 h 10000"/>
                  <a:gd name="connsiteX90" fmla="*/ 4708 w 10000"/>
                  <a:gd name="connsiteY90" fmla="*/ 3051 h 10000"/>
                  <a:gd name="connsiteX91" fmla="*/ 4893 w 10000"/>
                  <a:gd name="connsiteY91" fmla="*/ 3483 h 10000"/>
                  <a:gd name="connsiteX92" fmla="*/ 5056 w 10000"/>
                  <a:gd name="connsiteY92" fmla="*/ 3927 h 10000"/>
                  <a:gd name="connsiteX93" fmla="*/ 5363 w 10000"/>
                  <a:gd name="connsiteY93" fmla="*/ 4834 h 10000"/>
                  <a:gd name="connsiteX94" fmla="*/ 5967 w 10000"/>
                  <a:gd name="connsiteY94" fmla="*/ 6633 h 10000"/>
                  <a:gd name="connsiteX95" fmla="*/ 6254 w 10000"/>
                  <a:gd name="connsiteY95" fmla="*/ 7468 h 10000"/>
                  <a:gd name="connsiteX96" fmla="*/ 6407 w 10000"/>
                  <a:gd name="connsiteY96" fmla="*/ 7828 h 10000"/>
                  <a:gd name="connsiteX97" fmla="*/ 6551 w 10000"/>
                  <a:gd name="connsiteY97" fmla="*/ 8201 h 10000"/>
                  <a:gd name="connsiteX98" fmla="*/ 6714 w 10000"/>
                  <a:gd name="connsiteY98" fmla="*/ 8533 h 10000"/>
                  <a:gd name="connsiteX99" fmla="*/ 6868 w 10000"/>
                  <a:gd name="connsiteY99" fmla="*/ 8821 h 10000"/>
                  <a:gd name="connsiteX100" fmla="*/ 7021 w 10000"/>
                  <a:gd name="connsiteY100" fmla="*/ 9093 h 10000"/>
                  <a:gd name="connsiteX101" fmla="*/ 7195 w 10000"/>
                  <a:gd name="connsiteY101" fmla="*/ 9295 h 10000"/>
                  <a:gd name="connsiteX102" fmla="*/ 7288 w 10000"/>
                  <a:gd name="connsiteY102" fmla="*/ 9395 h 10000"/>
                  <a:gd name="connsiteX103" fmla="*/ 7369 w 10000"/>
                  <a:gd name="connsiteY103" fmla="*/ 9497 h 10000"/>
                  <a:gd name="connsiteX104" fmla="*/ 7462 w 10000"/>
                  <a:gd name="connsiteY104" fmla="*/ 9554 h 10000"/>
                  <a:gd name="connsiteX105" fmla="*/ 7554 w 10000"/>
                  <a:gd name="connsiteY105" fmla="*/ 9626 h 10000"/>
                  <a:gd name="connsiteX106" fmla="*/ 7646 w 10000"/>
                  <a:gd name="connsiteY106" fmla="*/ 9669 h 10000"/>
                  <a:gd name="connsiteX107" fmla="*/ 7748 w 10000"/>
                  <a:gd name="connsiteY107" fmla="*/ 9698 h 10000"/>
                  <a:gd name="connsiteX108" fmla="*/ 7851 w 10000"/>
                  <a:gd name="connsiteY108" fmla="*/ 9741 h 10000"/>
                  <a:gd name="connsiteX109" fmla="*/ 7943 w 10000"/>
                  <a:gd name="connsiteY109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809 w 10000"/>
                  <a:gd name="connsiteY64" fmla="*/ 865 h 10000"/>
                  <a:gd name="connsiteX65" fmla="*/ 604 w 10000"/>
                  <a:gd name="connsiteY65" fmla="*/ 1224 h 10000"/>
                  <a:gd name="connsiteX66" fmla="*/ 491 w 10000"/>
                  <a:gd name="connsiteY66" fmla="*/ 1425 h 10000"/>
                  <a:gd name="connsiteX67" fmla="*/ 399 w 10000"/>
                  <a:gd name="connsiteY67" fmla="*/ 1627 h 10000"/>
                  <a:gd name="connsiteX68" fmla="*/ 194 w 10000"/>
                  <a:gd name="connsiteY68" fmla="*/ 2101 h 10000"/>
                  <a:gd name="connsiteX69" fmla="*/ 0 w 10000"/>
                  <a:gd name="connsiteY69" fmla="*/ 2591 h 10000"/>
                  <a:gd name="connsiteX70" fmla="*/ 10 w 10000"/>
                  <a:gd name="connsiteY70" fmla="*/ 907 h 10000"/>
                  <a:gd name="connsiteX71" fmla="*/ 205 w 10000"/>
                  <a:gd name="connsiteY71" fmla="*/ 691 h 10000"/>
                  <a:gd name="connsiteX72" fmla="*/ 399 w 10000"/>
                  <a:gd name="connsiteY72" fmla="*/ 504 h 10000"/>
                  <a:gd name="connsiteX73" fmla="*/ 604 w 10000"/>
                  <a:gd name="connsiteY73" fmla="*/ 317 h 10000"/>
                  <a:gd name="connsiteX74" fmla="*/ 2272 w 10000"/>
                  <a:gd name="connsiteY74" fmla="*/ 0 h 10000"/>
                  <a:gd name="connsiteX75" fmla="*/ 2426 w 10000"/>
                  <a:gd name="connsiteY75" fmla="*/ 43 h 10000"/>
                  <a:gd name="connsiteX76" fmla="*/ 2569 w 10000"/>
                  <a:gd name="connsiteY76" fmla="*/ 115 h 10000"/>
                  <a:gd name="connsiteX77" fmla="*/ 2712 w 10000"/>
                  <a:gd name="connsiteY77" fmla="*/ 188 h 10000"/>
                  <a:gd name="connsiteX78" fmla="*/ 2845 w 10000"/>
                  <a:gd name="connsiteY78" fmla="*/ 274 h 10000"/>
                  <a:gd name="connsiteX79" fmla="*/ 2989 w 10000"/>
                  <a:gd name="connsiteY79" fmla="*/ 375 h 10000"/>
                  <a:gd name="connsiteX80" fmla="*/ 3112 w 10000"/>
                  <a:gd name="connsiteY80" fmla="*/ 461 h 10000"/>
                  <a:gd name="connsiteX81" fmla="*/ 3234 w 10000"/>
                  <a:gd name="connsiteY81" fmla="*/ 590 h 10000"/>
                  <a:gd name="connsiteX82" fmla="*/ 3367 w 10000"/>
                  <a:gd name="connsiteY82" fmla="*/ 720 h 10000"/>
                  <a:gd name="connsiteX83" fmla="*/ 3490 w 10000"/>
                  <a:gd name="connsiteY83" fmla="*/ 850 h 10000"/>
                  <a:gd name="connsiteX84" fmla="*/ 3726 w 10000"/>
                  <a:gd name="connsiteY84" fmla="*/ 1137 h 10000"/>
                  <a:gd name="connsiteX85" fmla="*/ 3941 w 10000"/>
                  <a:gd name="connsiteY85" fmla="*/ 1482 h 10000"/>
                  <a:gd name="connsiteX86" fmla="*/ 4145 w 10000"/>
                  <a:gd name="connsiteY86" fmla="*/ 1842 h 10000"/>
                  <a:gd name="connsiteX87" fmla="*/ 4340 w 10000"/>
                  <a:gd name="connsiteY87" fmla="*/ 2231 h 10000"/>
                  <a:gd name="connsiteX88" fmla="*/ 4534 w 10000"/>
                  <a:gd name="connsiteY88" fmla="*/ 2634 h 10000"/>
                  <a:gd name="connsiteX89" fmla="*/ 4708 w 10000"/>
                  <a:gd name="connsiteY89" fmla="*/ 3051 h 10000"/>
                  <a:gd name="connsiteX90" fmla="*/ 4893 w 10000"/>
                  <a:gd name="connsiteY90" fmla="*/ 3483 h 10000"/>
                  <a:gd name="connsiteX91" fmla="*/ 5056 w 10000"/>
                  <a:gd name="connsiteY91" fmla="*/ 3927 h 10000"/>
                  <a:gd name="connsiteX92" fmla="*/ 5363 w 10000"/>
                  <a:gd name="connsiteY92" fmla="*/ 4834 h 10000"/>
                  <a:gd name="connsiteX93" fmla="*/ 5967 w 10000"/>
                  <a:gd name="connsiteY93" fmla="*/ 6633 h 10000"/>
                  <a:gd name="connsiteX94" fmla="*/ 6254 w 10000"/>
                  <a:gd name="connsiteY94" fmla="*/ 7468 h 10000"/>
                  <a:gd name="connsiteX95" fmla="*/ 6407 w 10000"/>
                  <a:gd name="connsiteY95" fmla="*/ 7828 h 10000"/>
                  <a:gd name="connsiteX96" fmla="*/ 6551 w 10000"/>
                  <a:gd name="connsiteY96" fmla="*/ 8201 h 10000"/>
                  <a:gd name="connsiteX97" fmla="*/ 6714 w 10000"/>
                  <a:gd name="connsiteY97" fmla="*/ 8533 h 10000"/>
                  <a:gd name="connsiteX98" fmla="*/ 6868 w 10000"/>
                  <a:gd name="connsiteY98" fmla="*/ 8821 h 10000"/>
                  <a:gd name="connsiteX99" fmla="*/ 7021 w 10000"/>
                  <a:gd name="connsiteY99" fmla="*/ 9093 h 10000"/>
                  <a:gd name="connsiteX100" fmla="*/ 7195 w 10000"/>
                  <a:gd name="connsiteY100" fmla="*/ 9295 h 10000"/>
                  <a:gd name="connsiteX101" fmla="*/ 7288 w 10000"/>
                  <a:gd name="connsiteY101" fmla="*/ 9395 h 10000"/>
                  <a:gd name="connsiteX102" fmla="*/ 7369 w 10000"/>
                  <a:gd name="connsiteY102" fmla="*/ 9497 h 10000"/>
                  <a:gd name="connsiteX103" fmla="*/ 7462 w 10000"/>
                  <a:gd name="connsiteY103" fmla="*/ 9554 h 10000"/>
                  <a:gd name="connsiteX104" fmla="*/ 7554 w 10000"/>
                  <a:gd name="connsiteY104" fmla="*/ 9626 h 10000"/>
                  <a:gd name="connsiteX105" fmla="*/ 7646 w 10000"/>
                  <a:gd name="connsiteY105" fmla="*/ 9669 h 10000"/>
                  <a:gd name="connsiteX106" fmla="*/ 7748 w 10000"/>
                  <a:gd name="connsiteY106" fmla="*/ 9698 h 10000"/>
                  <a:gd name="connsiteX107" fmla="*/ 7851 w 10000"/>
                  <a:gd name="connsiteY107" fmla="*/ 9741 h 10000"/>
                  <a:gd name="connsiteX108" fmla="*/ 7943 w 10000"/>
                  <a:gd name="connsiteY108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604 w 10000"/>
                  <a:gd name="connsiteY64" fmla="*/ 1224 h 10000"/>
                  <a:gd name="connsiteX65" fmla="*/ 491 w 10000"/>
                  <a:gd name="connsiteY65" fmla="*/ 1425 h 10000"/>
                  <a:gd name="connsiteX66" fmla="*/ 399 w 10000"/>
                  <a:gd name="connsiteY66" fmla="*/ 1627 h 10000"/>
                  <a:gd name="connsiteX67" fmla="*/ 194 w 10000"/>
                  <a:gd name="connsiteY67" fmla="*/ 2101 h 10000"/>
                  <a:gd name="connsiteX68" fmla="*/ 0 w 10000"/>
                  <a:gd name="connsiteY68" fmla="*/ 2591 h 10000"/>
                  <a:gd name="connsiteX69" fmla="*/ 10 w 10000"/>
                  <a:gd name="connsiteY69" fmla="*/ 907 h 10000"/>
                  <a:gd name="connsiteX70" fmla="*/ 205 w 10000"/>
                  <a:gd name="connsiteY70" fmla="*/ 691 h 10000"/>
                  <a:gd name="connsiteX71" fmla="*/ 399 w 10000"/>
                  <a:gd name="connsiteY71" fmla="*/ 504 h 10000"/>
                  <a:gd name="connsiteX72" fmla="*/ 604 w 10000"/>
                  <a:gd name="connsiteY72" fmla="*/ 317 h 10000"/>
                  <a:gd name="connsiteX73" fmla="*/ 2272 w 10000"/>
                  <a:gd name="connsiteY73" fmla="*/ 0 h 10000"/>
                  <a:gd name="connsiteX74" fmla="*/ 2426 w 10000"/>
                  <a:gd name="connsiteY74" fmla="*/ 43 h 10000"/>
                  <a:gd name="connsiteX75" fmla="*/ 2569 w 10000"/>
                  <a:gd name="connsiteY75" fmla="*/ 115 h 10000"/>
                  <a:gd name="connsiteX76" fmla="*/ 2712 w 10000"/>
                  <a:gd name="connsiteY76" fmla="*/ 188 h 10000"/>
                  <a:gd name="connsiteX77" fmla="*/ 2845 w 10000"/>
                  <a:gd name="connsiteY77" fmla="*/ 274 h 10000"/>
                  <a:gd name="connsiteX78" fmla="*/ 2989 w 10000"/>
                  <a:gd name="connsiteY78" fmla="*/ 375 h 10000"/>
                  <a:gd name="connsiteX79" fmla="*/ 3112 w 10000"/>
                  <a:gd name="connsiteY79" fmla="*/ 461 h 10000"/>
                  <a:gd name="connsiteX80" fmla="*/ 3234 w 10000"/>
                  <a:gd name="connsiteY80" fmla="*/ 590 h 10000"/>
                  <a:gd name="connsiteX81" fmla="*/ 3367 w 10000"/>
                  <a:gd name="connsiteY81" fmla="*/ 720 h 10000"/>
                  <a:gd name="connsiteX82" fmla="*/ 3490 w 10000"/>
                  <a:gd name="connsiteY82" fmla="*/ 850 h 10000"/>
                  <a:gd name="connsiteX83" fmla="*/ 3726 w 10000"/>
                  <a:gd name="connsiteY83" fmla="*/ 1137 h 10000"/>
                  <a:gd name="connsiteX84" fmla="*/ 3941 w 10000"/>
                  <a:gd name="connsiteY84" fmla="*/ 1482 h 10000"/>
                  <a:gd name="connsiteX85" fmla="*/ 4145 w 10000"/>
                  <a:gd name="connsiteY85" fmla="*/ 1842 h 10000"/>
                  <a:gd name="connsiteX86" fmla="*/ 4340 w 10000"/>
                  <a:gd name="connsiteY86" fmla="*/ 2231 h 10000"/>
                  <a:gd name="connsiteX87" fmla="*/ 4534 w 10000"/>
                  <a:gd name="connsiteY87" fmla="*/ 2634 h 10000"/>
                  <a:gd name="connsiteX88" fmla="*/ 4708 w 10000"/>
                  <a:gd name="connsiteY88" fmla="*/ 3051 h 10000"/>
                  <a:gd name="connsiteX89" fmla="*/ 4893 w 10000"/>
                  <a:gd name="connsiteY89" fmla="*/ 3483 h 10000"/>
                  <a:gd name="connsiteX90" fmla="*/ 5056 w 10000"/>
                  <a:gd name="connsiteY90" fmla="*/ 3927 h 10000"/>
                  <a:gd name="connsiteX91" fmla="*/ 5363 w 10000"/>
                  <a:gd name="connsiteY91" fmla="*/ 4834 h 10000"/>
                  <a:gd name="connsiteX92" fmla="*/ 5967 w 10000"/>
                  <a:gd name="connsiteY92" fmla="*/ 6633 h 10000"/>
                  <a:gd name="connsiteX93" fmla="*/ 6254 w 10000"/>
                  <a:gd name="connsiteY93" fmla="*/ 7468 h 10000"/>
                  <a:gd name="connsiteX94" fmla="*/ 6407 w 10000"/>
                  <a:gd name="connsiteY94" fmla="*/ 7828 h 10000"/>
                  <a:gd name="connsiteX95" fmla="*/ 6551 w 10000"/>
                  <a:gd name="connsiteY95" fmla="*/ 8201 h 10000"/>
                  <a:gd name="connsiteX96" fmla="*/ 6714 w 10000"/>
                  <a:gd name="connsiteY96" fmla="*/ 8533 h 10000"/>
                  <a:gd name="connsiteX97" fmla="*/ 6868 w 10000"/>
                  <a:gd name="connsiteY97" fmla="*/ 8821 h 10000"/>
                  <a:gd name="connsiteX98" fmla="*/ 7021 w 10000"/>
                  <a:gd name="connsiteY98" fmla="*/ 9093 h 10000"/>
                  <a:gd name="connsiteX99" fmla="*/ 7195 w 10000"/>
                  <a:gd name="connsiteY99" fmla="*/ 9295 h 10000"/>
                  <a:gd name="connsiteX100" fmla="*/ 7288 w 10000"/>
                  <a:gd name="connsiteY100" fmla="*/ 9395 h 10000"/>
                  <a:gd name="connsiteX101" fmla="*/ 7369 w 10000"/>
                  <a:gd name="connsiteY101" fmla="*/ 9497 h 10000"/>
                  <a:gd name="connsiteX102" fmla="*/ 7462 w 10000"/>
                  <a:gd name="connsiteY102" fmla="*/ 9554 h 10000"/>
                  <a:gd name="connsiteX103" fmla="*/ 7554 w 10000"/>
                  <a:gd name="connsiteY103" fmla="*/ 9626 h 10000"/>
                  <a:gd name="connsiteX104" fmla="*/ 7646 w 10000"/>
                  <a:gd name="connsiteY104" fmla="*/ 9669 h 10000"/>
                  <a:gd name="connsiteX105" fmla="*/ 7748 w 10000"/>
                  <a:gd name="connsiteY105" fmla="*/ 9698 h 10000"/>
                  <a:gd name="connsiteX106" fmla="*/ 7851 w 10000"/>
                  <a:gd name="connsiteY106" fmla="*/ 9741 h 10000"/>
                  <a:gd name="connsiteX107" fmla="*/ 7943 w 10000"/>
                  <a:gd name="connsiteY107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604 w 10000"/>
                  <a:gd name="connsiteY64" fmla="*/ 1224 h 10000"/>
                  <a:gd name="connsiteX65" fmla="*/ 491 w 10000"/>
                  <a:gd name="connsiteY65" fmla="*/ 1425 h 10000"/>
                  <a:gd name="connsiteX66" fmla="*/ 399 w 10000"/>
                  <a:gd name="connsiteY66" fmla="*/ 1627 h 10000"/>
                  <a:gd name="connsiteX67" fmla="*/ 194 w 10000"/>
                  <a:gd name="connsiteY67" fmla="*/ 2101 h 10000"/>
                  <a:gd name="connsiteX68" fmla="*/ 0 w 10000"/>
                  <a:gd name="connsiteY68" fmla="*/ 2591 h 10000"/>
                  <a:gd name="connsiteX69" fmla="*/ 10 w 10000"/>
                  <a:gd name="connsiteY69" fmla="*/ 907 h 10000"/>
                  <a:gd name="connsiteX70" fmla="*/ 205 w 10000"/>
                  <a:gd name="connsiteY70" fmla="*/ 691 h 10000"/>
                  <a:gd name="connsiteX71" fmla="*/ 399 w 10000"/>
                  <a:gd name="connsiteY71" fmla="*/ 504 h 10000"/>
                  <a:gd name="connsiteX72" fmla="*/ 2272 w 10000"/>
                  <a:gd name="connsiteY72" fmla="*/ 0 h 10000"/>
                  <a:gd name="connsiteX73" fmla="*/ 2426 w 10000"/>
                  <a:gd name="connsiteY73" fmla="*/ 43 h 10000"/>
                  <a:gd name="connsiteX74" fmla="*/ 2569 w 10000"/>
                  <a:gd name="connsiteY74" fmla="*/ 115 h 10000"/>
                  <a:gd name="connsiteX75" fmla="*/ 2712 w 10000"/>
                  <a:gd name="connsiteY75" fmla="*/ 188 h 10000"/>
                  <a:gd name="connsiteX76" fmla="*/ 2845 w 10000"/>
                  <a:gd name="connsiteY76" fmla="*/ 274 h 10000"/>
                  <a:gd name="connsiteX77" fmla="*/ 2989 w 10000"/>
                  <a:gd name="connsiteY77" fmla="*/ 375 h 10000"/>
                  <a:gd name="connsiteX78" fmla="*/ 3112 w 10000"/>
                  <a:gd name="connsiteY78" fmla="*/ 461 h 10000"/>
                  <a:gd name="connsiteX79" fmla="*/ 3234 w 10000"/>
                  <a:gd name="connsiteY79" fmla="*/ 590 h 10000"/>
                  <a:gd name="connsiteX80" fmla="*/ 3367 w 10000"/>
                  <a:gd name="connsiteY80" fmla="*/ 720 h 10000"/>
                  <a:gd name="connsiteX81" fmla="*/ 3490 w 10000"/>
                  <a:gd name="connsiteY81" fmla="*/ 850 h 10000"/>
                  <a:gd name="connsiteX82" fmla="*/ 3726 w 10000"/>
                  <a:gd name="connsiteY82" fmla="*/ 1137 h 10000"/>
                  <a:gd name="connsiteX83" fmla="*/ 3941 w 10000"/>
                  <a:gd name="connsiteY83" fmla="*/ 1482 h 10000"/>
                  <a:gd name="connsiteX84" fmla="*/ 4145 w 10000"/>
                  <a:gd name="connsiteY84" fmla="*/ 1842 h 10000"/>
                  <a:gd name="connsiteX85" fmla="*/ 4340 w 10000"/>
                  <a:gd name="connsiteY85" fmla="*/ 2231 h 10000"/>
                  <a:gd name="connsiteX86" fmla="*/ 4534 w 10000"/>
                  <a:gd name="connsiteY86" fmla="*/ 2634 h 10000"/>
                  <a:gd name="connsiteX87" fmla="*/ 4708 w 10000"/>
                  <a:gd name="connsiteY87" fmla="*/ 3051 h 10000"/>
                  <a:gd name="connsiteX88" fmla="*/ 4893 w 10000"/>
                  <a:gd name="connsiteY88" fmla="*/ 3483 h 10000"/>
                  <a:gd name="connsiteX89" fmla="*/ 5056 w 10000"/>
                  <a:gd name="connsiteY89" fmla="*/ 3927 h 10000"/>
                  <a:gd name="connsiteX90" fmla="*/ 5363 w 10000"/>
                  <a:gd name="connsiteY90" fmla="*/ 4834 h 10000"/>
                  <a:gd name="connsiteX91" fmla="*/ 5967 w 10000"/>
                  <a:gd name="connsiteY91" fmla="*/ 6633 h 10000"/>
                  <a:gd name="connsiteX92" fmla="*/ 6254 w 10000"/>
                  <a:gd name="connsiteY92" fmla="*/ 7468 h 10000"/>
                  <a:gd name="connsiteX93" fmla="*/ 6407 w 10000"/>
                  <a:gd name="connsiteY93" fmla="*/ 7828 h 10000"/>
                  <a:gd name="connsiteX94" fmla="*/ 6551 w 10000"/>
                  <a:gd name="connsiteY94" fmla="*/ 8201 h 10000"/>
                  <a:gd name="connsiteX95" fmla="*/ 6714 w 10000"/>
                  <a:gd name="connsiteY95" fmla="*/ 8533 h 10000"/>
                  <a:gd name="connsiteX96" fmla="*/ 6868 w 10000"/>
                  <a:gd name="connsiteY96" fmla="*/ 8821 h 10000"/>
                  <a:gd name="connsiteX97" fmla="*/ 7021 w 10000"/>
                  <a:gd name="connsiteY97" fmla="*/ 9093 h 10000"/>
                  <a:gd name="connsiteX98" fmla="*/ 7195 w 10000"/>
                  <a:gd name="connsiteY98" fmla="*/ 9295 h 10000"/>
                  <a:gd name="connsiteX99" fmla="*/ 7288 w 10000"/>
                  <a:gd name="connsiteY99" fmla="*/ 9395 h 10000"/>
                  <a:gd name="connsiteX100" fmla="*/ 7369 w 10000"/>
                  <a:gd name="connsiteY100" fmla="*/ 9497 h 10000"/>
                  <a:gd name="connsiteX101" fmla="*/ 7462 w 10000"/>
                  <a:gd name="connsiteY101" fmla="*/ 9554 h 10000"/>
                  <a:gd name="connsiteX102" fmla="*/ 7554 w 10000"/>
                  <a:gd name="connsiteY102" fmla="*/ 9626 h 10000"/>
                  <a:gd name="connsiteX103" fmla="*/ 7646 w 10000"/>
                  <a:gd name="connsiteY103" fmla="*/ 9669 h 10000"/>
                  <a:gd name="connsiteX104" fmla="*/ 7748 w 10000"/>
                  <a:gd name="connsiteY104" fmla="*/ 9698 h 10000"/>
                  <a:gd name="connsiteX105" fmla="*/ 7851 w 10000"/>
                  <a:gd name="connsiteY105" fmla="*/ 9741 h 10000"/>
                  <a:gd name="connsiteX106" fmla="*/ 7943 w 10000"/>
                  <a:gd name="connsiteY106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604 w 10000"/>
                  <a:gd name="connsiteY64" fmla="*/ 1224 h 10000"/>
                  <a:gd name="connsiteX65" fmla="*/ 491 w 10000"/>
                  <a:gd name="connsiteY65" fmla="*/ 1425 h 10000"/>
                  <a:gd name="connsiteX66" fmla="*/ 399 w 10000"/>
                  <a:gd name="connsiteY66" fmla="*/ 1627 h 10000"/>
                  <a:gd name="connsiteX67" fmla="*/ 194 w 10000"/>
                  <a:gd name="connsiteY67" fmla="*/ 2101 h 10000"/>
                  <a:gd name="connsiteX68" fmla="*/ 0 w 10000"/>
                  <a:gd name="connsiteY68" fmla="*/ 2591 h 10000"/>
                  <a:gd name="connsiteX69" fmla="*/ 10 w 10000"/>
                  <a:gd name="connsiteY69" fmla="*/ 907 h 10000"/>
                  <a:gd name="connsiteX70" fmla="*/ 205 w 10000"/>
                  <a:gd name="connsiteY70" fmla="*/ 691 h 10000"/>
                  <a:gd name="connsiteX71" fmla="*/ 2272 w 10000"/>
                  <a:gd name="connsiteY71" fmla="*/ 0 h 10000"/>
                  <a:gd name="connsiteX72" fmla="*/ 2426 w 10000"/>
                  <a:gd name="connsiteY72" fmla="*/ 43 h 10000"/>
                  <a:gd name="connsiteX73" fmla="*/ 2569 w 10000"/>
                  <a:gd name="connsiteY73" fmla="*/ 115 h 10000"/>
                  <a:gd name="connsiteX74" fmla="*/ 2712 w 10000"/>
                  <a:gd name="connsiteY74" fmla="*/ 188 h 10000"/>
                  <a:gd name="connsiteX75" fmla="*/ 2845 w 10000"/>
                  <a:gd name="connsiteY75" fmla="*/ 274 h 10000"/>
                  <a:gd name="connsiteX76" fmla="*/ 2989 w 10000"/>
                  <a:gd name="connsiteY76" fmla="*/ 375 h 10000"/>
                  <a:gd name="connsiteX77" fmla="*/ 3112 w 10000"/>
                  <a:gd name="connsiteY77" fmla="*/ 461 h 10000"/>
                  <a:gd name="connsiteX78" fmla="*/ 3234 w 10000"/>
                  <a:gd name="connsiteY78" fmla="*/ 590 h 10000"/>
                  <a:gd name="connsiteX79" fmla="*/ 3367 w 10000"/>
                  <a:gd name="connsiteY79" fmla="*/ 720 h 10000"/>
                  <a:gd name="connsiteX80" fmla="*/ 3490 w 10000"/>
                  <a:gd name="connsiteY80" fmla="*/ 850 h 10000"/>
                  <a:gd name="connsiteX81" fmla="*/ 3726 w 10000"/>
                  <a:gd name="connsiteY81" fmla="*/ 1137 h 10000"/>
                  <a:gd name="connsiteX82" fmla="*/ 3941 w 10000"/>
                  <a:gd name="connsiteY82" fmla="*/ 1482 h 10000"/>
                  <a:gd name="connsiteX83" fmla="*/ 4145 w 10000"/>
                  <a:gd name="connsiteY83" fmla="*/ 1842 h 10000"/>
                  <a:gd name="connsiteX84" fmla="*/ 4340 w 10000"/>
                  <a:gd name="connsiteY84" fmla="*/ 2231 h 10000"/>
                  <a:gd name="connsiteX85" fmla="*/ 4534 w 10000"/>
                  <a:gd name="connsiteY85" fmla="*/ 2634 h 10000"/>
                  <a:gd name="connsiteX86" fmla="*/ 4708 w 10000"/>
                  <a:gd name="connsiteY86" fmla="*/ 3051 h 10000"/>
                  <a:gd name="connsiteX87" fmla="*/ 4893 w 10000"/>
                  <a:gd name="connsiteY87" fmla="*/ 3483 h 10000"/>
                  <a:gd name="connsiteX88" fmla="*/ 5056 w 10000"/>
                  <a:gd name="connsiteY88" fmla="*/ 3927 h 10000"/>
                  <a:gd name="connsiteX89" fmla="*/ 5363 w 10000"/>
                  <a:gd name="connsiteY89" fmla="*/ 4834 h 10000"/>
                  <a:gd name="connsiteX90" fmla="*/ 5967 w 10000"/>
                  <a:gd name="connsiteY90" fmla="*/ 6633 h 10000"/>
                  <a:gd name="connsiteX91" fmla="*/ 6254 w 10000"/>
                  <a:gd name="connsiteY91" fmla="*/ 7468 h 10000"/>
                  <a:gd name="connsiteX92" fmla="*/ 6407 w 10000"/>
                  <a:gd name="connsiteY92" fmla="*/ 7828 h 10000"/>
                  <a:gd name="connsiteX93" fmla="*/ 6551 w 10000"/>
                  <a:gd name="connsiteY93" fmla="*/ 8201 h 10000"/>
                  <a:gd name="connsiteX94" fmla="*/ 6714 w 10000"/>
                  <a:gd name="connsiteY94" fmla="*/ 8533 h 10000"/>
                  <a:gd name="connsiteX95" fmla="*/ 6868 w 10000"/>
                  <a:gd name="connsiteY95" fmla="*/ 8821 h 10000"/>
                  <a:gd name="connsiteX96" fmla="*/ 7021 w 10000"/>
                  <a:gd name="connsiteY96" fmla="*/ 9093 h 10000"/>
                  <a:gd name="connsiteX97" fmla="*/ 7195 w 10000"/>
                  <a:gd name="connsiteY97" fmla="*/ 9295 h 10000"/>
                  <a:gd name="connsiteX98" fmla="*/ 7288 w 10000"/>
                  <a:gd name="connsiteY98" fmla="*/ 9395 h 10000"/>
                  <a:gd name="connsiteX99" fmla="*/ 7369 w 10000"/>
                  <a:gd name="connsiteY99" fmla="*/ 9497 h 10000"/>
                  <a:gd name="connsiteX100" fmla="*/ 7462 w 10000"/>
                  <a:gd name="connsiteY100" fmla="*/ 9554 h 10000"/>
                  <a:gd name="connsiteX101" fmla="*/ 7554 w 10000"/>
                  <a:gd name="connsiteY101" fmla="*/ 9626 h 10000"/>
                  <a:gd name="connsiteX102" fmla="*/ 7646 w 10000"/>
                  <a:gd name="connsiteY102" fmla="*/ 9669 h 10000"/>
                  <a:gd name="connsiteX103" fmla="*/ 7748 w 10000"/>
                  <a:gd name="connsiteY103" fmla="*/ 9698 h 10000"/>
                  <a:gd name="connsiteX104" fmla="*/ 7851 w 10000"/>
                  <a:gd name="connsiteY104" fmla="*/ 9741 h 10000"/>
                  <a:gd name="connsiteX105" fmla="*/ 7943 w 10000"/>
                  <a:gd name="connsiteY105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491 w 10000"/>
                  <a:gd name="connsiteY64" fmla="*/ 1425 h 10000"/>
                  <a:gd name="connsiteX65" fmla="*/ 399 w 10000"/>
                  <a:gd name="connsiteY65" fmla="*/ 1627 h 10000"/>
                  <a:gd name="connsiteX66" fmla="*/ 194 w 10000"/>
                  <a:gd name="connsiteY66" fmla="*/ 2101 h 10000"/>
                  <a:gd name="connsiteX67" fmla="*/ 0 w 10000"/>
                  <a:gd name="connsiteY67" fmla="*/ 2591 h 10000"/>
                  <a:gd name="connsiteX68" fmla="*/ 10 w 10000"/>
                  <a:gd name="connsiteY68" fmla="*/ 907 h 10000"/>
                  <a:gd name="connsiteX69" fmla="*/ 205 w 10000"/>
                  <a:gd name="connsiteY69" fmla="*/ 691 h 10000"/>
                  <a:gd name="connsiteX70" fmla="*/ 2272 w 10000"/>
                  <a:gd name="connsiteY70" fmla="*/ 0 h 10000"/>
                  <a:gd name="connsiteX71" fmla="*/ 2426 w 10000"/>
                  <a:gd name="connsiteY71" fmla="*/ 43 h 10000"/>
                  <a:gd name="connsiteX72" fmla="*/ 2569 w 10000"/>
                  <a:gd name="connsiteY72" fmla="*/ 115 h 10000"/>
                  <a:gd name="connsiteX73" fmla="*/ 2712 w 10000"/>
                  <a:gd name="connsiteY73" fmla="*/ 188 h 10000"/>
                  <a:gd name="connsiteX74" fmla="*/ 2845 w 10000"/>
                  <a:gd name="connsiteY74" fmla="*/ 274 h 10000"/>
                  <a:gd name="connsiteX75" fmla="*/ 2989 w 10000"/>
                  <a:gd name="connsiteY75" fmla="*/ 375 h 10000"/>
                  <a:gd name="connsiteX76" fmla="*/ 3112 w 10000"/>
                  <a:gd name="connsiteY76" fmla="*/ 461 h 10000"/>
                  <a:gd name="connsiteX77" fmla="*/ 3234 w 10000"/>
                  <a:gd name="connsiteY77" fmla="*/ 590 h 10000"/>
                  <a:gd name="connsiteX78" fmla="*/ 3367 w 10000"/>
                  <a:gd name="connsiteY78" fmla="*/ 720 h 10000"/>
                  <a:gd name="connsiteX79" fmla="*/ 3490 w 10000"/>
                  <a:gd name="connsiteY79" fmla="*/ 850 h 10000"/>
                  <a:gd name="connsiteX80" fmla="*/ 3726 w 10000"/>
                  <a:gd name="connsiteY80" fmla="*/ 1137 h 10000"/>
                  <a:gd name="connsiteX81" fmla="*/ 3941 w 10000"/>
                  <a:gd name="connsiteY81" fmla="*/ 1482 h 10000"/>
                  <a:gd name="connsiteX82" fmla="*/ 4145 w 10000"/>
                  <a:gd name="connsiteY82" fmla="*/ 1842 h 10000"/>
                  <a:gd name="connsiteX83" fmla="*/ 4340 w 10000"/>
                  <a:gd name="connsiteY83" fmla="*/ 2231 h 10000"/>
                  <a:gd name="connsiteX84" fmla="*/ 4534 w 10000"/>
                  <a:gd name="connsiteY84" fmla="*/ 2634 h 10000"/>
                  <a:gd name="connsiteX85" fmla="*/ 4708 w 10000"/>
                  <a:gd name="connsiteY85" fmla="*/ 3051 h 10000"/>
                  <a:gd name="connsiteX86" fmla="*/ 4893 w 10000"/>
                  <a:gd name="connsiteY86" fmla="*/ 3483 h 10000"/>
                  <a:gd name="connsiteX87" fmla="*/ 5056 w 10000"/>
                  <a:gd name="connsiteY87" fmla="*/ 3927 h 10000"/>
                  <a:gd name="connsiteX88" fmla="*/ 5363 w 10000"/>
                  <a:gd name="connsiteY88" fmla="*/ 4834 h 10000"/>
                  <a:gd name="connsiteX89" fmla="*/ 5967 w 10000"/>
                  <a:gd name="connsiteY89" fmla="*/ 6633 h 10000"/>
                  <a:gd name="connsiteX90" fmla="*/ 6254 w 10000"/>
                  <a:gd name="connsiteY90" fmla="*/ 7468 h 10000"/>
                  <a:gd name="connsiteX91" fmla="*/ 6407 w 10000"/>
                  <a:gd name="connsiteY91" fmla="*/ 7828 h 10000"/>
                  <a:gd name="connsiteX92" fmla="*/ 6551 w 10000"/>
                  <a:gd name="connsiteY92" fmla="*/ 8201 h 10000"/>
                  <a:gd name="connsiteX93" fmla="*/ 6714 w 10000"/>
                  <a:gd name="connsiteY93" fmla="*/ 8533 h 10000"/>
                  <a:gd name="connsiteX94" fmla="*/ 6868 w 10000"/>
                  <a:gd name="connsiteY94" fmla="*/ 8821 h 10000"/>
                  <a:gd name="connsiteX95" fmla="*/ 7021 w 10000"/>
                  <a:gd name="connsiteY95" fmla="*/ 9093 h 10000"/>
                  <a:gd name="connsiteX96" fmla="*/ 7195 w 10000"/>
                  <a:gd name="connsiteY96" fmla="*/ 9295 h 10000"/>
                  <a:gd name="connsiteX97" fmla="*/ 7288 w 10000"/>
                  <a:gd name="connsiteY97" fmla="*/ 9395 h 10000"/>
                  <a:gd name="connsiteX98" fmla="*/ 7369 w 10000"/>
                  <a:gd name="connsiteY98" fmla="*/ 9497 h 10000"/>
                  <a:gd name="connsiteX99" fmla="*/ 7462 w 10000"/>
                  <a:gd name="connsiteY99" fmla="*/ 9554 h 10000"/>
                  <a:gd name="connsiteX100" fmla="*/ 7554 w 10000"/>
                  <a:gd name="connsiteY100" fmla="*/ 9626 h 10000"/>
                  <a:gd name="connsiteX101" fmla="*/ 7646 w 10000"/>
                  <a:gd name="connsiteY101" fmla="*/ 9669 h 10000"/>
                  <a:gd name="connsiteX102" fmla="*/ 7748 w 10000"/>
                  <a:gd name="connsiteY102" fmla="*/ 9698 h 10000"/>
                  <a:gd name="connsiteX103" fmla="*/ 7851 w 10000"/>
                  <a:gd name="connsiteY103" fmla="*/ 9741 h 10000"/>
                  <a:gd name="connsiteX104" fmla="*/ 7943 w 10000"/>
                  <a:gd name="connsiteY104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491 w 10000"/>
                  <a:gd name="connsiteY64" fmla="*/ 1425 h 10000"/>
                  <a:gd name="connsiteX65" fmla="*/ 194 w 10000"/>
                  <a:gd name="connsiteY65" fmla="*/ 2101 h 10000"/>
                  <a:gd name="connsiteX66" fmla="*/ 0 w 10000"/>
                  <a:gd name="connsiteY66" fmla="*/ 2591 h 10000"/>
                  <a:gd name="connsiteX67" fmla="*/ 10 w 10000"/>
                  <a:gd name="connsiteY67" fmla="*/ 907 h 10000"/>
                  <a:gd name="connsiteX68" fmla="*/ 205 w 10000"/>
                  <a:gd name="connsiteY68" fmla="*/ 691 h 10000"/>
                  <a:gd name="connsiteX69" fmla="*/ 2272 w 10000"/>
                  <a:gd name="connsiteY69" fmla="*/ 0 h 10000"/>
                  <a:gd name="connsiteX70" fmla="*/ 2426 w 10000"/>
                  <a:gd name="connsiteY70" fmla="*/ 43 h 10000"/>
                  <a:gd name="connsiteX71" fmla="*/ 2569 w 10000"/>
                  <a:gd name="connsiteY71" fmla="*/ 115 h 10000"/>
                  <a:gd name="connsiteX72" fmla="*/ 2712 w 10000"/>
                  <a:gd name="connsiteY72" fmla="*/ 188 h 10000"/>
                  <a:gd name="connsiteX73" fmla="*/ 2845 w 10000"/>
                  <a:gd name="connsiteY73" fmla="*/ 274 h 10000"/>
                  <a:gd name="connsiteX74" fmla="*/ 2989 w 10000"/>
                  <a:gd name="connsiteY74" fmla="*/ 375 h 10000"/>
                  <a:gd name="connsiteX75" fmla="*/ 3112 w 10000"/>
                  <a:gd name="connsiteY75" fmla="*/ 461 h 10000"/>
                  <a:gd name="connsiteX76" fmla="*/ 3234 w 10000"/>
                  <a:gd name="connsiteY76" fmla="*/ 590 h 10000"/>
                  <a:gd name="connsiteX77" fmla="*/ 3367 w 10000"/>
                  <a:gd name="connsiteY77" fmla="*/ 720 h 10000"/>
                  <a:gd name="connsiteX78" fmla="*/ 3490 w 10000"/>
                  <a:gd name="connsiteY78" fmla="*/ 850 h 10000"/>
                  <a:gd name="connsiteX79" fmla="*/ 3726 w 10000"/>
                  <a:gd name="connsiteY79" fmla="*/ 1137 h 10000"/>
                  <a:gd name="connsiteX80" fmla="*/ 3941 w 10000"/>
                  <a:gd name="connsiteY80" fmla="*/ 1482 h 10000"/>
                  <a:gd name="connsiteX81" fmla="*/ 4145 w 10000"/>
                  <a:gd name="connsiteY81" fmla="*/ 1842 h 10000"/>
                  <a:gd name="connsiteX82" fmla="*/ 4340 w 10000"/>
                  <a:gd name="connsiteY82" fmla="*/ 2231 h 10000"/>
                  <a:gd name="connsiteX83" fmla="*/ 4534 w 10000"/>
                  <a:gd name="connsiteY83" fmla="*/ 2634 h 10000"/>
                  <a:gd name="connsiteX84" fmla="*/ 4708 w 10000"/>
                  <a:gd name="connsiteY84" fmla="*/ 3051 h 10000"/>
                  <a:gd name="connsiteX85" fmla="*/ 4893 w 10000"/>
                  <a:gd name="connsiteY85" fmla="*/ 3483 h 10000"/>
                  <a:gd name="connsiteX86" fmla="*/ 5056 w 10000"/>
                  <a:gd name="connsiteY86" fmla="*/ 3927 h 10000"/>
                  <a:gd name="connsiteX87" fmla="*/ 5363 w 10000"/>
                  <a:gd name="connsiteY87" fmla="*/ 4834 h 10000"/>
                  <a:gd name="connsiteX88" fmla="*/ 5967 w 10000"/>
                  <a:gd name="connsiteY88" fmla="*/ 6633 h 10000"/>
                  <a:gd name="connsiteX89" fmla="*/ 6254 w 10000"/>
                  <a:gd name="connsiteY89" fmla="*/ 7468 h 10000"/>
                  <a:gd name="connsiteX90" fmla="*/ 6407 w 10000"/>
                  <a:gd name="connsiteY90" fmla="*/ 7828 h 10000"/>
                  <a:gd name="connsiteX91" fmla="*/ 6551 w 10000"/>
                  <a:gd name="connsiteY91" fmla="*/ 8201 h 10000"/>
                  <a:gd name="connsiteX92" fmla="*/ 6714 w 10000"/>
                  <a:gd name="connsiteY92" fmla="*/ 8533 h 10000"/>
                  <a:gd name="connsiteX93" fmla="*/ 6868 w 10000"/>
                  <a:gd name="connsiteY93" fmla="*/ 8821 h 10000"/>
                  <a:gd name="connsiteX94" fmla="*/ 7021 w 10000"/>
                  <a:gd name="connsiteY94" fmla="*/ 9093 h 10000"/>
                  <a:gd name="connsiteX95" fmla="*/ 7195 w 10000"/>
                  <a:gd name="connsiteY95" fmla="*/ 9295 h 10000"/>
                  <a:gd name="connsiteX96" fmla="*/ 7288 w 10000"/>
                  <a:gd name="connsiteY96" fmla="*/ 9395 h 10000"/>
                  <a:gd name="connsiteX97" fmla="*/ 7369 w 10000"/>
                  <a:gd name="connsiteY97" fmla="*/ 9497 h 10000"/>
                  <a:gd name="connsiteX98" fmla="*/ 7462 w 10000"/>
                  <a:gd name="connsiteY98" fmla="*/ 9554 h 10000"/>
                  <a:gd name="connsiteX99" fmla="*/ 7554 w 10000"/>
                  <a:gd name="connsiteY99" fmla="*/ 9626 h 10000"/>
                  <a:gd name="connsiteX100" fmla="*/ 7646 w 10000"/>
                  <a:gd name="connsiteY100" fmla="*/ 9669 h 10000"/>
                  <a:gd name="connsiteX101" fmla="*/ 7748 w 10000"/>
                  <a:gd name="connsiteY101" fmla="*/ 9698 h 10000"/>
                  <a:gd name="connsiteX102" fmla="*/ 7851 w 10000"/>
                  <a:gd name="connsiteY102" fmla="*/ 9741 h 10000"/>
                  <a:gd name="connsiteX103" fmla="*/ 7943 w 10000"/>
                  <a:gd name="connsiteY103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94 w 10000"/>
                  <a:gd name="connsiteY64" fmla="*/ 2101 h 10000"/>
                  <a:gd name="connsiteX65" fmla="*/ 0 w 10000"/>
                  <a:gd name="connsiteY65" fmla="*/ 2591 h 10000"/>
                  <a:gd name="connsiteX66" fmla="*/ 10 w 10000"/>
                  <a:gd name="connsiteY66" fmla="*/ 907 h 10000"/>
                  <a:gd name="connsiteX67" fmla="*/ 205 w 10000"/>
                  <a:gd name="connsiteY67" fmla="*/ 691 h 10000"/>
                  <a:gd name="connsiteX68" fmla="*/ 2272 w 10000"/>
                  <a:gd name="connsiteY68" fmla="*/ 0 h 10000"/>
                  <a:gd name="connsiteX69" fmla="*/ 2426 w 10000"/>
                  <a:gd name="connsiteY69" fmla="*/ 43 h 10000"/>
                  <a:gd name="connsiteX70" fmla="*/ 2569 w 10000"/>
                  <a:gd name="connsiteY70" fmla="*/ 115 h 10000"/>
                  <a:gd name="connsiteX71" fmla="*/ 2712 w 10000"/>
                  <a:gd name="connsiteY71" fmla="*/ 188 h 10000"/>
                  <a:gd name="connsiteX72" fmla="*/ 2845 w 10000"/>
                  <a:gd name="connsiteY72" fmla="*/ 274 h 10000"/>
                  <a:gd name="connsiteX73" fmla="*/ 2989 w 10000"/>
                  <a:gd name="connsiteY73" fmla="*/ 375 h 10000"/>
                  <a:gd name="connsiteX74" fmla="*/ 3112 w 10000"/>
                  <a:gd name="connsiteY74" fmla="*/ 461 h 10000"/>
                  <a:gd name="connsiteX75" fmla="*/ 3234 w 10000"/>
                  <a:gd name="connsiteY75" fmla="*/ 590 h 10000"/>
                  <a:gd name="connsiteX76" fmla="*/ 3367 w 10000"/>
                  <a:gd name="connsiteY76" fmla="*/ 720 h 10000"/>
                  <a:gd name="connsiteX77" fmla="*/ 3490 w 10000"/>
                  <a:gd name="connsiteY77" fmla="*/ 850 h 10000"/>
                  <a:gd name="connsiteX78" fmla="*/ 3726 w 10000"/>
                  <a:gd name="connsiteY78" fmla="*/ 1137 h 10000"/>
                  <a:gd name="connsiteX79" fmla="*/ 3941 w 10000"/>
                  <a:gd name="connsiteY79" fmla="*/ 1482 h 10000"/>
                  <a:gd name="connsiteX80" fmla="*/ 4145 w 10000"/>
                  <a:gd name="connsiteY80" fmla="*/ 1842 h 10000"/>
                  <a:gd name="connsiteX81" fmla="*/ 4340 w 10000"/>
                  <a:gd name="connsiteY81" fmla="*/ 2231 h 10000"/>
                  <a:gd name="connsiteX82" fmla="*/ 4534 w 10000"/>
                  <a:gd name="connsiteY82" fmla="*/ 2634 h 10000"/>
                  <a:gd name="connsiteX83" fmla="*/ 4708 w 10000"/>
                  <a:gd name="connsiteY83" fmla="*/ 3051 h 10000"/>
                  <a:gd name="connsiteX84" fmla="*/ 4893 w 10000"/>
                  <a:gd name="connsiteY84" fmla="*/ 3483 h 10000"/>
                  <a:gd name="connsiteX85" fmla="*/ 5056 w 10000"/>
                  <a:gd name="connsiteY85" fmla="*/ 3927 h 10000"/>
                  <a:gd name="connsiteX86" fmla="*/ 5363 w 10000"/>
                  <a:gd name="connsiteY86" fmla="*/ 4834 h 10000"/>
                  <a:gd name="connsiteX87" fmla="*/ 5967 w 10000"/>
                  <a:gd name="connsiteY87" fmla="*/ 6633 h 10000"/>
                  <a:gd name="connsiteX88" fmla="*/ 6254 w 10000"/>
                  <a:gd name="connsiteY88" fmla="*/ 7468 h 10000"/>
                  <a:gd name="connsiteX89" fmla="*/ 6407 w 10000"/>
                  <a:gd name="connsiteY89" fmla="*/ 7828 h 10000"/>
                  <a:gd name="connsiteX90" fmla="*/ 6551 w 10000"/>
                  <a:gd name="connsiteY90" fmla="*/ 8201 h 10000"/>
                  <a:gd name="connsiteX91" fmla="*/ 6714 w 10000"/>
                  <a:gd name="connsiteY91" fmla="*/ 8533 h 10000"/>
                  <a:gd name="connsiteX92" fmla="*/ 6868 w 10000"/>
                  <a:gd name="connsiteY92" fmla="*/ 8821 h 10000"/>
                  <a:gd name="connsiteX93" fmla="*/ 7021 w 10000"/>
                  <a:gd name="connsiteY93" fmla="*/ 9093 h 10000"/>
                  <a:gd name="connsiteX94" fmla="*/ 7195 w 10000"/>
                  <a:gd name="connsiteY94" fmla="*/ 9295 h 10000"/>
                  <a:gd name="connsiteX95" fmla="*/ 7288 w 10000"/>
                  <a:gd name="connsiteY95" fmla="*/ 9395 h 10000"/>
                  <a:gd name="connsiteX96" fmla="*/ 7369 w 10000"/>
                  <a:gd name="connsiteY96" fmla="*/ 9497 h 10000"/>
                  <a:gd name="connsiteX97" fmla="*/ 7462 w 10000"/>
                  <a:gd name="connsiteY97" fmla="*/ 9554 h 10000"/>
                  <a:gd name="connsiteX98" fmla="*/ 7554 w 10000"/>
                  <a:gd name="connsiteY98" fmla="*/ 9626 h 10000"/>
                  <a:gd name="connsiteX99" fmla="*/ 7646 w 10000"/>
                  <a:gd name="connsiteY99" fmla="*/ 9669 h 10000"/>
                  <a:gd name="connsiteX100" fmla="*/ 7748 w 10000"/>
                  <a:gd name="connsiteY100" fmla="*/ 9698 h 10000"/>
                  <a:gd name="connsiteX101" fmla="*/ 7851 w 10000"/>
                  <a:gd name="connsiteY101" fmla="*/ 9741 h 10000"/>
                  <a:gd name="connsiteX102" fmla="*/ 7943 w 10000"/>
                  <a:gd name="connsiteY102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194 w 10000"/>
                  <a:gd name="connsiteY64" fmla="*/ 2101 h 10000"/>
                  <a:gd name="connsiteX65" fmla="*/ 0 w 10000"/>
                  <a:gd name="connsiteY65" fmla="*/ 2591 h 10000"/>
                  <a:gd name="connsiteX66" fmla="*/ 10 w 10000"/>
                  <a:gd name="connsiteY66" fmla="*/ 907 h 10000"/>
                  <a:gd name="connsiteX67" fmla="*/ 2272 w 10000"/>
                  <a:gd name="connsiteY67" fmla="*/ 0 h 10000"/>
                  <a:gd name="connsiteX68" fmla="*/ 2426 w 10000"/>
                  <a:gd name="connsiteY68" fmla="*/ 43 h 10000"/>
                  <a:gd name="connsiteX69" fmla="*/ 2569 w 10000"/>
                  <a:gd name="connsiteY69" fmla="*/ 115 h 10000"/>
                  <a:gd name="connsiteX70" fmla="*/ 2712 w 10000"/>
                  <a:gd name="connsiteY70" fmla="*/ 188 h 10000"/>
                  <a:gd name="connsiteX71" fmla="*/ 2845 w 10000"/>
                  <a:gd name="connsiteY71" fmla="*/ 274 h 10000"/>
                  <a:gd name="connsiteX72" fmla="*/ 2989 w 10000"/>
                  <a:gd name="connsiteY72" fmla="*/ 375 h 10000"/>
                  <a:gd name="connsiteX73" fmla="*/ 3112 w 10000"/>
                  <a:gd name="connsiteY73" fmla="*/ 461 h 10000"/>
                  <a:gd name="connsiteX74" fmla="*/ 3234 w 10000"/>
                  <a:gd name="connsiteY74" fmla="*/ 590 h 10000"/>
                  <a:gd name="connsiteX75" fmla="*/ 3367 w 10000"/>
                  <a:gd name="connsiteY75" fmla="*/ 720 h 10000"/>
                  <a:gd name="connsiteX76" fmla="*/ 3490 w 10000"/>
                  <a:gd name="connsiteY76" fmla="*/ 850 h 10000"/>
                  <a:gd name="connsiteX77" fmla="*/ 3726 w 10000"/>
                  <a:gd name="connsiteY77" fmla="*/ 1137 h 10000"/>
                  <a:gd name="connsiteX78" fmla="*/ 3941 w 10000"/>
                  <a:gd name="connsiteY78" fmla="*/ 1482 h 10000"/>
                  <a:gd name="connsiteX79" fmla="*/ 4145 w 10000"/>
                  <a:gd name="connsiteY79" fmla="*/ 1842 h 10000"/>
                  <a:gd name="connsiteX80" fmla="*/ 4340 w 10000"/>
                  <a:gd name="connsiteY80" fmla="*/ 2231 h 10000"/>
                  <a:gd name="connsiteX81" fmla="*/ 4534 w 10000"/>
                  <a:gd name="connsiteY81" fmla="*/ 2634 h 10000"/>
                  <a:gd name="connsiteX82" fmla="*/ 4708 w 10000"/>
                  <a:gd name="connsiteY82" fmla="*/ 3051 h 10000"/>
                  <a:gd name="connsiteX83" fmla="*/ 4893 w 10000"/>
                  <a:gd name="connsiteY83" fmla="*/ 3483 h 10000"/>
                  <a:gd name="connsiteX84" fmla="*/ 5056 w 10000"/>
                  <a:gd name="connsiteY84" fmla="*/ 3927 h 10000"/>
                  <a:gd name="connsiteX85" fmla="*/ 5363 w 10000"/>
                  <a:gd name="connsiteY85" fmla="*/ 4834 h 10000"/>
                  <a:gd name="connsiteX86" fmla="*/ 5967 w 10000"/>
                  <a:gd name="connsiteY86" fmla="*/ 6633 h 10000"/>
                  <a:gd name="connsiteX87" fmla="*/ 6254 w 10000"/>
                  <a:gd name="connsiteY87" fmla="*/ 7468 h 10000"/>
                  <a:gd name="connsiteX88" fmla="*/ 6407 w 10000"/>
                  <a:gd name="connsiteY88" fmla="*/ 7828 h 10000"/>
                  <a:gd name="connsiteX89" fmla="*/ 6551 w 10000"/>
                  <a:gd name="connsiteY89" fmla="*/ 8201 h 10000"/>
                  <a:gd name="connsiteX90" fmla="*/ 6714 w 10000"/>
                  <a:gd name="connsiteY90" fmla="*/ 8533 h 10000"/>
                  <a:gd name="connsiteX91" fmla="*/ 6868 w 10000"/>
                  <a:gd name="connsiteY91" fmla="*/ 8821 h 10000"/>
                  <a:gd name="connsiteX92" fmla="*/ 7021 w 10000"/>
                  <a:gd name="connsiteY92" fmla="*/ 9093 h 10000"/>
                  <a:gd name="connsiteX93" fmla="*/ 7195 w 10000"/>
                  <a:gd name="connsiteY93" fmla="*/ 9295 h 10000"/>
                  <a:gd name="connsiteX94" fmla="*/ 7288 w 10000"/>
                  <a:gd name="connsiteY94" fmla="*/ 9395 h 10000"/>
                  <a:gd name="connsiteX95" fmla="*/ 7369 w 10000"/>
                  <a:gd name="connsiteY95" fmla="*/ 9497 h 10000"/>
                  <a:gd name="connsiteX96" fmla="*/ 7462 w 10000"/>
                  <a:gd name="connsiteY96" fmla="*/ 9554 h 10000"/>
                  <a:gd name="connsiteX97" fmla="*/ 7554 w 10000"/>
                  <a:gd name="connsiteY97" fmla="*/ 9626 h 10000"/>
                  <a:gd name="connsiteX98" fmla="*/ 7646 w 10000"/>
                  <a:gd name="connsiteY98" fmla="*/ 9669 h 10000"/>
                  <a:gd name="connsiteX99" fmla="*/ 7748 w 10000"/>
                  <a:gd name="connsiteY99" fmla="*/ 9698 h 10000"/>
                  <a:gd name="connsiteX100" fmla="*/ 7851 w 10000"/>
                  <a:gd name="connsiteY100" fmla="*/ 9741 h 10000"/>
                  <a:gd name="connsiteX101" fmla="*/ 7943 w 10000"/>
                  <a:gd name="connsiteY101" fmla="*/ 9741 h 10000"/>
                  <a:gd name="connsiteX0" fmla="*/ 7943 w 10000"/>
                  <a:gd name="connsiteY0" fmla="*/ 9741 h 10000"/>
                  <a:gd name="connsiteX1" fmla="*/ 7943 w 10000"/>
                  <a:gd name="connsiteY1" fmla="*/ 9741 h 10000"/>
                  <a:gd name="connsiteX2" fmla="*/ 8076 w 10000"/>
                  <a:gd name="connsiteY2" fmla="*/ 9741 h 10000"/>
                  <a:gd name="connsiteX3" fmla="*/ 8178 w 10000"/>
                  <a:gd name="connsiteY3" fmla="*/ 9698 h 10000"/>
                  <a:gd name="connsiteX4" fmla="*/ 8291 w 10000"/>
                  <a:gd name="connsiteY4" fmla="*/ 9655 h 10000"/>
                  <a:gd name="connsiteX5" fmla="*/ 8403 w 10000"/>
                  <a:gd name="connsiteY5" fmla="*/ 9611 h 10000"/>
                  <a:gd name="connsiteX6" fmla="*/ 8506 w 10000"/>
                  <a:gd name="connsiteY6" fmla="*/ 9526 h 10000"/>
                  <a:gd name="connsiteX7" fmla="*/ 8608 w 10000"/>
                  <a:gd name="connsiteY7" fmla="*/ 9425 h 10000"/>
                  <a:gd name="connsiteX8" fmla="*/ 8700 w 10000"/>
                  <a:gd name="connsiteY8" fmla="*/ 9338 h 10000"/>
                  <a:gd name="connsiteX9" fmla="*/ 8802 w 10000"/>
                  <a:gd name="connsiteY9" fmla="*/ 9209 h 10000"/>
                  <a:gd name="connsiteX10" fmla="*/ 8915 w 10000"/>
                  <a:gd name="connsiteY10" fmla="*/ 9079 h 10000"/>
                  <a:gd name="connsiteX11" fmla="*/ 9007 w 10000"/>
                  <a:gd name="connsiteY11" fmla="*/ 8936 h 10000"/>
                  <a:gd name="connsiteX12" fmla="*/ 9191 w 10000"/>
                  <a:gd name="connsiteY12" fmla="*/ 8604 h 10000"/>
                  <a:gd name="connsiteX13" fmla="*/ 9376 w 10000"/>
                  <a:gd name="connsiteY13" fmla="*/ 8231 h 10000"/>
                  <a:gd name="connsiteX14" fmla="*/ 9539 w 10000"/>
                  <a:gd name="connsiteY14" fmla="*/ 7828 h 10000"/>
                  <a:gd name="connsiteX15" fmla="*/ 9775 w 10000"/>
                  <a:gd name="connsiteY15" fmla="*/ 8274 h 10000"/>
                  <a:gd name="connsiteX16" fmla="*/ 10000 w 10000"/>
                  <a:gd name="connsiteY16" fmla="*/ 8691 h 10000"/>
                  <a:gd name="connsiteX17" fmla="*/ 9785 w 10000"/>
                  <a:gd name="connsiteY17" fmla="*/ 8979 h 10000"/>
                  <a:gd name="connsiteX18" fmla="*/ 9570 w 10000"/>
                  <a:gd name="connsiteY18" fmla="*/ 9238 h 10000"/>
                  <a:gd name="connsiteX19" fmla="*/ 9324 w 10000"/>
                  <a:gd name="connsiteY19" fmla="*/ 9467 h 10000"/>
                  <a:gd name="connsiteX20" fmla="*/ 9212 w 10000"/>
                  <a:gd name="connsiteY20" fmla="*/ 9554 h 10000"/>
                  <a:gd name="connsiteX21" fmla="*/ 9079 w 10000"/>
                  <a:gd name="connsiteY21" fmla="*/ 9655 h 10000"/>
                  <a:gd name="connsiteX22" fmla="*/ 8946 w 10000"/>
                  <a:gd name="connsiteY22" fmla="*/ 9741 h 10000"/>
                  <a:gd name="connsiteX23" fmla="*/ 8823 w 10000"/>
                  <a:gd name="connsiteY23" fmla="*/ 9798 h 10000"/>
                  <a:gd name="connsiteX24" fmla="*/ 8680 w 10000"/>
                  <a:gd name="connsiteY24" fmla="*/ 9870 h 10000"/>
                  <a:gd name="connsiteX25" fmla="*/ 8547 w 10000"/>
                  <a:gd name="connsiteY25" fmla="*/ 9914 h 10000"/>
                  <a:gd name="connsiteX26" fmla="*/ 8403 w 10000"/>
                  <a:gd name="connsiteY26" fmla="*/ 9943 h 10000"/>
                  <a:gd name="connsiteX27" fmla="*/ 8260 w 10000"/>
                  <a:gd name="connsiteY27" fmla="*/ 9971 h 10000"/>
                  <a:gd name="connsiteX28" fmla="*/ 8106 w 10000"/>
                  <a:gd name="connsiteY28" fmla="*/ 10000 h 10000"/>
                  <a:gd name="connsiteX29" fmla="*/ 7943 w 10000"/>
                  <a:gd name="connsiteY29" fmla="*/ 10000 h 10000"/>
                  <a:gd name="connsiteX30" fmla="*/ 7779 w 10000"/>
                  <a:gd name="connsiteY30" fmla="*/ 10000 h 10000"/>
                  <a:gd name="connsiteX31" fmla="*/ 7625 w 10000"/>
                  <a:gd name="connsiteY31" fmla="*/ 9957 h 10000"/>
                  <a:gd name="connsiteX32" fmla="*/ 7462 w 10000"/>
                  <a:gd name="connsiteY32" fmla="*/ 9929 h 10000"/>
                  <a:gd name="connsiteX33" fmla="*/ 7308 w 10000"/>
                  <a:gd name="connsiteY33" fmla="*/ 9886 h 10000"/>
                  <a:gd name="connsiteX34" fmla="*/ 7165 w 10000"/>
                  <a:gd name="connsiteY34" fmla="*/ 9812 h 10000"/>
                  <a:gd name="connsiteX35" fmla="*/ 7021 w 10000"/>
                  <a:gd name="connsiteY35" fmla="*/ 9755 h 10000"/>
                  <a:gd name="connsiteX36" fmla="*/ 6888 w 10000"/>
                  <a:gd name="connsiteY36" fmla="*/ 9655 h 10000"/>
                  <a:gd name="connsiteX37" fmla="*/ 6745 w 10000"/>
                  <a:gd name="connsiteY37" fmla="*/ 9554 h 10000"/>
                  <a:gd name="connsiteX38" fmla="*/ 6622 w 10000"/>
                  <a:gd name="connsiteY38" fmla="*/ 9467 h 10000"/>
                  <a:gd name="connsiteX39" fmla="*/ 6479 w 10000"/>
                  <a:gd name="connsiteY39" fmla="*/ 9338 h 10000"/>
                  <a:gd name="connsiteX40" fmla="*/ 6366 w 10000"/>
                  <a:gd name="connsiteY40" fmla="*/ 9224 h 10000"/>
                  <a:gd name="connsiteX41" fmla="*/ 6244 w 10000"/>
                  <a:gd name="connsiteY41" fmla="*/ 9079 h 10000"/>
                  <a:gd name="connsiteX42" fmla="*/ 6008 w 10000"/>
                  <a:gd name="connsiteY42" fmla="*/ 8777 h 10000"/>
                  <a:gd name="connsiteX43" fmla="*/ 5793 w 10000"/>
                  <a:gd name="connsiteY43" fmla="*/ 8446 h 10000"/>
                  <a:gd name="connsiteX44" fmla="*/ 5589 w 10000"/>
                  <a:gd name="connsiteY44" fmla="*/ 8086 h 10000"/>
                  <a:gd name="connsiteX45" fmla="*/ 5394 w 10000"/>
                  <a:gd name="connsiteY45" fmla="*/ 7697 h 10000"/>
                  <a:gd name="connsiteX46" fmla="*/ 5200 w 10000"/>
                  <a:gd name="connsiteY46" fmla="*/ 7295 h 10000"/>
                  <a:gd name="connsiteX47" fmla="*/ 5026 w 10000"/>
                  <a:gd name="connsiteY47" fmla="*/ 6878 h 10000"/>
                  <a:gd name="connsiteX48" fmla="*/ 4852 w 10000"/>
                  <a:gd name="connsiteY48" fmla="*/ 6446 h 10000"/>
                  <a:gd name="connsiteX49" fmla="*/ 4688 w 10000"/>
                  <a:gd name="connsiteY49" fmla="*/ 6000 h 10000"/>
                  <a:gd name="connsiteX50" fmla="*/ 4371 w 10000"/>
                  <a:gd name="connsiteY50" fmla="*/ 5094 h 10000"/>
                  <a:gd name="connsiteX51" fmla="*/ 3777 w 10000"/>
                  <a:gd name="connsiteY51" fmla="*/ 3310 h 10000"/>
                  <a:gd name="connsiteX52" fmla="*/ 3644 w 10000"/>
                  <a:gd name="connsiteY52" fmla="*/ 2863 h 10000"/>
                  <a:gd name="connsiteX53" fmla="*/ 3490 w 10000"/>
                  <a:gd name="connsiteY53" fmla="*/ 2460 h 10000"/>
                  <a:gd name="connsiteX54" fmla="*/ 3347 w 10000"/>
                  <a:gd name="connsiteY54" fmla="*/ 2101 h 10000"/>
                  <a:gd name="connsiteX55" fmla="*/ 3193 w 10000"/>
                  <a:gd name="connsiteY55" fmla="*/ 1727 h 10000"/>
                  <a:gd name="connsiteX56" fmla="*/ 3040 w 10000"/>
                  <a:gd name="connsiteY56" fmla="*/ 1396 h 10000"/>
                  <a:gd name="connsiteX57" fmla="*/ 2886 w 10000"/>
                  <a:gd name="connsiteY57" fmla="*/ 1108 h 10000"/>
                  <a:gd name="connsiteX58" fmla="*/ 2723 w 10000"/>
                  <a:gd name="connsiteY58" fmla="*/ 836 h 10000"/>
                  <a:gd name="connsiteX59" fmla="*/ 2559 w 10000"/>
                  <a:gd name="connsiteY59" fmla="*/ 634 h 10000"/>
                  <a:gd name="connsiteX60" fmla="*/ 2467 w 10000"/>
                  <a:gd name="connsiteY60" fmla="*/ 533 h 10000"/>
                  <a:gd name="connsiteX61" fmla="*/ 2375 w 10000"/>
                  <a:gd name="connsiteY61" fmla="*/ 432 h 10000"/>
                  <a:gd name="connsiteX62" fmla="*/ 2282 w 10000"/>
                  <a:gd name="connsiteY62" fmla="*/ 375 h 10000"/>
                  <a:gd name="connsiteX63" fmla="*/ 2190 w 10000"/>
                  <a:gd name="connsiteY63" fmla="*/ 302 h 10000"/>
                  <a:gd name="connsiteX64" fmla="*/ 0 w 10000"/>
                  <a:gd name="connsiteY64" fmla="*/ 2591 h 10000"/>
                  <a:gd name="connsiteX65" fmla="*/ 10 w 10000"/>
                  <a:gd name="connsiteY65" fmla="*/ 907 h 10000"/>
                  <a:gd name="connsiteX66" fmla="*/ 2272 w 10000"/>
                  <a:gd name="connsiteY66" fmla="*/ 0 h 10000"/>
                  <a:gd name="connsiteX67" fmla="*/ 2426 w 10000"/>
                  <a:gd name="connsiteY67" fmla="*/ 43 h 10000"/>
                  <a:gd name="connsiteX68" fmla="*/ 2569 w 10000"/>
                  <a:gd name="connsiteY68" fmla="*/ 115 h 10000"/>
                  <a:gd name="connsiteX69" fmla="*/ 2712 w 10000"/>
                  <a:gd name="connsiteY69" fmla="*/ 188 h 10000"/>
                  <a:gd name="connsiteX70" fmla="*/ 2845 w 10000"/>
                  <a:gd name="connsiteY70" fmla="*/ 274 h 10000"/>
                  <a:gd name="connsiteX71" fmla="*/ 2989 w 10000"/>
                  <a:gd name="connsiteY71" fmla="*/ 375 h 10000"/>
                  <a:gd name="connsiteX72" fmla="*/ 3112 w 10000"/>
                  <a:gd name="connsiteY72" fmla="*/ 461 h 10000"/>
                  <a:gd name="connsiteX73" fmla="*/ 3234 w 10000"/>
                  <a:gd name="connsiteY73" fmla="*/ 590 h 10000"/>
                  <a:gd name="connsiteX74" fmla="*/ 3367 w 10000"/>
                  <a:gd name="connsiteY74" fmla="*/ 720 h 10000"/>
                  <a:gd name="connsiteX75" fmla="*/ 3490 w 10000"/>
                  <a:gd name="connsiteY75" fmla="*/ 850 h 10000"/>
                  <a:gd name="connsiteX76" fmla="*/ 3726 w 10000"/>
                  <a:gd name="connsiteY76" fmla="*/ 1137 h 10000"/>
                  <a:gd name="connsiteX77" fmla="*/ 3941 w 10000"/>
                  <a:gd name="connsiteY77" fmla="*/ 1482 h 10000"/>
                  <a:gd name="connsiteX78" fmla="*/ 4145 w 10000"/>
                  <a:gd name="connsiteY78" fmla="*/ 1842 h 10000"/>
                  <a:gd name="connsiteX79" fmla="*/ 4340 w 10000"/>
                  <a:gd name="connsiteY79" fmla="*/ 2231 h 10000"/>
                  <a:gd name="connsiteX80" fmla="*/ 4534 w 10000"/>
                  <a:gd name="connsiteY80" fmla="*/ 2634 h 10000"/>
                  <a:gd name="connsiteX81" fmla="*/ 4708 w 10000"/>
                  <a:gd name="connsiteY81" fmla="*/ 3051 h 10000"/>
                  <a:gd name="connsiteX82" fmla="*/ 4893 w 10000"/>
                  <a:gd name="connsiteY82" fmla="*/ 3483 h 10000"/>
                  <a:gd name="connsiteX83" fmla="*/ 5056 w 10000"/>
                  <a:gd name="connsiteY83" fmla="*/ 3927 h 10000"/>
                  <a:gd name="connsiteX84" fmla="*/ 5363 w 10000"/>
                  <a:gd name="connsiteY84" fmla="*/ 4834 h 10000"/>
                  <a:gd name="connsiteX85" fmla="*/ 5967 w 10000"/>
                  <a:gd name="connsiteY85" fmla="*/ 6633 h 10000"/>
                  <a:gd name="connsiteX86" fmla="*/ 6254 w 10000"/>
                  <a:gd name="connsiteY86" fmla="*/ 7468 h 10000"/>
                  <a:gd name="connsiteX87" fmla="*/ 6407 w 10000"/>
                  <a:gd name="connsiteY87" fmla="*/ 7828 h 10000"/>
                  <a:gd name="connsiteX88" fmla="*/ 6551 w 10000"/>
                  <a:gd name="connsiteY88" fmla="*/ 8201 h 10000"/>
                  <a:gd name="connsiteX89" fmla="*/ 6714 w 10000"/>
                  <a:gd name="connsiteY89" fmla="*/ 8533 h 10000"/>
                  <a:gd name="connsiteX90" fmla="*/ 6868 w 10000"/>
                  <a:gd name="connsiteY90" fmla="*/ 8821 h 10000"/>
                  <a:gd name="connsiteX91" fmla="*/ 7021 w 10000"/>
                  <a:gd name="connsiteY91" fmla="*/ 9093 h 10000"/>
                  <a:gd name="connsiteX92" fmla="*/ 7195 w 10000"/>
                  <a:gd name="connsiteY92" fmla="*/ 9295 h 10000"/>
                  <a:gd name="connsiteX93" fmla="*/ 7288 w 10000"/>
                  <a:gd name="connsiteY93" fmla="*/ 9395 h 10000"/>
                  <a:gd name="connsiteX94" fmla="*/ 7369 w 10000"/>
                  <a:gd name="connsiteY94" fmla="*/ 9497 h 10000"/>
                  <a:gd name="connsiteX95" fmla="*/ 7462 w 10000"/>
                  <a:gd name="connsiteY95" fmla="*/ 9554 h 10000"/>
                  <a:gd name="connsiteX96" fmla="*/ 7554 w 10000"/>
                  <a:gd name="connsiteY96" fmla="*/ 9626 h 10000"/>
                  <a:gd name="connsiteX97" fmla="*/ 7646 w 10000"/>
                  <a:gd name="connsiteY97" fmla="*/ 9669 h 10000"/>
                  <a:gd name="connsiteX98" fmla="*/ 7748 w 10000"/>
                  <a:gd name="connsiteY98" fmla="*/ 9698 h 10000"/>
                  <a:gd name="connsiteX99" fmla="*/ 7851 w 10000"/>
                  <a:gd name="connsiteY99" fmla="*/ 9741 h 10000"/>
                  <a:gd name="connsiteX100" fmla="*/ 7943 w 10000"/>
                  <a:gd name="connsiteY100" fmla="*/ 9741 h 10000"/>
                  <a:gd name="connsiteX0" fmla="*/ 7933 w 9990"/>
                  <a:gd name="connsiteY0" fmla="*/ 9741 h 10000"/>
                  <a:gd name="connsiteX1" fmla="*/ 7933 w 9990"/>
                  <a:gd name="connsiteY1" fmla="*/ 9741 h 10000"/>
                  <a:gd name="connsiteX2" fmla="*/ 8066 w 9990"/>
                  <a:gd name="connsiteY2" fmla="*/ 9741 h 10000"/>
                  <a:gd name="connsiteX3" fmla="*/ 8168 w 9990"/>
                  <a:gd name="connsiteY3" fmla="*/ 9698 h 10000"/>
                  <a:gd name="connsiteX4" fmla="*/ 8281 w 9990"/>
                  <a:gd name="connsiteY4" fmla="*/ 9655 h 10000"/>
                  <a:gd name="connsiteX5" fmla="*/ 8393 w 9990"/>
                  <a:gd name="connsiteY5" fmla="*/ 9611 h 10000"/>
                  <a:gd name="connsiteX6" fmla="*/ 8496 w 9990"/>
                  <a:gd name="connsiteY6" fmla="*/ 9526 h 10000"/>
                  <a:gd name="connsiteX7" fmla="*/ 8598 w 9990"/>
                  <a:gd name="connsiteY7" fmla="*/ 9425 h 10000"/>
                  <a:gd name="connsiteX8" fmla="*/ 8690 w 9990"/>
                  <a:gd name="connsiteY8" fmla="*/ 9338 h 10000"/>
                  <a:gd name="connsiteX9" fmla="*/ 8792 w 9990"/>
                  <a:gd name="connsiteY9" fmla="*/ 9209 h 10000"/>
                  <a:gd name="connsiteX10" fmla="*/ 8905 w 9990"/>
                  <a:gd name="connsiteY10" fmla="*/ 9079 h 10000"/>
                  <a:gd name="connsiteX11" fmla="*/ 8997 w 9990"/>
                  <a:gd name="connsiteY11" fmla="*/ 8936 h 10000"/>
                  <a:gd name="connsiteX12" fmla="*/ 9181 w 9990"/>
                  <a:gd name="connsiteY12" fmla="*/ 8604 h 10000"/>
                  <a:gd name="connsiteX13" fmla="*/ 9366 w 9990"/>
                  <a:gd name="connsiteY13" fmla="*/ 8231 h 10000"/>
                  <a:gd name="connsiteX14" fmla="*/ 9529 w 9990"/>
                  <a:gd name="connsiteY14" fmla="*/ 7828 h 10000"/>
                  <a:gd name="connsiteX15" fmla="*/ 9765 w 9990"/>
                  <a:gd name="connsiteY15" fmla="*/ 8274 h 10000"/>
                  <a:gd name="connsiteX16" fmla="*/ 9990 w 9990"/>
                  <a:gd name="connsiteY16" fmla="*/ 8691 h 10000"/>
                  <a:gd name="connsiteX17" fmla="*/ 9775 w 9990"/>
                  <a:gd name="connsiteY17" fmla="*/ 8979 h 10000"/>
                  <a:gd name="connsiteX18" fmla="*/ 9560 w 9990"/>
                  <a:gd name="connsiteY18" fmla="*/ 9238 h 10000"/>
                  <a:gd name="connsiteX19" fmla="*/ 9314 w 9990"/>
                  <a:gd name="connsiteY19" fmla="*/ 9467 h 10000"/>
                  <a:gd name="connsiteX20" fmla="*/ 9202 w 9990"/>
                  <a:gd name="connsiteY20" fmla="*/ 9554 h 10000"/>
                  <a:gd name="connsiteX21" fmla="*/ 9069 w 9990"/>
                  <a:gd name="connsiteY21" fmla="*/ 9655 h 10000"/>
                  <a:gd name="connsiteX22" fmla="*/ 8936 w 9990"/>
                  <a:gd name="connsiteY22" fmla="*/ 9741 h 10000"/>
                  <a:gd name="connsiteX23" fmla="*/ 8813 w 9990"/>
                  <a:gd name="connsiteY23" fmla="*/ 9798 h 10000"/>
                  <a:gd name="connsiteX24" fmla="*/ 8670 w 9990"/>
                  <a:gd name="connsiteY24" fmla="*/ 9870 h 10000"/>
                  <a:gd name="connsiteX25" fmla="*/ 8537 w 9990"/>
                  <a:gd name="connsiteY25" fmla="*/ 9914 h 10000"/>
                  <a:gd name="connsiteX26" fmla="*/ 8393 w 9990"/>
                  <a:gd name="connsiteY26" fmla="*/ 9943 h 10000"/>
                  <a:gd name="connsiteX27" fmla="*/ 8250 w 9990"/>
                  <a:gd name="connsiteY27" fmla="*/ 9971 h 10000"/>
                  <a:gd name="connsiteX28" fmla="*/ 8096 w 9990"/>
                  <a:gd name="connsiteY28" fmla="*/ 10000 h 10000"/>
                  <a:gd name="connsiteX29" fmla="*/ 7933 w 9990"/>
                  <a:gd name="connsiteY29" fmla="*/ 10000 h 10000"/>
                  <a:gd name="connsiteX30" fmla="*/ 7769 w 9990"/>
                  <a:gd name="connsiteY30" fmla="*/ 10000 h 10000"/>
                  <a:gd name="connsiteX31" fmla="*/ 7615 w 9990"/>
                  <a:gd name="connsiteY31" fmla="*/ 9957 h 10000"/>
                  <a:gd name="connsiteX32" fmla="*/ 7452 w 9990"/>
                  <a:gd name="connsiteY32" fmla="*/ 9929 h 10000"/>
                  <a:gd name="connsiteX33" fmla="*/ 7298 w 9990"/>
                  <a:gd name="connsiteY33" fmla="*/ 9886 h 10000"/>
                  <a:gd name="connsiteX34" fmla="*/ 7155 w 9990"/>
                  <a:gd name="connsiteY34" fmla="*/ 9812 h 10000"/>
                  <a:gd name="connsiteX35" fmla="*/ 7011 w 9990"/>
                  <a:gd name="connsiteY35" fmla="*/ 9755 h 10000"/>
                  <a:gd name="connsiteX36" fmla="*/ 6878 w 9990"/>
                  <a:gd name="connsiteY36" fmla="*/ 9655 h 10000"/>
                  <a:gd name="connsiteX37" fmla="*/ 6735 w 9990"/>
                  <a:gd name="connsiteY37" fmla="*/ 9554 h 10000"/>
                  <a:gd name="connsiteX38" fmla="*/ 6612 w 9990"/>
                  <a:gd name="connsiteY38" fmla="*/ 9467 h 10000"/>
                  <a:gd name="connsiteX39" fmla="*/ 6469 w 9990"/>
                  <a:gd name="connsiteY39" fmla="*/ 9338 h 10000"/>
                  <a:gd name="connsiteX40" fmla="*/ 6356 w 9990"/>
                  <a:gd name="connsiteY40" fmla="*/ 9224 h 10000"/>
                  <a:gd name="connsiteX41" fmla="*/ 6234 w 9990"/>
                  <a:gd name="connsiteY41" fmla="*/ 9079 h 10000"/>
                  <a:gd name="connsiteX42" fmla="*/ 5998 w 9990"/>
                  <a:gd name="connsiteY42" fmla="*/ 8777 h 10000"/>
                  <a:gd name="connsiteX43" fmla="*/ 5783 w 9990"/>
                  <a:gd name="connsiteY43" fmla="*/ 8446 h 10000"/>
                  <a:gd name="connsiteX44" fmla="*/ 5579 w 9990"/>
                  <a:gd name="connsiteY44" fmla="*/ 8086 h 10000"/>
                  <a:gd name="connsiteX45" fmla="*/ 5384 w 9990"/>
                  <a:gd name="connsiteY45" fmla="*/ 7697 h 10000"/>
                  <a:gd name="connsiteX46" fmla="*/ 5190 w 9990"/>
                  <a:gd name="connsiteY46" fmla="*/ 7295 h 10000"/>
                  <a:gd name="connsiteX47" fmla="*/ 5016 w 9990"/>
                  <a:gd name="connsiteY47" fmla="*/ 6878 h 10000"/>
                  <a:gd name="connsiteX48" fmla="*/ 4842 w 9990"/>
                  <a:gd name="connsiteY48" fmla="*/ 6446 h 10000"/>
                  <a:gd name="connsiteX49" fmla="*/ 4678 w 9990"/>
                  <a:gd name="connsiteY49" fmla="*/ 6000 h 10000"/>
                  <a:gd name="connsiteX50" fmla="*/ 4361 w 9990"/>
                  <a:gd name="connsiteY50" fmla="*/ 5094 h 10000"/>
                  <a:gd name="connsiteX51" fmla="*/ 3767 w 9990"/>
                  <a:gd name="connsiteY51" fmla="*/ 3310 h 10000"/>
                  <a:gd name="connsiteX52" fmla="*/ 3634 w 9990"/>
                  <a:gd name="connsiteY52" fmla="*/ 2863 h 10000"/>
                  <a:gd name="connsiteX53" fmla="*/ 3480 w 9990"/>
                  <a:gd name="connsiteY53" fmla="*/ 2460 h 10000"/>
                  <a:gd name="connsiteX54" fmla="*/ 3337 w 9990"/>
                  <a:gd name="connsiteY54" fmla="*/ 2101 h 10000"/>
                  <a:gd name="connsiteX55" fmla="*/ 3183 w 9990"/>
                  <a:gd name="connsiteY55" fmla="*/ 1727 h 10000"/>
                  <a:gd name="connsiteX56" fmla="*/ 3030 w 9990"/>
                  <a:gd name="connsiteY56" fmla="*/ 1396 h 10000"/>
                  <a:gd name="connsiteX57" fmla="*/ 2876 w 9990"/>
                  <a:gd name="connsiteY57" fmla="*/ 1108 h 10000"/>
                  <a:gd name="connsiteX58" fmla="*/ 2713 w 9990"/>
                  <a:gd name="connsiteY58" fmla="*/ 836 h 10000"/>
                  <a:gd name="connsiteX59" fmla="*/ 2549 w 9990"/>
                  <a:gd name="connsiteY59" fmla="*/ 634 h 10000"/>
                  <a:gd name="connsiteX60" fmla="*/ 2457 w 9990"/>
                  <a:gd name="connsiteY60" fmla="*/ 533 h 10000"/>
                  <a:gd name="connsiteX61" fmla="*/ 2365 w 9990"/>
                  <a:gd name="connsiteY61" fmla="*/ 432 h 10000"/>
                  <a:gd name="connsiteX62" fmla="*/ 2272 w 9990"/>
                  <a:gd name="connsiteY62" fmla="*/ 375 h 10000"/>
                  <a:gd name="connsiteX63" fmla="*/ 2180 w 9990"/>
                  <a:gd name="connsiteY63" fmla="*/ 302 h 10000"/>
                  <a:gd name="connsiteX64" fmla="*/ 0 w 9990"/>
                  <a:gd name="connsiteY64" fmla="*/ 907 h 10000"/>
                  <a:gd name="connsiteX65" fmla="*/ 2262 w 9990"/>
                  <a:gd name="connsiteY65" fmla="*/ 0 h 10000"/>
                  <a:gd name="connsiteX66" fmla="*/ 2416 w 9990"/>
                  <a:gd name="connsiteY66" fmla="*/ 43 h 10000"/>
                  <a:gd name="connsiteX67" fmla="*/ 2559 w 9990"/>
                  <a:gd name="connsiteY67" fmla="*/ 115 h 10000"/>
                  <a:gd name="connsiteX68" fmla="*/ 2702 w 9990"/>
                  <a:gd name="connsiteY68" fmla="*/ 188 h 10000"/>
                  <a:gd name="connsiteX69" fmla="*/ 2835 w 9990"/>
                  <a:gd name="connsiteY69" fmla="*/ 274 h 10000"/>
                  <a:gd name="connsiteX70" fmla="*/ 2979 w 9990"/>
                  <a:gd name="connsiteY70" fmla="*/ 375 h 10000"/>
                  <a:gd name="connsiteX71" fmla="*/ 3102 w 9990"/>
                  <a:gd name="connsiteY71" fmla="*/ 461 h 10000"/>
                  <a:gd name="connsiteX72" fmla="*/ 3224 w 9990"/>
                  <a:gd name="connsiteY72" fmla="*/ 590 h 10000"/>
                  <a:gd name="connsiteX73" fmla="*/ 3357 w 9990"/>
                  <a:gd name="connsiteY73" fmla="*/ 720 h 10000"/>
                  <a:gd name="connsiteX74" fmla="*/ 3480 w 9990"/>
                  <a:gd name="connsiteY74" fmla="*/ 850 h 10000"/>
                  <a:gd name="connsiteX75" fmla="*/ 3716 w 9990"/>
                  <a:gd name="connsiteY75" fmla="*/ 1137 h 10000"/>
                  <a:gd name="connsiteX76" fmla="*/ 3931 w 9990"/>
                  <a:gd name="connsiteY76" fmla="*/ 1482 h 10000"/>
                  <a:gd name="connsiteX77" fmla="*/ 4135 w 9990"/>
                  <a:gd name="connsiteY77" fmla="*/ 1842 h 10000"/>
                  <a:gd name="connsiteX78" fmla="*/ 4330 w 9990"/>
                  <a:gd name="connsiteY78" fmla="*/ 2231 h 10000"/>
                  <a:gd name="connsiteX79" fmla="*/ 4524 w 9990"/>
                  <a:gd name="connsiteY79" fmla="*/ 2634 h 10000"/>
                  <a:gd name="connsiteX80" fmla="*/ 4698 w 9990"/>
                  <a:gd name="connsiteY80" fmla="*/ 3051 h 10000"/>
                  <a:gd name="connsiteX81" fmla="*/ 4883 w 9990"/>
                  <a:gd name="connsiteY81" fmla="*/ 3483 h 10000"/>
                  <a:gd name="connsiteX82" fmla="*/ 5046 w 9990"/>
                  <a:gd name="connsiteY82" fmla="*/ 3927 h 10000"/>
                  <a:gd name="connsiteX83" fmla="*/ 5353 w 9990"/>
                  <a:gd name="connsiteY83" fmla="*/ 4834 h 10000"/>
                  <a:gd name="connsiteX84" fmla="*/ 5957 w 9990"/>
                  <a:gd name="connsiteY84" fmla="*/ 6633 h 10000"/>
                  <a:gd name="connsiteX85" fmla="*/ 6244 w 9990"/>
                  <a:gd name="connsiteY85" fmla="*/ 7468 h 10000"/>
                  <a:gd name="connsiteX86" fmla="*/ 6397 w 9990"/>
                  <a:gd name="connsiteY86" fmla="*/ 7828 h 10000"/>
                  <a:gd name="connsiteX87" fmla="*/ 6541 w 9990"/>
                  <a:gd name="connsiteY87" fmla="*/ 8201 h 10000"/>
                  <a:gd name="connsiteX88" fmla="*/ 6704 w 9990"/>
                  <a:gd name="connsiteY88" fmla="*/ 8533 h 10000"/>
                  <a:gd name="connsiteX89" fmla="*/ 6858 w 9990"/>
                  <a:gd name="connsiteY89" fmla="*/ 8821 h 10000"/>
                  <a:gd name="connsiteX90" fmla="*/ 7011 w 9990"/>
                  <a:gd name="connsiteY90" fmla="*/ 9093 h 10000"/>
                  <a:gd name="connsiteX91" fmla="*/ 7185 w 9990"/>
                  <a:gd name="connsiteY91" fmla="*/ 9295 h 10000"/>
                  <a:gd name="connsiteX92" fmla="*/ 7278 w 9990"/>
                  <a:gd name="connsiteY92" fmla="*/ 9395 h 10000"/>
                  <a:gd name="connsiteX93" fmla="*/ 7359 w 9990"/>
                  <a:gd name="connsiteY93" fmla="*/ 9497 h 10000"/>
                  <a:gd name="connsiteX94" fmla="*/ 7452 w 9990"/>
                  <a:gd name="connsiteY94" fmla="*/ 9554 h 10000"/>
                  <a:gd name="connsiteX95" fmla="*/ 7544 w 9990"/>
                  <a:gd name="connsiteY95" fmla="*/ 9626 h 10000"/>
                  <a:gd name="connsiteX96" fmla="*/ 7636 w 9990"/>
                  <a:gd name="connsiteY96" fmla="*/ 9669 h 10000"/>
                  <a:gd name="connsiteX97" fmla="*/ 7738 w 9990"/>
                  <a:gd name="connsiteY97" fmla="*/ 9698 h 10000"/>
                  <a:gd name="connsiteX98" fmla="*/ 7841 w 9990"/>
                  <a:gd name="connsiteY98" fmla="*/ 9741 h 10000"/>
                  <a:gd name="connsiteX99" fmla="*/ 7933 w 9990"/>
                  <a:gd name="connsiteY99" fmla="*/ 9741 h 10000"/>
                  <a:gd name="connsiteX0" fmla="*/ 5759 w 7818"/>
                  <a:gd name="connsiteY0" fmla="*/ 9741 h 10000"/>
                  <a:gd name="connsiteX1" fmla="*/ 5759 w 7818"/>
                  <a:gd name="connsiteY1" fmla="*/ 9741 h 10000"/>
                  <a:gd name="connsiteX2" fmla="*/ 5892 w 7818"/>
                  <a:gd name="connsiteY2" fmla="*/ 9741 h 10000"/>
                  <a:gd name="connsiteX3" fmla="*/ 5994 w 7818"/>
                  <a:gd name="connsiteY3" fmla="*/ 9698 h 10000"/>
                  <a:gd name="connsiteX4" fmla="*/ 6107 w 7818"/>
                  <a:gd name="connsiteY4" fmla="*/ 9655 h 10000"/>
                  <a:gd name="connsiteX5" fmla="*/ 6219 w 7818"/>
                  <a:gd name="connsiteY5" fmla="*/ 9611 h 10000"/>
                  <a:gd name="connsiteX6" fmla="*/ 6323 w 7818"/>
                  <a:gd name="connsiteY6" fmla="*/ 9526 h 10000"/>
                  <a:gd name="connsiteX7" fmla="*/ 6425 w 7818"/>
                  <a:gd name="connsiteY7" fmla="*/ 9425 h 10000"/>
                  <a:gd name="connsiteX8" fmla="*/ 6517 w 7818"/>
                  <a:gd name="connsiteY8" fmla="*/ 9338 h 10000"/>
                  <a:gd name="connsiteX9" fmla="*/ 6619 w 7818"/>
                  <a:gd name="connsiteY9" fmla="*/ 9209 h 10000"/>
                  <a:gd name="connsiteX10" fmla="*/ 6732 w 7818"/>
                  <a:gd name="connsiteY10" fmla="*/ 9079 h 10000"/>
                  <a:gd name="connsiteX11" fmla="*/ 6824 w 7818"/>
                  <a:gd name="connsiteY11" fmla="*/ 8936 h 10000"/>
                  <a:gd name="connsiteX12" fmla="*/ 7008 w 7818"/>
                  <a:gd name="connsiteY12" fmla="*/ 8604 h 10000"/>
                  <a:gd name="connsiteX13" fmla="*/ 7193 w 7818"/>
                  <a:gd name="connsiteY13" fmla="*/ 8231 h 10000"/>
                  <a:gd name="connsiteX14" fmla="*/ 7357 w 7818"/>
                  <a:gd name="connsiteY14" fmla="*/ 7828 h 10000"/>
                  <a:gd name="connsiteX15" fmla="*/ 7593 w 7818"/>
                  <a:gd name="connsiteY15" fmla="*/ 8274 h 10000"/>
                  <a:gd name="connsiteX16" fmla="*/ 7818 w 7818"/>
                  <a:gd name="connsiteY16" fmla="*/ 8691 h 10000"/>
                  <a:gd name="connsiteX17" fmla="*/ 7603 w 7818"/>
                  <a:gd name="connsiteY17" fmla="*/ 8979 h 10000"/>
                  <a:gd name="connsiteX18" fmla="*/ 7388 w 7818"/>
                  <a:gd name="connsiteY18" fmla="*/ 9238 h 10000"/>
                  <a:gd name="connsiteX19" fmla="*/ 7141 w 7818"/>
                  <a:gd name="connsiteY19" fmla="*/ 9467 h 10000"/>
                  <a:gd name="connsiteX20" fmla="*/ 7029 w 7818"/>
                  <a:gd name="connsiteY20" fmla="*/ 9554 h 10000"/>
                  <a:gd name="connsiteX21" fmla="*/ 6896 w 7818"/>
                  <a:gd name="connsiteY21" fmla="*/ 9655 h 10000"/>
                  <a:gd name="connsiteX22" fmla="*/ 6763 w 7818"/>
                  <a:gd name="connsiteY22" fmla="*/ 9741 h 10000"/>
                  <a:gd name="connsiteX23" fmla="*/ 6640 w 7818"/>
                  <a:gd name="connsiteY23" fmla="*/ 9798 h 10000"/>
                  <a:gd name="connsiteX24" fmla="*/ 6497 w 7818"/>
                  <a:gd name="connsiteY24" fmla="*/ 9870 h 10000"/>
                  <a:gd name="connsiteX25" fmla="*/ 6364 w 7818"/>
                  <a:gd name="connsiteY25" fmla="*/ 9914 h 10000"/>
                  <a:gd name="connsiteX26" fmla="*/ 6219 w 7818"/>
                  <a:gd name="connsiteY26" fmla="*/ 9943 h 10000"/>
                  <a:gd name="connsiteX27" fmla="*/ 6076 w 7818"/>
                  <a:gd name="connsiteY27" fmla="*/ 9971 h 10000"/>
                  <a:gd name="connsiteX28" fmla="*/ 5922 w 7818"/>
                  <a:gd name="connsiteY28" fmla="*/ 10000 h 10000"/>
                  <a:gd name="connsiteX29" fmla="*/ 5759 w 7818"/>
                  <a:gd name="connsiteY29" fmla="*/ 10000 h 10000"/>
                  <a:gd name="connsiteX30" fmla="*/ 5595 w 7818"/>
                  <a:gd name="connsiteY30" fmla="*/ 10000 h 10000"/>
                  <a:gd name="connsiteX31" fmla="*/ 5441 w 7818"/>
                  <a:gd name="connsiteY31" fmla="*/ 9957 h 10000"/>
                  <a:gd name="connsiteX32" fmla="*/ 5277 w 7818"/>
                  <a:gd name="connsiteY32" fmla="*/ 9929 h 10000"/>
                  <a:gd name="connsiteX33" fmla="*/ 5123 w 7818"/>
                  <a:gd name="connsiteY33" fmla="*/ 9886 h 10000"/>
                  <a:gd name="connsiteX34" fmla="*/ 4980 w 7818"/>
                  <a:gd name="connsiteY34" fmla="*/ 9812 h 10000"/>
                  <a:gd name="connsiteX35" fmla="*/ 4836 w 7818"/>
                  <a:gd name="connsiteY35" fmla="*/ 9755 h 10000"/>
                  <a:gd name="connsiteX36" fmla="*/ 4703 w 7818"/>
                  <a:gd name="connsiteY36" fmla="*/ 9655 h 10000"/>
                  <a:gd name="connsiteX37" fmla="*/ 4560 w 7818"/>
                  <a:gd name="connsiteY37" fmla="*/ 9554 h 10000"/>
                  <a:gd name="connsiteX38" fmla="*/ 4437 w 7818"/>
                  <a:gd name="connsiteY38" fmla="*/ 9467 h 10000"/>
                  <a:gd name="connsiteX39" fmla="*/ 4293 w 7818"/>
                  <a:gd name="connsiteY39" fmla="*/ 9338 h 10000"/>
                  <a:gd name="connsiteX40" fmla="*/ 4180 w 7818"/>
                  <a:gd name="connsiteY40" fmla="*/ 9224 h 10000"/>
                  <a:gd name="connsiteX41" fmla="*/ 4058 w 7818"/>
                  <a:gd name="connsiteY41" fmla="*/ 9079 h 10000"/>
                  <a:gd name="connsiteX42" fmla="*/ 3822 w 7818"/>
                  <a:gd name="connsiteY42" fmla="*/ 8777 h 10000"/>
                  <a:gd name="connsiteX43" fmla="*/ 3607 w 7818"/>
                  <a:gd name="connsiteY43" fmla="*/ 8446 h 10000"/>
                  <a:gd name="connsiteX44" fmla="*/ 3403 w 7818"/>
                  <a:gd name="connsiteY44" fmla="*/ 8086 h 10000"/>
                  <a:gd name="connsiteX45" fmla="*/ 3207 w 7818"/>
                  <a:gd name="connsiteY45" fmla="*/ 7697 h 10000"/>
                  <a:gd name="connsiteX46" fmla="*/ 3013 w 7818"/>
                  <a:gd name="connsiteY46" fmla="*/ 7295 h 10000"/>
                  <a:gd name="connsiteX47" fmla="*/ 2839 w 7818"/>
                  <a:gd name="connsiteY47" fmla="*/ 6878 h 10000"/>
                  <a:gd name="connsiteX48" fmla="*/ 2665 w 7818"/>
                  <a:gd name="connsiteY48" fmla="*/ 6446 h 10000"/>
                  <a:gd name="connsiteX49" fmla="*/ 2501 w 7818"/>
                  <a:gd name="connsiteY49" fmla="*/ 6000 h 10000"/>
                  <a:gd name="connsiteX50" fmla="*/ 2183 w 7818"/>
                  <a:gd name="connsiteY50" fmla="*/ 5094 h 10000"/>
                  <a:gd name="connsiteX51" fmla="*/ 1589 w 7818"/>
                  <a:gd name="connsiteY51" fmla="*/ 3310 h 10000"/>
                  <a:gd name="connsiteX52" fmla="*/ 1456 w 7818"/>
                  <a:gd name="connsiteY52" fmla="*/ 2863 h 10000"/>
                  <a:gd name="connsiteX53" fmla="*/ 1301 w 7818"/>
                  <a:gd name="connsiteY53" fmla="*/ 2460 h 10000"/>
                  <a:gd name="connsiteX54" fmla="*/ 1158 w 7818"/>
                  <a:gd name="connsiteY54" fmla="*/ 2101 h 10000"/>
                  <a:gd name="connsiteX55" fmla="*/ 1004 w 7818"/>
                  <a:gd name="connsiteY55" fmla="*/ 1727 h 10000"/>
                  <a:gd name="connsiteX56" fmla="*/ 851 w 7818"/>
                  <a:gd name="connsiteY56" fmla="*/ 1396 h 10000"/>
                  <a:gd name="connsiteX57" fmla="*/ 697 w 7818"/>
                  <a:gd name="connsiteY57" fmla="*/ 1108 h 10000"/>
                  <a:gd name="connsiteX58" fmla="*/ 534 w 7818"/>
                  <a:gd name="connsiteY58" fmla="*/ 836 h 10000"/>
                  <a:gd name="connsiteX59" fmla="*/ 370 w 7818"/>
                  <a:gd name="connsiteY59" fmla="*/ 634 h 10000"/>
                  <a:gd name="connsiteX60" fmla="*/ 277 w 7818"/>
                  <a:gd name="connsiteY60" fmla="*/ 533 h 10000"/>
                  <a:gd name="connsiteX61" fmla="*/ 185 w 7818"/>
                  <a:gd name="connsiteY61" fmla="*/ 432 h 10000"/>
                  <a:gd name="connsiteX62" fmla="*/ 92 w 7818"/>
                  <a:gd name="connsiteY62" fmla="*/ 375 h 10000"/>
                  <a:gd name="connsiteX63" fmla="*/ 0 w 7818"/>
                  <a:gd name="connsiteY63" fmla="*/ 302 h 10000"/>
                  <a:gd name="connsiteX64" fmla="*/ 82 w 7818"/>
                  <a:gd name="connsiteY64" fmla="*/ 0 h 10000"/>
                  <a:gd name="connsiteX65" fmla="*/ 236 w 7818"/>
                  <a:gd name="connsiteY65" fmla="*/ 43 h 10000"/>
                  <a:gd name="connsiteX66" fmla="*/ 380 w 7818"/>
                  <a:gd name="connsiteY66" fmla="*/ 115 h 10000"/>
                  <a:gd name="connsiteX67" fmla="*/ 523 w 7818"/>
                  <a:gd name="connsiteY67" fmla="*/ 188 h 10000"/>
                  <a:gd name="connsiteX68" fmla="*/ 656 w 7818"/>
                  <a:gd name="connsiteY68" fmla="*/ 274 h 10000"/>
                  <a:gd name="connsiteX69" fmla="*/ 800 w 7818"/>
                  <a:gd name="connsiteY69" fmla="*/ 375 h 10000"/>
                  <a:gd name="connsiteX70" fmla="*/ 923 w 7818"/>
                  <a:gd name="connsiteY70" fmla="*/ 461 h 10000"/>
                  <a:gd name="connsiteX71" fmla="*/ 1045 w 7818"/>
                  <a:gd name="connsiteY71" fmla="*/ 590 h 10000"/>
                  <a:gd name="connsiteX72" fmla="*/ 1178 w 7818"/>
                  <a:gd name="connsiteY72" fmla="*/ 720 h 10000"/>
                  <a:gd name="connsiteX73" fmla="*/ 1301 w 7818"/>
                  <a:gd name="connsiteY73" fmla="*/ 850 h 10000"/>
                  <a:gd name="connsiteX74" fmla="*/ 1538 w 7818"/>
                  <a:gd name="connsiteY74" fmla="*/ 1137 h 10000"/>
                  <a:gd name="connsiteX75" fmla="*/ 1753 w 7818"/>
                  <a:gd name="connsiteY75" fmla="*/ 1482 h 10000"/>
                  <a:gd name="connsiteX76" fmla="*/ 1957 w 7818"/>
                  <a:gd name="connsiteY76" fmla="*/ 1842 h 10000"/>
                  <a:gd name="connsiteX77" fmla="*/ 2152 w 7818"/>
                  <a:gd name="connsiteY77" fmla="*/ 2231 h 10000"/>
                  <a:gd name="connsiteX78" fmla="*/ 2347 w 7818"/>
                  <a:gd name="connsiteY78" fmla="*/ 2634 h 10000"/>
                  <a:gd name="connsiteX79" fmla="*/ 2521 w 7818"/>
                  <a:gd name="connsiteY79" fmla="*/ 3051 h 10000"/>
                  <a:gd name="connsiteX80" fmla="*/ 2706 w 7818"/>
                  <a:gd name="connsiteY80" fmla="*/ 3483 h 10000"/>
                  <a:gd name="connsiteX81" fmla="*/ 2869 w 7818"/>
                  <a:gd name="connsiteY81" fmla="*/ 3927 h 10000"/>
                  <a:gd name="connsiteX82" fmla="*/ 3176 w 7818"/>
                  <a:gd name="connsiteY82" fmla="*/ 4834 h 10000"/>
                  <a:gd name="connsiteX83" fmla="*/ 3781 w 7818"/>
                  <a:gd name="connsiteY83" fmla="*/ 6633 h 10000"/>
                  <a:gd name="connsiteX84" fmla="*/ 4068 w 7818"/>
                  <a:gd name="connsiteY84" fmla="*/ 7468 h 10000"/>
                  <a:gd name="connsiteX85" fmla="*/ 4221 w 7818"/>
                  <a:gd name="connsiteY85" fmla="*/ 7828 h 10000"/>
                  <a:gd name="connsiteX86" fmla="*/ 4366 w 7818"/>
                  <a:gd name="connsiteY86" fmla="*/ 8201 h 10000"/>
                  <a:gd name="connsiteX87" fmla="*/ 4529 w 7818"/>
                  <a:gd name="connsiteY87" fmla="*/ 8533 h 10000"/>
                  <a:gd name="connsiteX88" fmla="*/ 4683 w 7818"/>
                  <a:gd name="connsiteY88" fmla="*/ 8821 h 10000"/>
                  <a:gd name="connsiteX89" fmla="*/ 4836 w 7818"/>
                  <a:gd name="connsiteY89" fmla="*/ 9093 h 10000"/>
                  <a:gd name="connsiteX90" fmla="*/ 5010 w 7818"/>
                  <a:gd name="connsiteY90" fmla="*/ 9295 h 10000"/>
                  <a:gd name="connsiteX91" fmla="*/ 5103 w 7818"/>
                  <a:gd name="connsiteY91" fmla="*/ 9395 h 10000"/>
                  <a:gd name="connsiteX92" fmla="*/ 5184 w 7818"/>
                  <a:gd name="connsiteY92" fmla="*/ 9497 h 10000"/>
                  <a:gd name="connsiteX93" fmla="*/ 5277 w 7818"/>
                  <a:gd name="connsiteY93" fmla="*/ 9554 h 10000"/>
                  <a:gd name="connsiteX94" fmla="*/ 5370 w 7818"/>
                  <a:gd name="connsiteY94" fmla="*/ 9626 h 10000"/>
                  <a:gd name="connsiteX95" fmla="*/ 5462 w 7818"/>
                  <a:gd name="connsiteY95" fmla="*/ 9669 h 10000"/>
                  <a:gd name="connsiteX96" fmla="*/ 5564 w 7818"/>
                  <a:gd name="connsiteY96" fmla="*/ 9698 h 10000"/>
                  <a:gd name="connsiteX97" fmla="*/ 5667 w 7818"/>
                  <a:gd name="connsiteY97" fmla="*/ 9741 h 10000"/>
                  <a:gd name="connsiteX98" fmla="*/ 5759 w 7818"/>
                  <a:gd name="connsiteY98" fmla="*/ 9741 h 10000"/>
                  <a:gd name="connsiteX0" fmla="*/ 7919 w 10553"/>
                  <a:gd name="connsiteY0" fmla="*/ 9741 h 10000"/>
                  <a:gd name="connsiteX1" fmla="*/ 7919 w 10553"/>
                  <a:gd name="connsiteY1" fmla="*/ 9741 h 10000"/>
                  <a:gd name="connsiteX2" fmla="*/ 8089 w 10553"/>
                  <a:gd name="connsiteY2" fmla="*/ 9741 h 10000"/>
                  <a:gd name="connsiteX3" fmla="*/ 8220 w 10553"/>
                  <a:gd name="connsiteY3" fmla="*/ 9698 h 10000"/>
                  <a:gd name="connsiteX4" fmla="*/ 8364 w 10553"/>
                  <a:gd name="connsiteY4" fmla="*/ 9655 h 10000"/>
                  <a:gd name="connsiteX5" fmla="*/ 8508 w 10553"/>
                  <a:gd name="connsiteY5" fmla="*/ 9611 h 10000"/>
                  <a:gd name="connsiteX6" fmla="*/ 8641 w 10553"/>
                  <a:gd name="connsiteY6" fmla="*/ 9526 h 10000"/>
                  <a:gd name="connsiteX7" fmla="*/ 8771 w 10553"/>
                  <a:gd name="connsiteY7" fmla="*/ 9425 h 10000"/>
                  <a:gd name="connsiteX8" fmla="*/ 8889 w 10553"/>
                  <a:gd name="connsiteY8" fmla="*/ 9338 h 10000"/>
                  <a:gd name="connsiteX9" fmla="*/ 9019 w 10553"/>
                  <a:gd name="connsiteY9" fmla="*/ 9209 h 10000"/>
                  <a:gd name="connsiteX10" fmla="*/ 9164 w 10553"/>
                  <a:gd name="connsiteY10" fmla="*/ 9079 h 10000"/>
                  <a:gd name="connsiteX11" fmla="*/ 9282 w 10553"/>
                  <a:gd name="connsiteY11" fmla="*/ 8936 h 10000"/>
                  <a:gd name="connsiteX12" fmla="*/ 9517 w 10553"/>
                  <a:gd name="connsiteY12" fmla="*/ 8604 h 10000"/>
                  <a:gd name="connsiteX13" fmla="*/ 9754 w 10553"/>
                  <a:gd name="connsiteY13" fmla="*/ 8231 h 10000"/>
                  <a:gd name="connsiteX14" fmla="*/ 9963 w 10553"/>
                  <a:gd name="connsiteY14" fmla="*/ 7828 h 10000"/>
                  <a:gd name="connsiteX15" fmla="*/ 10265 w 10553"/>
                  <a:gd name="connsiteY15" fmla="*/ 8274 h 10000"/>
                  <a:gd name="connsiteX16" fmla="*/ 10553 w 10553"/>
                  <a:gd name="connsiteY16" fmla="*/ 8691 h 10000"/>
                  <a:gd name="connsiteX17" fmla="*/ 10278 w 10553"/>
                  <a:gd name="connsiteY17" fmla="*/ 8979 h 10000"/>
                  <a:gd name="connsiteX18" fmla="*/ 10003 w 10553"/>
                  <a:gd name="connsiteY18" fmla="*/ 9238 h 10000"/>
                  <a:gd name="connsiteX19" fmla="*/ 9687 w 10553"/>
                  <a:gd name="connsiteY19" fmla="*/ 9467 h 10000"/>
                  <a:gd name="connsiteX20" fmla="*/ 9544 w 10553"/>
                  <a:gd name="connsiteY20" fmla="*/ 9554 h 10000"/>
                  <a:gd name="connsiteX21" fmla="*/ 9374 w 10553"/>
                  <a:gd name="connsiteY21" fmla="*/ 9655 h 10000"/>
                  <a:gd name="connsiteX22" fmla="*/ 9204 w 10553"/>
                  <a:gd name="connsiteY22" fmla="*/ 9741 h 10000"/>
                  <a:gd name="connsiteX23" fmla="*/ 9046 w 10553"/>
                  <a:gd name="connsiteY23" fmla="*/ 9798 h 10000"/>
                  <a:gd name="connsiteX24" fmla="*/ 8863 w 10553"/>
                  <a:gd name="connsiteY24" fmla="*/ 9870 h 10000"/>
                  <a:gd name="connsiteX25" fmla="*/ 8693 w 10553"/>
                  <a:gd name="connsiteY25" fmla="*/ 9914 h 10000"/>
                  <a:gd name="connsiteX26" fmla="*/ 8508 w 10553"/>
                  <a:gd name="connsiteY26" fmla="*/ 9943 h 10000"/>
                  <a:gd name="connsiteX27" fmla="*/ 8325 w 10553"/>
                  <a:gd name="connsiteY27" fmla="*/ 9971 h 10000"/>
                  <a:gd name="connsiteX28" fmla="*/ 8128 w 10553"/>
                  <a:gd name="connsiteY28" fmla="*/ 10000 h 10000"/>
                  <a:gd name="connsiteX29" fmla="*/ 7919 w 10553"/>
                  <a:gd name="connsiteY29" fmla="*/ 10000 h 10000"/>
                  <a:gd name="connsiteX30" fmla="*/ 7710 w 10553"/>
                  <a:gd name="connsiteY30" fmla="*/ 10000 h 10000"/>
                  <a:gd name="connsiteX31" fmla="*/ 7513 w 10553"/>
                  <a:gd name="connsiteY31" fmla="*/ 9957 h 10000"/>
                  <a:gd name="connsiteX32" fmla="*/ 7303 w 10553"/>
                  <a:gd name="connsiteY32" fmla="*/ 9929 h 10000"/>
                  <a:gd name="connsiteX33" fmla="*/ 7106 w 10553"/>
                  <a:gd name="connsiteY33" fmla="*/ 9886 h 10000"/>
                  <a:gd name="connsiteX34" fmla="*/ 6923 w 10553"/>
                  <a:gd name="connsiteY34" fmla="*/ 9812 h 10000"/>
                  <a:gd name="connsiteX35" fmla="*/ 6739 w 10553"/>
                  <a:gd name="connsiteY35" fmla="*/ 9755 h 10000"/>
                  <a:gd name="connsiteX36" fmla="*/ 6569 w 10553"/>
                  <a:gd name="connsiteY36" fmla="*/ 9655 h 10000"/>
                  <a:gd name="connsiteX37" fmla="*/ 6386 w 10553"/>
                  <a:gd name="connsiteY37" fmla="*/ 9554 h 10000"/>
                  <a:gd name="connsiteX38" fmla="*/ 6228 w 10553"/>
                  <a:gd name="connsiteY38" fmla="*/ 9467 h 10000"/>
                  <a:gd name="connsiteX39" fmla="*/ 6044 w 10553"/>
                  <a:gd name="connsiteY39" fmla="*/ 9338 h 10000"/>
                  <a:gd name="connsiteX40" fmla="*/ 5900 w 10553"/>
                  <a:gd name="connsiteY40" fmla="*/ 9224 h 10000"/>
                  <a:gd name="connsiteX41" fmla="*/ 5744 w 10553"/>
                  <a:gd name="connsiteY41" fmla="*/ 9079 h 10000"/>
                  <a:gd name="connsiteX42" fmla="*/ 5442 w 10553"/>
                  <a:gd name="connsiteY42" fmla="*/ 8777 h 10000"/>
                  <a:gd name="connsiteX43" fmla="*/ 5167 w 10553"/>
                  <a:gd name="connsiteY43" fmla="*/ 8446 h 10000"/>
                  <a:gd name="connsiteX44" fmla="*/ 4906 w 10553"/>
                  <a:gd name="connsiteY44" fmla="*/ 8086 h 10000"/>
                  <a:gd name="connsiteX45" fmla="*/ 4655 w 10553"/>
                  <a:gd name="connsiteY45" fmla="*/ 7697 h 10000"/>
                  <a:gd name="connsiteX46" fmla="*/ 4407 w 10553"/>
                  <a:gd name="connsiteY46" fmla="*/ 7295 h 10000"/>
                  <a:gd name="connsiteX47" fmla="*/ 4184 w 10553"/>
                  <a:gd name="connsiteY47" fmla="*/ 6878 h 10000"/>
                  <a:gd name="connsiteX48" fmla="*/ 3962 w 10553"/>
                  <a:gd name="connsiteY48" fmla="*/ 6446 h 10000"/>
                  <a:gd name="connsiteX49" fmla="*/ 3752 w 10553"/>
                  <a:gd name="connsiteY49" fmla="*/ 6000 h 10000"/>
                  <a:gd name="connsiteX50" fmla="*/ 3345 w 10553"/>
                  <a:gd name="connsiteY50" fmla="*/ 5094 h 10000"/>
                  <a:gd name="connsiteX51" fmla="*/ 2585 w 10553"/>
                  <a:gd name="connsiteY51" fmla="*/ 3310 h 10000"/>
                  <a:gd name="connsiteX52" fmla="*/ 2415 w 10553"/>
                  <a:gd name="connsiteY52" fmla="*/ 2863 h 10000"/>
                  <a:gd name="connsiteX53" fmla="*/ 2217 w 10553"/>
                  <a:gd name="connsiteY53" fmla="*/ 2460 h 10000"/>
                  <a:gd name="connsiteX54" fmla="*/ 2034 w 10553"/>
                  <a:gd name="connsiteY54" fmla="*/ 2101 h 10000"/>
                  <a:gd name="connsiteX55" fmla="*/ 1837 w 10553"/>
                  <a:gd name="connsiteY55" fmla="*/ 1727 h 10000"/>
                  <a:gd name="connsiteX56" fmla="*/ 1642 w 10553"/>
                  <a:gd name="connsiteY56" fmla="*/ 1396 h 10000"/>
                  <a:gd name="connsiteX57" fmla="*/ 1445 w 10553"/>
                  <a:gd name="connsiteY57" fmla="*/ 1108 h 10000"/>
                  <a:gd name="connsiteX58" fmla="*/ 1236 w 10553"/>
                  <a:gd name="connsiteY58" fmla="*/ 836 h 10000"/>
                  <a:gd name="connsiteX59" fmla="*/ 1026 w 10553"/>
                  <a:gd name="connsiteY59" fmla="*/ 634 h 10000"/>
                  <a:gd name="connsiteX60" fmla="*/ 907 w 10553"/>
                  <a:gd name="connsiteY60" fmla="*/ 533 h 10000"/>
                  <a:gd name="connsiteX61" fmla="*/ 790 w 10553"/>
                  <a:gd name="connsiteY61" fmla="*/ 432 h 10000"/>
                  <a:gd name="connsiteX62" fmla="*/ 671 w 10553"/>
                  <a:gd name="connsiteY62" fmla="*/ 375 h 10000"/>
                  <a:gd name="connsiteX63" fmla="*/ 0 w 10553"/>
                  <a:gd name="connsiteY63" fmla="*/ 841 h 10000"/>
                  <a:gd name="connsiteX64" fmla="*/ 658 w 10553"/>
                  <a:gd name="connsiteY64" fmla="*/ 0 h 10000"/>
                  <a:gd name="connsiteX65" fmla="*/ 855 w 10553"/>
                  <a:gd name="connsiteY65" fmla="*/ 43 h 10000"/>
                  <a:gd name="connsiteX66" fmla="*/ 1039 w 10553"/>
                  <a:gd name="connsiteY66" fmla="*/ 115 h 10000"/>
                  <a:gd name="connsiteX67" fmla="*/ 1222 w 10553"/>
                  <a:gd name="connsiteY67" fmla="*/ 188 h 10000"/>
                  <a:gd name="connsiteX68" fmla="*/ 1392 w 10553"/>
                  <a:gd name="connsiteY68" fmla="*/ 274 h 10000"/>
                  <a:gd name="connsiteX69" fmla="*/ 1576 w 10553"/>
                  <a:gd name="connsiteY69" fmla="*/ 375 h 10000"/>
                  <a:gd name="connsiteX70" fmla="*/ 1734 w 10553"/>
                  <a:gd name="connsiteY70" fmla="*/ 461 h 10000"/>
                  <a:gd name="connsiteX71" fmla="*/ 1890 w 10553"/>
                  <a:gd name="connsiteY71" fmla="*/ 590 h 10000"/>
                  <a:gd name="connsiteX72" fmla="*/ 2060 w 10553"/>
                  <a:gd name="connsiteY72" fmla="*/ 720 h 10000"/>
                  <a:gd name="connsiteX73" fmla="*/ 2217 w 10553"/>
                  <a:gd name="connsiteY73" fmla="*/ 850 h 10000"/>
                  <a:gd name="connsiteX74" fmla="*/ 2520 w 10553"/>
                  <a:gd name="connsiteY74" fmla="*/ 1137 h 10000"/>
                  <a:gd name="connsiteX75" fmla="*/ 2795 w 10553"/>
                  <a:gd name="connsiteY75" fmla="*/ 1482 h 10000"/>
                  <a:gd name="connsiteX76" fmla="*/ 3056 w 10553"/>
                  <a:gd name="connsiteY76" fmla="*/ 1842 h 10000"/>
                  <a:gd name="connsiteX77" fmla="*/ 3306 w 10553"/>
                  <a:gd name="connsiteY77" fmla="*/ 2231 h 10000"/>
                  <a:gd name="connsiteX78" fmla="*/ 3555 w 10553"/>
                  <a:gd name="connsiteY78" fmla="*/ 2634 h 10000"/>
                  <a:gd name="connsiteX79" fmla="*/ 3778 w 10553"/>
                  <a:gd name="connsiteY79" fmla="*/ 3051 h 10000"/>
                  <a:gd name="connsiteX80" fmla="*/ 4014 w 10553"/>
                  <a:gd name="connsiteY80" fmla="*/ 3483 h 10000"/>
                  <a:gd name="connsiteX81" fmla="*/ 4223 w 10553"/>
                  <a:gd name="connsiteY81" fmla="*/ 3927 h 10000"/>
                  <a:gd name="connsiteX82" fmla="*/ 4615 w 10553"/>
                  <a:gd name="connsiteY82" fmla="*/ 4834 h 10000"/>
                  <a:gd name="connsiteX83" fmla="*/ 5389 w 10553"/>
                  <a:gd name="connsiteY83" fmla="*/ 6633 h 10000"/>
                  <a:gd name="connsiteX84" fmla="*/ 5756 w 10553"/>
                  <a:gd name="connsiteY84" fmla="*/ 7468 h 10000"/>
                  <a:gd name="connsiteX85" fmla="*/ 5952 w 10553"/>
                  <a:gd name="connsiteY85" fmla="*/ 7828 h 10000"/>
                  <a:gd name="connsiteX86" fmla="*/ 6138 w 10553"/>
                  <a:gd name="connsiteY86" fmla="*/ 8201 h 10000"/>
                  <a:gd name="connsiteX87" fmla="*/ 6346 w 10553"/>
                  <a:gd name="connsiteY87" fmla="*/ 8533 h 10000"/>
                  <a:gd name="connsiteX88" fmla="*/ 6543 w 10553"/>
                  <a:gd name="connsiteY88" fmla="*/ 8821 h 10000"/>
                  <a:gd name="connsiteX89" fmla="*/ 6739 w 10553"/>
                  <a:gd name="connsiteY89" fmla="*/ 9093 h 10000"/>
                  <a:gd name="connsiteX90" fmla="*/ 6961 w 10553"/>
                  <a:gd name="connsiteY90" fmla="*/ 9295 h 10000"/>
                  <a:gd name="connsiteX91" fmla="*/ 7080 w 10553"/>
                  <a:gd name="connsiteY91" fmla="*/ 9395 h 10000"/>
                  <a:gd name="connsiteX92" fmla="*/ 7184 w 10553"/>
                  <a:gd name="connsiteY92" fmla="*/ 9497 h 10000"/>
                  <a:gd name="connsiteX93" fmla="*/ 7303 w 10553"/>
                  <a:gd name="connsiteY93" fmla="*/ 9554 h 10000"/>
                  <a:gd name="connsiteX94" fmla="*/ 7422 w 10553"/>
                  <a:gd name="connsiteY94" fmla="*/ 9626 h 10000"/>
                  <a:gd name="connsiteX95" fmla="*/ 7539 w 10553"/>
                  <a:gd name="connsiteY95" fmla="*/ 9669 h 10000"/>
                  <a:gd name="connsiteX96" fmla="*/ 7670 w 10553"/>
                  <a:gd name="connsiteY96" fmla="*/ 9698 h 10000"/>
                  <a:gd name="connsiteX97" fmla="*/ 7802 w 10553"/>
                  <a:gd name="connsiteY97" fmla="*/ 9741 h 10000"/>
                  <a:gd name="connsiteX98" fmla="*/ 7919 w 10553"/>
                  <a:gd name="connsiteY98" fmla="*/ 9741 h 10000"/>
                  <a:gd name="connsiteX0" fmla="*/ 7960 w 10594"/>
                  <a:gd name="connsiteY0" fmla="*/ 9813 h 10072"/>
                  <a:gd name="connsiteX1" fmla="*/ 7960 w 10594"/>
                  <a:gd name="connsiteY1" fmla="*/ 9813 h 10072"/>
                  <a:gd name="connsiteX2" fmla="*/ 8130 w 10594"/>
                  <a:gd name="connsiteY2" fmla="*/ 9813 h 10072"/>
                  <a:gd name="connsiteX3" fmla="*/ 8261 w 10594"/>
                  <a:gd name="connsiteY3" fmla="*/ 9770 h 10072"/>
                  <a:gd name="connsiteX4" fmla="*/ 8405 w 10594"/>
                  <a:gd name="connsiteY4" fmla="*/ 9727 h 10072"/>
                  <a:gd name="connsiteX5" fmla="*/ 8549 w 10594"/>
                  <a:gd name="connsiteY5" fmla="*/ 9683 h 10072"/>
                  <a:gd name="connsiteX6" fmla="*/ 8682 w 10594"/>
                  <a:gd name="connsiteY6" fmla="*/ 9598 h 10072"/>
                  <a:gd name="connsiteX7" fmla="*/ 8812 w 10594"/>
                  <a:gd name="connsiteY7" fmla="*/ 9497 h 10072"/>
                  <a:gd name="connsiteX8" fmla="*/ 8930 w 10594"/>
                  <a:gd name="connsiteY8" fmla="*/ 9410 h 10072"/>
                  <a:gd name="connsiteX9" fmla="*/ 9060 w 10594"/>
                  <a:gd name="connsiteY9" fmla="*/ 9281 h 10072"/>
                  <a:gd name="connsiteX10" fmla="*/ 9205 w 10594"/>
                  <a:gd name="connsiteY10" fmla="*/ 9151 h 10072"/>
                  <a:gd name="connsiteX11" fmla="*/ 9323 w 10594"/>
                  <a:gd name="connsiteY11" fmla="*/ 9008 h 10072"/>
                  <a:gd name="connsiteX12" fmla="*/ 9558 w 10594"/>
                  <a:gd name="connsiteY12" fmla="*/ 8676 h 10072"/>
                  <a:gd name="connsiteX13" fmla="*/ 9795 w 10594"/>
                  <a:gd name="connsiteY13" fmla="*/ 8303 h 10072"/>
                  <a:gd name="connsiteX14" fmla="*/ 10004 w 10594"/>
                  <a:gd name="connsiteY14" fmla="*/ 7900 h 10072"/>
                  <a:gd name="connsiteX15" fmla="*/ 10306 w 10594"/>
                  <a:gd name="connsiteY15" fmla="*/ 8346 h 10072"/>
                  <a:gd name="connsiteX16" fmla="*/ 10594 w 10594"/>
                  <a:gd name="connsiteY16" fmla="*/ 8763 h 10072"/>
                  <a:gd name="connsiteX17" fmla="*/ 10319 w 10594"/>
                  <a:gd name="connsiteY17" fmla="*/ 9051 h 10072"/>
                  <a:gd name="connsiteX18" fmla="*/ 10044 w 10594"/>
                  <a:gd name="connsiteY18" fmla="*/ 9310 h 10072"/>
                  <a:gd name="connsiteX19" fmla="*/ 9728 w 10594"/>
                  <a:gd name="connsiteY19" fmla="*/ 9539 h 10072"/>
                  <a:gd name="connsiteX20" fmla="*/ 9585 w 10594"/>
                  <a:gd name="connsiteY20" fmla="*/ 9626 h 10072"/>
                  <a:gd name="connsiteX21" fmla="*/ 9415 w 10594"/>
                  <a:gd name="connsiteY21" fmla="*/ 9727 h 10072"/>
                  <a:gd name="connsiteX22" fmla="*/ 9245 w 10594"/>
                  <a:gd name="connsiteY22" fmla="*/ 9813 h 10072"/>
                  <a:gd name="connsiteX23" fmla="*/ 9087 w 10594"/>
                  <a:gd name="connsiteY23" fmla="*/ 9870 h 10072"/>
                  <a:gd name="connsiteX24" fmla="*/ 8904 w 10594"/>
                  <a:gd name="connsiteY24" fmla="*/ 9942 h 10072"/>
                  <a:gd name="connsiteX25" fmla="*/ 8734 w 10594"/>
                  <a:gd name="connsiteY25" fmla="*/ 9986 h 10072"/>
                  <a:gd name="connsiteX26" fmla="*/ 8549 w 10594"/>
                  <a:gd name="connsiteY26" fmla="*/ 10015 h 10072"/>
                  <a:gd name="connsiteX27" fmla="*/ 8366 w 10594"/>
                  <a:gd name="connsiteY27" fmla="*/ 10043 h 10072"/>
                  <a:gd name="connsiteX28" fmla="*/ 8169 w 10594"/>
                  <a:gd name="connsiteY28" fmla="*/ 10072 h 10072"/>
                  <a:gd name="connsiteX29" fmla="*/ 7960 w 10594"/>
                  <a:gd name="connsiteY29" fmla="*/ 10072 h 10072"/>
                  <a:gd name="connsiteX30" fmla="*/ 7751 w 10594"/>
                  <a:gd name="connsiteY30" fmla="*/ 10072 h 10072"/>
                  <a:gd name="connsiteX31" fmla="*/ 7554 w 10594"/>
                  <a:gd name="connsiteY31" fmla="*/ 10029 h 10072"/>
                  <a:gd name="connsiteX32" fmla="*/ 7344 w 10594"/>
                  <a:gd name="connsiteY32" fmla="*/ 10001 h 10072"/>
                  <a:gd name="connsiteX33" fmla="*/ 7147 w 10594"/>
                  <a:gd name="connsiteY33" fmla="*/ 9958 h 10072"/>
                  <a:gd name="connsiteX34" fmla="*/ 6964 w 10594"/>
                  <a:gd name="connsiteY34" fmla="*/ 9884 h 10072"/>
                  <a:gd name="connsiteX35" fmla="*/ 6780 w 10594"/>
                  <a:gd name="connsiteY35" fmla="*/ 9827 h 10072"/>
                  <a:gd name="connsiteX36" fmla="*/ 6610 w 10594"/>
                  <a:gd name="connsiteY36" fmla="*/ 9727 h 10072"/>
                  <a:gd name="connsiteX37" fmla="*/ 6427 w 10594"/>
                  <a:gd name="connsiteY37" fmla="*/ 9626 h 10072"/>
                  <a:gd name="connsiteX38" fmla="*/ 6269 w 10594"/>
                  <a:gd name="connsiteY38" fmla="*/ 9539 h 10072"/>
                  <a:gd name="connsiteX39" fmla="*/ 6085 w 10594"/>
                  <a:gd name="connsiteY39" fmla="*/ 9410 h 10072"/>
                  <a:gd name="connsiteX40" fmla="*/ 5941 w 10594"/>
                  <a:gd name="connsiteY40" fmla="*/ 9296 h 10072"/>
                  <a:gd name="connsiteX41" fmla="*/ 5785 w 10594"/>
                  <a:gd name="connsiteY41" fmla="*/ 9151 h 10072"/>
                  <a:gd name="connsiteX42" fmla="*/ 5483 w 10594"/>
                  <a:gd name="connsiteY42" fmla="*/ 8849 h 10072"/>
                  <a:gd name="connsiteX43" fmla="*/ 5208 w 10594"/>
                  <a:gd name="connsiteY43" fmla="*/ 8518 h 10072"/>
                  <a:gd name="connsiteX44" fmla="*/ 4947 w 10594"/>
                  <a:gd name="connsiteY44" fmla="*/ 8158 h 10072"/>
                  <a:gd name="connsiteX45" fmla="*/ 4696 w 10594"/>
                  <a:gd name="connsiteY45" fmla="*/ 7769 h 10072"/>
                  <a:gd name="connsiteX46" fmla="*/ 4448 w 10594"/>
                  <a:gd name="connsiteY46" fmla="*/ 7367 h 10072"/>
                  <a:gd name="connsiteX47" fmla="*/ 4225 w 10594"/>
                  <a:gd name="connsiteY47" fmla="*/ 6950 h 10072"/>
                  <a:gd name="connsiteX48" fmla="*/ 4003 w 10594"/>
                  <a:gd name="connsiteY48" fmla="*/ 6518 h 10072"/>
                  <a:gd name="connsiteX49" fmla="*/ 3793 w 10594"/>
                  <a:gd name="connsiteY49" fmla="*/ 6072 h 10072"/>
                  <a:gd name="connsiteX50" fmla="*/ 3386 w 10594"/>
                  <a:gd name="connsiteY50" fmla="*/ 5166 h 10072"/>
                  <a:gd name="connsiteX51" fmla="*/ 2626 w 10594"/>
                  <a:gd name="connsiteY51" fmla="*/ 3382 h 10072"/>
                  <a:gd name="connsiteX52" fmla="*/ 2456 w 10594"/>
                  <a:gd name="connsiteY52" fmla="*/ 2935 h 10072"/>
                  <a:gd name="connsiteX53" fmla="*/ 2258 w 10594"/>
                  <a:gd name="connsiteY53" fmla="*/ 2532 h 10072"/>
                  <a:gd name="connsiteX54" fmla="*/ 2075 w 10594"/>
                  <a:gd name="connsiteY54" fmla="*/ 2173 h 10072"/>
                  <a:gd name="connsiteX55" fmla="*/ 1878 w 10594"/>
                  <a:gd name="connsiteY55" fmla="*/ 1799 h 10072"/>
                  <a:gd name="connsiteX56" fmla="*/ 1683 w 10594"/>
                  <a:gd name="connsiteY56" fmla="*/ 1468 h 10072"/>
                  <a:gd name="connsiteX57" fmla="*/ 1486 w 10594"/>
                  <a:gd name="connsiteY57" fmla="*/ 1180 h 10072"/>
                  <a:gd name="connsiteX58" fmla="*/ 1277 w 10594"/>
                  <a:gd name="connsiteY58" fmla="*/ 908 h 10072"/>
                  <a:gd name="connsiteX59" fmla="*/ 1067 w 10594"/>
                  <a:gd name="connsiteY59" fmla="*/ 706 h 10072"/>
                  <a:gd name="connsiteX60" fmla="*/ 948 w 10594"/>
                  <a:gd name="connsiteY60" fmla="*/ 605 h 10072"/>
                  <a:gd name="connsiteX61" fmla="*/ 831 w 10594"/>
                  <a:gd name="connsiteY61" fmla="*/ 504 h 10072"/>
                  <a:gd name="connsiteX62" fmla="*/ 712 w 10594"/>
                  <a:gd name="connsiteY62" fmla="*/ 447 h 10072"/>
                  <a:gd name="connsiteX63" fmla="*/ 41 w 10594"/>
                  <a:gd name="connsiteY63" fmla="*/ 913 h 10072"/>
                  <a:gd name="connsiteX64" fmla="*/ 7 w 10594"/>
                  <a:gd name="connsiteY64" fmla="*/ 0 h 10072"/>
                  <a:gd name="connsiteX65" fmla="*/ 896 w 10594"/>
                  <a:gd name="connsiteY65" fmla="*/ 115 h 10072"/>
                  <a:gd name="connsiteX66" fmla="*/ 1080 w 10594"/>
                  <a:gd name="connsiteY66" fmla="*/ 187 h 10072"/>
                  <a:gd name="connsiteX67" fmla="*/ 1263 w 10594"/>
                  <a:gd name="connsiteY67" fmla="*/ 260 h 10072"/>
                  <a:gd name="connsiteX68" fmla="*/ 1433 w 10594"/>
                  <a:gd name="connsiteY68" fmla="*/ 346 h 10072"/>
                  <a:gd name="connsiteX69" fmla="*/ 1617 w 10594"/>
                  <a:gd name="connsiteY69" fmla="*/ 447 h 10072"/>
                  <a:gd name="connsiteX70" fmla="*/ 1775 w 10594"/>
                  <a:gd name="connsiteY70" fmla="*/ 533 h 10072"/>
                  <a:gd name="connsiteX71" fmla="*/ 1931 w 10594"/>
                  <a:gd name="connsiteY71" fmla="*/ 662 h 10072"/>
                  <a:gd name="connsiteX72" fmla="*/ 2101 w 10594"/>
                  <a:gd name="connsiteY72" fmla="*/ 792 h 10072"/>
                  <a:gd name="connsiteX73" fmla="*/ 2258 w 10594"/>
                  <a:gd name="connsiteY73" fmla="*/ 922 h 10072"/>
                  <a:gd name="connsiteX74" fmla="*/ 2561 w 10594"/>
                  <a:gd name="connsiteY74" fmla="*/ 1209 h 10072"/>
                  <a:gd name="connsiteX75" fmla="*/ 2836 w 10594"/>
                  <a:gd name="connsiteY75" fmla="*/ 1554 h 10072"/>
                  <a:gd name="connsiteX76" fmla="*/ 3097 w 10594"/>
                  <a:gd name="connsiteY76" fmla="*/ 1914 h 10072"/>
                  <a:gd name="connsiteX77" fmla="*/ 3347 w 10594"/>
                  <a:gd name="connsiteY77" fmla="*/ 2303 h 10072"/>
                  <a:gd name="connsiteX78" fmla="*/ 3596 w 10594"/>
                  <a:gd name="connsiteY78" fmla="*/ 2706 h 10072"/>
                  <a:gd name="connsiteX79" fmla="*/ 3819 w 10594"/>
                  <a:gd name="connsiteY79" fmla="*/ 3123 h 10072"/>
                  <a:gd name="connsiteX80" fmla="*/ 4055 w 10594"/>
                  <a:gd name="connsiteY80" fmla="*/ 3555 h 10072"/>
                  <a:gd name="connsiteX81" fmla="*/ 4264 w 10594"/>
                  <a:gd name="connsiteY81" fmla="*/ 3999 h 10072"/>
                  <a:gd name="connsiteX82" fmla="*/ 4656 w 10594"/>
                  <a:gd name="connsiteY82" fmla="*/ 4906 h 10072"/>
                  <a:gd name="connsiteX83" fmla="*/ 5430 w 10594"/>
                  <a:gd name="connsiteY83" fmla="*/ 6705 h 10072"/>
                  <a:gd name="connsiteX84" fmla="*/ 5797 w 10594"/>
                  <a:gd name="connsiteY84" fmla="*/ 7540 h 10072"/>
                  <a:gd name="connsiteX85" fmla="*/ 5993 w 10594"/>
                  <a:gd name="connsiteY85" fmla="*/ 7900 h 10072"/>
                  <a:gd name="connsiteX86" fmla="*/ 6179 w 10594"/>
                  <a:gd name="connsiteY86" fmla="*/ 8273 h 10072"/>
                  <a:gd name="connsiteX87" fmla="*/ 6387 w 10594"/>
                  <a:gd name="connsiteY87" fmla="*/ 8605 h 10072"/>
                  <a:gd name="connsiteX88" fmla="*/ 6584 w 10594"/>
                  <a:gd name="connsiteY88" fmla="*/ 8893 h 10072"/>
                  <a:gd name="connsiteX89" fmla="*/ 6780 w 10594"/>
                  <a:gd name="connsiteY89" fmla="*/ 9165 h 10072"/>
                  <a:gd name="connsiteX90" fmla="*/ 7002 w 10594"/>
                  <a:gd name="connsiteY90" fmla="*/ 9367 h 10072"/>
                  <a:gd name="connsiteX91" fmla="*/ 7121 w 10594"/>
                  <a:gd name="connsiteY91" fmla="*/ 9467 h 10072"/>
                  <a:gd name="connsiteX92" fmla="*/ 7225 w 10594"/>
                  <a:gd name="connsiteY92" fmla="*/ 9569 h 10072"/>
                  <a:gd name="connsiteX93" fmla="*/ 7344 w 10594"/>
                  <a:gd name="connsiteY93" fmla="*/ 9626 h 10072"/>
                  <a:gd name="connsiteX94" fmla="*/ 7463 w 10594"/>
                  <a:gd name="connsiteY94" fmla="*/ 9698 h 10072"/>
                  <a:gd name="connsiteX95" fmla="*/ 7580 w 10594"/>
                  <a:gd name="connsiteY95" fmla="*/ 9741 h 10072"/>
                  <a:gd name="connsiteX96" fmla="*/ 7711 w 10594"/>
                  <a:gd name="connsiteY96" fmla="*/ 9770 h 10072"/>
                  <a:gd name="connsiteX97" fmla="*/ 7843 w 10594"/>
                  <a:gd name="connsiteY97" fmla="*/ 9813 h 10072"/>
                  <a:gd name="connsiteX98" fmla="*/ 7960 w 10594"/>
                  <a:gd name="connsiteY98" fmla="*/ 9813 h 10072"/>
                  <a:gd name="connsiteX0" fmla="*/ 8265 w 10899"/>
                  <a:gd name="connsiteY0" fmla="*/ 9813 h 10072"/>
                  <a:gd name="connsiteX1" fmla="*/ 8265 w 10899"/>
                  <a:gd name="connsiteY1" fmla="*/ 9813 h 10072"/>
                  <a:gd name="connsiteX2" fmla="*/ 8435 w 10899"/>
                  <a:gd name="connsiteY2" fmla="*/ 9813 h 10072"/>
                  <a:gd name="connsiteX3" fmla="*/ 8566 w 10899"/>
                  <a:gd name="connsiteY3" fmla="*/ 9770 h 10072"/>
                  <a:gd name="connsiteX4" fmla="*/ 8710 w 10899"/>
                  <a:gd name="connsiteY4" fmla="*/ 9727 h 10072"/>
                  <a:gd name="connsiteX5" fmla="*/ 8854 w 10899"/>
                  <a:gd name="connsiteY5" fmla="*/ 9683 h 10072"/>
                  <a:gd name="connsiteX6" fmla="*/ 8987 w 10899"/>
                  <a:gd name="connsiteY6" fmla="*/ 9598 h 10072"/>
                  <a:gd name="connsiteX7" fmla="*/ 9117 w 10899"/>
                  <a:gd name="connsiteY7" fmla="*/ 9497 h 10072"/>
                  <a:gd name="connsiteX8" fmla="*/ 9235 w 10899"/>
                  <a:gd name="connsiteY8" fmla="*/ 9410 h 10072"/>
                  <a:gd name="connsiteX9" fmla="*/ 9365 w 10899"/>
                  <a:gd name="connsiteY9" fmla="*/ 9281 h 10072"/>
                  <a:gd name="connsiteX10" fmla="*/ 9510 w 10899"/>
                  <a:gd name="connsiteY10" fmla="*/ 9151 h 10072"/>
                  <a:gd name="connsiteX11" fmla="*/ 9628 w 10899"/>
                  <a:gd name="connsiteY11" fmla="*/ 9008 h 10072"/>
                  <a:gd name="connsiteX12" fmla="*/ 9863 w 10899"/>
                  <a:gd name="connsiteY12" fmla="*/ 8676 h 10072"/>
                  <a:gd name="connsiteX13" fmla="*/ 10100 w 10899"/>
                  <a:gd name="connsiteY13" fmla="*/ 8303 h 10072"/>
                  <a:gd name="connsiteX14" fmla="*/ 10309 w 10899"/>
                  <a:gd name="connsiteY14" fmla="*/ 7900 h 10072"/>
                  <a:gd name="connsiteX15" fmla="*/ 10611 w 10899"/>
                  <a:gd name="connsiteY15" fmla="*/ 8346 h 10072"/>
                  <a:gd name="connsiteX16" fmla="*/ 10899 w 10899"/>
                  <a:gd name="connsiteY16" fmla="*/ 8763 h 10072"/>
                  <a:gd name="connsiteX17" fmla="*/ 10624 w 10899"/>
                  <a:gd name="connsiteY17" fmla="*/ 9051 h 10072"/>
                  <a:gd name="connsiteX18" fmla="*/ 10349 w 10899"/>
                  <a:gd name="connsiteY18" fmla="*/ 9310 h 10072"/>
                  <a:gd name="connsiteX19" fmla="*/ 10033 w 10899"/>
                  <a:gd name="connsiteY19" fmla="*/ 9539 h 10072"/>
                  <a:gd name="connsiteX20" fmla="*/ 9890 w 10899"/>
                  <a:gd name="connsiteY20" fmla="*/ 9626 h 10072"/>
                  <a:gd name="connsiteX21" fmla="*/ 9720 w 10899"/>
                  <a:gd name="connsiteY21" fmla="*/ 9727 h 10072"/>
                  <a:gd name="connsiteX22" fmla="*/ 9550 w 10899"/>
                  <a:gd name="connsiteY22" fmla="*/ 9813 h 10072"/>
                  <a:gd name="connsiteX23" fmla="*/ 9392 w 10899"/>
                  <a:gd name="connsiteY23" fmla="*/ 9870 h 10072"/>
                  <a:gd name="connsiteX24" fmla="*/ 9209 w 10899"/>
                  <a:gd name="connsiteY24" fmla="*/ 9942 h 10072"/>
                  <a:gd name="connsiteX25" fmla="*/ 9039 w 10899"/>
                  <a:gd name="connsiteY25" fmla="*/ 9986 h 10072"/>
                  <a:gd name="connsiteX26" fmla="*/ 8854 w 10899"/>
                  <a:gd name="connsiteY26" fmla="*/ 10015 h 10072"/>
                  <a:gd name="connsiteX27" fmla="*/ 8671 w 10899"/>
                  <a:gd name="connsiteY27" fmla="*/ 10043 h 10072"/>
                  <a:gd name="connsiteX28" fmla="*/ 8474 w 10899"/>
                  <a:gd name="connsiteY28" fmla="*/ 10072 h 10072"/>
                  <a:gd name="connsiteX29" fmla="*/ 8265 w 10899"/>
                  <a:gd name="connsiteY29" fmla="*/ 10072 h 10072"/>
                  <a:gd name="connsiteX30" fmla="*/ 8056 w 10899"/>
                  <a:gd name="connsiteY30" fmla="*/ 10072 h 10072"/>
                  <a:gd name="connsiteX31" fmla="*/ 7859 w 10899"/>
                  <a:gd name="connsiteY31" fmla="*/ 10029 h 10072"/>
                  <a:gd name="connsiteX32" fmla="*/ 7649 w 10899"/>
                  <a:gd name="connsiteY32" fmla="*/ 10001 h 10072"/>
                  <a:gd name="connsiteX33" fmla="*/ 7452 w 10899"/>
                  <a:gd name="connsiteY33" fmla="*/ 9958 h 10072"/>
                  <a:gd name="connsiteX34" fmla="*/ 7269 w 10899"/>
                  <a:gd name="connsiteY34" fmla="*/ 9884 h 10072"/>
                  <a:gd name="connsiteX35" fmla="*/ 7085 w 10899"/>
                  <a:gd name="connsiteY35" fmla="*/ 9827 h 10072"/>
                  <a:gd name="connsiteX36" fmla="*/ 6915 w 10899"/>
                  <a:gd name="connsiteY36" fmla="*/ 9727 h 10072"/>
                  <a:gd name="connsiteX37" fmla="*/ 6732 w 10899"/>
                  <a:gd name="connsiteY37" fmla="*/ 9626 h 10072"/>
                  <a:gd name="connsiteX38" fmla="*/ 6574 w 10899"/>
                  <a:gd name="connsiteY38" fmla="*/ 9539 h 10072"/>
                  <a:gd name="connsiteX39" fmla="*/ 6390 w 10899"/>
                  <a:gd name="connsiteY39" fmla="*/ 9410 h 10072"/>
                  <a:gd name="connsiteX40" fmla="*/ 6246 w 10899"/>
                  <a:gd name="connsiteY40" fmla="*/ 9296 h 10072"/>
                  <a:gd name="connsiteX41" fmla="*/ 6090 w 10899"/>
                  <a:gd name="connsiteY41" fmla="*/ 9151 h 10072"/>
                  <a:gd name="connsiteX42" fmla="*/ 5788 w 10899"/>
                  <a:gd name="connsiteY42" fmla="*/ 8849 h 10072"/>
                  <a:gd name="connsiteX43" fmla="*/ 5513 w 10899"/>
                  <a:gd name="connsiteY43" fmla="*/ 8518 h 10072"/>
                  <a:gd name="connsiteX44" fmla="*/ 5252 w 10899"/>
                  <a:gd name="connsiteY44" fmla="*/ 8158 h 10072"/>
                  <a:gd name="connsiteX45" fmla="*/ 5001 w 10899"/>
                  <a:gd name="connsiteY45" fmla="*/ 7769 h 10072"/>
                  <a:gd name="connsiteX46" fmla="*/ 4753 w 10899"/>
                  <a:gd name="connsiteY46" fmla="*/ 7367 h 10072"/>
                  <a:gd name="connsiteX47" fmla="*/ 4530 w 10899"/>
                  <a:gd name="connsiteY47" fmla="*/ 6950 h 10072"/>
                  <a:gd name="connsiteX48" fmla="*/ 4308 w 10899"/>
                  <a:gd name="connsiteY48" fmla="*/ 6518 h 10072"/>
                  <a:gd name="connsiteX49" fmla="*/ 4098 w 10899"/>
                  <a:gd name="connsiteY49" fmla="*/ 6072 h 10072"/>
                  <a:gd name="connsiteX50" fmla="*/ 3691 w 10899"/>
                  <a:gd name="connsiteY50" fmla="*/ 5166 h 10072"/>
                  <a:gd name="connsiteX51" fmla="*/ 2931 w 10899"/>
                  <a:gd name="connsiteY51" fmla="*/ 3382 h 10072"/>
                  <a:gd name="connsiteX52" fmla="*/ 2761 w 10899"/>
                  <a:gd name="connsiteY52" fmla="*/ 2935 h 10072"/>
                  <a:gd name="connsiteX53" fmla="*/ 2563 w 10899"/>
                  <a:gd name="connsiteY53" fmla="*/ 2532 h 10072"/>
                  <a:gd name="connsiteX54" fmla="*/ 2380 w 10899"/>
                  <a:gd name="connsiteY54" fmla="*/ 2173 h 10072"/>
                  <a:gd name="connsiteX55" fmla="*/ 2183 w 10899"/>
                  <a:gd name="connsiteY55" fmla="*/ 1799 h 10072"/>
                  <a:gd name="connsiteX56" fmla="*/ 1988 w 10899"/>
                  <a:gd name="connsiteY56" fmla="*/ 1468 h 10072"/>
                  <a:gd name="connsiteX57" fmla="*/ 1791 w 10899"/>
                  <a:gd name="connsiteY57" fmla="*/ 1180 h 10072"/>
                  <a:gd name="connsiteX58" fmla="*/ 1582 w 10899"/>
                  <a:gd name="connsiteY58" fmla="*/ 908 h 10072"/>
                  <a:gd name="connsiteX59" fmla="*/ 1372 w 10899"/>
                  <a:gd name="connsiteY59" fmla="*/ 706 h 10072"/>
                  <a:gd name="connsiteX60" fmla="*/ 1253 w 10899"/>
                  <a:gd name="connsiteY60" fmla="*/ 605 h 10072"/>
                  <a:gd name="connsiteX61" fmla="*/ 1136 w 10899"/>
                  <a:gd name="connsiteY61" fmla="*/ 504 h 10072"/>
                  <a:gd name="connsiteX62" fmla="*/ 1017 w 10899"/>
                  <a:gd name="connsiteY62" fmla="*/ 447 h 10072"/>
                  <a:gd name="connsiteX63" fmla="*/ 0 w 10899"/>
                  <a:gd name="connsiteY63" fmla="*/ 626 h 10072"/>
                  <a:gd name="connsiteX64" fmla="*/ 312 w 10899"/>
                  <a:gd name="connsiteY64" fmla="*/ 0 h 10072"/>
                  <a:gd name="connsiteX65" fmla="*/ 1201 w 10899"/>
                  <a:gd name="connsiteY65" fmla="*/ 115 h 10072"/>
                  <a:gd name="connsiteX66" fmla="*/ 1385 w 10899"/>
                  <a:gd name="connsiteY66" fmla="*/ 187 h 10072"/>
                  <a:gd name="connsiteX67" fmla="*/ 1568 w 10899"/>
                  <a:gd name="connsiteY67" fmla="*/ 260 h 10072"/>
                  <a:gd name="connsiteX68" fmla="*/ 1738 w 10899"/>
                  <a:gd name="connsiteY68" fmla="*/ 346 h 10072"/>
                  <a:gd name="connsiteX69" fmla="*/ 1922 w 10899"/>
                  <a:gd name="connsiteY69" fmla="*/ 447 h 10072"/>
                  <a:gd name="connsiteX70" fmla="*/ 2080 w 10899"/>
                  <a:gd name="connsiteY70" fmla="*/ 533 h 10072"/>
                  <a:gd name="connsiteX71" fmla="*/ 2236 w 10899"/>
                  <a:gd name="connsiteY71" fmla="*/ 662 h 10072"/>
                  <a:gd name="connsiteX72" fmla="*/ 2406 w 10899"/>
                  <a:gd name="connsiteY72" fmla="*/ 792 h 10072"/>
                  <a:gd name="connsiteX73" fmla="*/ 2563 w 10899"/>
                  <a:gd name="connsiteY73" fmla="*/ 922 h 10072"/>
                  <a:gd name="connsiteX74" fmla="*/ 2866 w 10899"/>
                  <a:gd name="connsiteY74" fmla="*/ 1209 h 10072"/>
                  <a:gd name="connsiteX75" fmla="*/ 3141 w 10899"/>
                  <a:gd name="connsiteY75" fmla="*/ 1554 h 10072"/>
                  <a:gd name="connsiteX76" fmla="*/ 3402 w 10899"/>
                  <a:gd name="connsiteY76" fmla="*/ 1914 h 10072"/>
                  <a:gd name="connsiteX77" fmla="*/ 3652 w 10899"/>
                  <a:gd name="connsiteY77" fmla="*/ 2303 h 10072"/>
                  <a:gd name="connsiteX78" fmla="*/ 3901 w 10899"/>
                  <a:gd name="connsiteY78" fmla="*/ 2706 h 10072"/>
                  <a:gd name="connsiteX79" fmla="*/ 4124 w 10899"/>
                  <a:gd name="connsiteY79" fmla="*/ 3123 h 10072"/>
                  <a:gd name="connsiteX80" fmla="*/ 4360 w 10899"/>
                  <a:gd name="connsiteY80" fmla="*/ 3555 h 10072"/>
                  <a:gd name="connsiteX81" fmla="*/ 4569 w 10899"/>
                  <a:gd name="connsiteY81" fmla="*/ 3999 h 10072"/>
                  <a:gd name="connsiteX82" fmla="*/ 4961 w 10899"/>
                  <a:gd name="connsiteY82" fmla="*/ 4906 h 10072"/>
                  <a:gd name="connsiteX83" fmla="*/ 5735 w 10899"/>
                  <a:gd name="connsiteY83" fmla="*/ 6705 h 10072"/>
                  <a:gd name="connsiteX84" fmla="*/ 6102 w 10899"/>
                  <a:gd name="connsiteY84" fmla="*/ 7540 h 10072"/>
                  <a:gd name="connsiteX85" fmla="*/ 6298 w 10899"/>
                  <a:gd name="connsiteY85" fmla="*/ 7900 h 10072"/>
                  <a:gd name="connsiteX86" fmla="*/ 6484 w 10899"/>
                  <a:gd name="connsiteY86" fmla="*/ 8273 h 10072"/>
                  <a:gd name="connsiteX87" fmla="*/ 6692 w 10899"/>
                  <a:gd name="connsiteY87" fmla="*/ 8605 h 10072"/>
                  <a:gd name="connsiteX88" fmla="*/ 6889 w 10899"/>
                  <a:gd name="connsiteY88" fmla="*/ 8893 h 10072"/>
                  <a:gd name="connsiteX89" fmla="*/ 7085 w 10899"/>
                  <a:gd name="connsiteY89" fmla="*/ 9165 h 10072"/>
                  <a:gd name="connsiteX90" fmla="*/ 7307 w 10899"/>
                  <a:gd name="connsiteY90" fmla="*/ 9367 h 10072"/>
                  <a:gd name="connsiteX91" fmla="*/ 7426 w 10899"/>
                  <a:gd name="connsiteY91" fmla="*/ 9467 h 10072"/>
                  <a:gd name="connsiteX92" fmla="*/ 7530 w 10899"/>
                  <a:gd name="connsiteY92" fmla="*/ 9569 h 10072"/>
                  <a:gd name="connsiteX93" fmla="*/ 7649 w 10899"/>
                  <a:gd name="connsiteY93" fmla="*/ 9626 h 10072"/>
                  <a:gd name="connsiteX94" fmla="*/ 7768 w 10899"/>
                  <a:gd name="connsiteY94" fmla="*/ 9698 h 10072"/>
                  <a:gd name="connsiteX95" fmla="*/ 7885 w 10899"/>
                  <a:gd name="connsiteY95" fmla="*/ 9741 h 10072"/>
                  <a:gd name="connsiteX96" fmla="*/ 8016 w 10899"/>
                  <a:gd name="connsiteY96" fmla="*/ 9770 h 10072"/>
                  <a:gd name="connsiteX97" fmla="*/ 8148 w 10899"/>
                  <a:gd name="connsiteY97" fmla="*/ 9813 h 10072"/>
                  <a:gd name="connsiteX98" fmla="*/ 8265 w 10899"/>
                  <a:gd name="connsiteY98" fmla="*/ 9813 h 10072"/>
                  <a:gd name="connsiteX0" fmla="*/ 7956 w 10590"/>
                  <a:gd name="connsiteY0" fmla="*/ 9813 h 10072"/>
                  <a:gd name="connsiteX1" fmla="*/ 7956 w 10590"/>
                  <a:gd name="connsiteY1" fmla="*/ 9813 h 10072"/>
                  <a:gd name="connsiteX2" fmla="*/ 8126 w 10590"/>
                  <a:gd name="connsiteY2" fmla="*/ 9813 h 10072"/>
                  <a:gd name="connsiteX3" fmla="*/ 8257 w 10590"/>
                  <a:gd name="connsiteY3" fmla="*/ 9770 h 10072"/>
                  <a:gd name="connsiteX4" fmla="*/ 8401 w 10590"/>
                  <a:gd name="connsiteY4" fmla="*/ 9727 h 10072"/>
                  <a:gd name="connsiteX5" fmla="*/ 8545 w 10590"/>
                  <a:gd name="connsiteY5" fmla="*/ 9683 h 10072"/>
                  <a:gd name="connsiteX6" fmla="*/ 8678 w 10590"/>
                  <a:gd name="connsiteY6" fmla="*/ 9598 h 10072"/>
                  <a:gd name="connsiteX7" fmla="*/ 8808 w 10590"/>
                  <a:gd name="connsiteY7" fmla="*/ 9497 h 10072"/>
                  <a:gd name="connsiteX8" fmla="*/ 8926 w 10590"/>
                  <a:gd name="connsiteY8" fmla="*/ 9410 h 10072"/>
                  <a:gd name="connsiteX9" fmla="*/ 9056 w 10590"/>
                  <a:gd name="connsiteY9" fmla="*/ 9281 h 10072"/>
                  <a:gd name="connsiteX10" fmla="*/ 9201 w 10590"/>
                  <a:gd name="connsiteY10" fmla="*/ 9151 h 10072"/>
                  <a:gd name="connsiteX11" fmla="*/ 9319 w 10590"/>
                  <a:gd name="connsiteY11" fmla="*/ 9008 h 10072"/>
                  <a:gd name="connsiteX12" fmla="*/ 9554 w 10590"/>
                  <a:gd name="connsiteY12" fmla="*/ 8676 h 10072"/>
                  <a:gd name="connsiteX13" fmla="*/ 9791 w 10590"/>
                  <a:gd name="connsiteY13" fmla="*/ 8303 h 10072"/>
                  <a:gd name="connsiteX14" fmla="*/ 10000 w 10590"/>
                  <a:gd name="connsiteY14" fmla="*/ 7900 h 10072"/>
                  <a:gd name="connsiteX15" fmla="*/ 10302 w 10590"/>
                  <a:gd name="connsiteY15" fmla="*/ 8346 h 10072"/>
                  <a:gd name="connsiteX16" fmla="*/ 10590 w 10590"/>
                  <a:gd name="connsiteY16" fmla="*/ 8763 h 10072"/>
                  <a:gd name="connsiteX17" fmla="*/ 10315 w 10590"/>
                  <a:gd name="connsiteY17" fmla="*/ 9051 h 10072"/>
                  <a:gd name="connsiteX18" fmla="*/ 10040 w 10590"/>
                  <a:gd name="connsiteY18" fmla="*/ 9310 h 10072"/>
                  <a:gd name="connsiteX19" fmla="*/ 9724 w 10590"/>
                  <a:gd name="connsiteY19" fmla="*/ 9539 h 10072"/>
                  <a:gd name="connsiteX20" fmla="*/ 9581 w 10590"/>
                  <a:gd name="connsiteY20" fmla="*/ 9626 h 10072"/>
                  <a:gd name="connsiteX21" fmla="*/ 9411 w 10590"/>
                  <a:gd name="connsiteY21" fmla="*/ 9727 h 10072"/>
                  <a:gd name="connsiteX22" fmla="*/ 9241 w 10590"/>
                  <a:gd name="connsiteY22" fmla="*/ 9813 h 10072"/>
                  <a:gd name="connsiteX23" fmla="*/ 9083 w 10590"/>
                  <a:gd name="connsiteY23" fmla="*/ 9870 h 10072"/>
                  <a:gd name="connsiteX24" fmla="*/ 8900 w 10590"/>
                  <a:gd name="connsiteY24" fmla="*/ 9942 h 10072"/>
                  <a:gd name="connsiteX25" fmla="*/ 8730 w 10590"/>
                  <a:gd name="connsiteY25" fmla="*/ 9986 h 10072"/>
                  <a:gd name="connsiteX26" fmla="*/ 8545 w 10590"/>
                  <a:gd name="connsiteY26" fmla="*/ 10015 h 10072"/>
                  <a:gd name="connsiteX27" fmla="*/ 8362 w 10590"/>
                  <a:gd name="connsiteY27" fmla="*/ 10043 h 10072"/>
                  <a:gd name="connsiteX28" fmla="*/ 8165 w 10590"/>
                  <a:gd name="connsiteY28" fmla="*/ 10072 h 10072"/>
                  <a:gd name="connsiteX29" fmla="*/ 7956 w 10590"/>
                  <a:gd name="connsiteY29" fmla="*/ 10072 h 10072"/>
                  <a:gd name="connsiteX30" fmla="*/ 7747 w 10590"/>
                  <a:gd name="connsiteY30" fmla="*/ 10072 h 10072"/>
                  <a:gd name="connsiteX31" fmla="*/ 7550 w 10590"/>
                  <a:gd name="connsiteY31" fmla="*/ 10029 h 10072"/>
                  <a:gd name="connsiteX32" fmla="*/ 7340 w 10590"/>
                  <a:gd name="connsiteY32" fmla="*/ 10001 h 10072"/>
                  <a:gd name="connsiteX33" fmla="*/ 7143 w 10590"/>
                  <a:gd name="connsiteY33" fmla="*/ 9958 h 10072"/>
                  <a:gd name="connsiteX34" fmla="*/ 6960 w 10590"/>
                  <a:gd name="connsiteY34" fmla="*/ 9884 h 10072"/>
                  <a:gd name="connsiteX35" fmla="*/ 6776 w 10590"/>
                  <a:gd name="connsiteY35" fmla="*/ 9827 h 10072"/>
                  <a:gd name="connsiteX36" fmla="*/ 6606 w 10590"/>
                  <a:gd name="connsiteY36" fmla="*/ 9727 h 10072"/>
                  <a:gd name="connsiteX37" fmla="*/ 6423 w 10590"/>
                  <a:gd name="connsiteY37" fmla="*/ 9626 h 10072"/>
                  <a:gd name="connsiteX38" fmla="*/ 6265 w 10590"/>
                  <a:gd name="connsiteY38" fmla="*/ 9539 h 10072"/>
                  <a:gd name="connsiteX39" fmla="*/ 6081 w 10590"/>
                  <a:gd name="connsiteY39" fmla="*/ 9410 h 10072"/>
                  <a:gd name="connsiteX40" fmla="*/ 5937 w 10590"/>
                  <a:gd name="connsiteY40" fmla="*/ 9296 h 10072"/>
                  <a:gd name="connsiteX41" fmla="*/ 5781 w 10590"/>
                  <a:gd name="connsiteY41" fmla="*/ 9151 h 10072"/>
                  <a:gd name="connsiteX42" fmla="*/ 5479 w 10590"/>
                  <a:gd name="connsiteY42" fmla="*/ 8849 h 10072"/>
                  <a:gd name="connsiteX43" fmla="*/ 5204 w 10590"/>
                  <a:gd name="connsiteY43" fmla="*/ 8518 h 10072"/>
                  <a:gd name="connsiteX44" fmla="*/ 4943 w 10590"/>
                  <a:gd name="connsiteY44" fmla="*/ 8158 h 10072"/>
                  <a:gd name="connsiteX45" fmla="*/ 4692 w 10590"/>
                  <a:gd name="connsiteY45" fmla="*/ 7769 h 10072"/>
                  <a:gd name="connsiteX46" fmla="*/ 4444 w 10590"/>
                  <a:gd name="connsiteY46" fmla="*/ 7367 h 10072"/>
                  <a:gd name="connsiteX47" fmla="*/ 4221 w 10590"/>
                  <a:gd name="connsiteY47" fmla="*/ 6950 h 10072"/>
                  <a:gd name="connsiteX48" fmla="*/ 3999 w 10590"/>
                  <a:gd name="connsiteY48" fmla="*/ 6518 h 10072"/>
                  <a:gd name="connsiteX49" fmla="*/ 3789 w 10590"/>
                  <a:gd name="connsiteY49" fmla="*/ 6072 h 10072"/>
                  <a:gd name="connsiteX50" fmla="*/ 3382 w 10590"/>
                  <a:gd name="connsiteY50" fmla="*/ 5166 h 10072"/>
                  <a:gd name="connsiteX51" fmla="*/ 2622 w 10590"/>
                  <a:gd name="connsiteY51" fmla="*/ 3382 h 10072"/>
                  <a:gd name="connsiteX52" fmla="*/ 2452 w 10590"/>
                  <a:gd name="connsiteY52" fmla="*/ 2935 h 10072"/>
                  <a:gd name="connsiteX53" fmla="*/ 2254 w 10590"/>
                  <a:gd name="connsiteY53" fmla="*/ 2532 h 10072"/>
                  <a:gd name="connsiteX54" fmla="*/ 2071 w 10590"/>
                  <a:gd name="connsiteY54" fmla="*/ 2173 h 10072"/>
                  <a:gd name="connsiteX55" fmla="*/ 1874 w 10590"/>
                  <a:gd name="connsiteY55" fmla="*/ 1799 h 10072"/>
                  <a:gd name="connsiteX56" fmla="*/ 1679 w 10590"/>
                  <a:gd name="connsiteY56" fmla="*/ 1468 h 10072"/>
                  <a:gd name="connsiteX57" fmla="*/ 1482 w 10590"/>
                  <a:gd name="connsiteY57" fmla="*/ 1180 h 10072"/>
                  <a:gd name="connsiteX58" fmla="*/ 1273 w 10590"/>
                  <a:gd name="connsiteY58" fmla="*/ 908 h 10072"/>
                  <a:gd name="connsiteX59" fmla="*/ 1063 w 10590"/>
                  <a:gd name="connsiteY59" fmla="*/ 706 h 10072"/>
                  <a:gd name="connsiteX60" fmla="*/ 944 w 10590"/>
                  <a:gd name="connsiteY60" fmla="*/ 605 h 10072"/>
                  <a:gd name="connsiteX61" fmla="*/ 827 w 10590"/>
                  <a:gd name="connsiteY61" fmla="*/ 504 h 10072"/>
                  <a:gd name="connsiteX62" fmla="*/ 708 w 10590"/>
                  <a:gd name="connsiteY62" fmla="*/ 447 h 10072"/>
                  <a:gd name="connsiteX63" fmla="*/ 337 w 10590"/>
                  <a:gd name="connsiteY63" fmla="*/ 411 h 10072"/>
                  <a:gd name="connsiteX64" fmla="*/ 3 w 10590"/>
                  <a:gd name="connsiteY64" fmla="*/ 0 h 10072"/>
                  <a:gd name="connsiteX65" fmla="*/ 892 w 10590"/>
                  <a:gd name="connsiteY65" fmla="*/ 115 h 10072"/>
                  <a:gd name="connsiteX66" fmla="*/ 1076 w 10590"/>
                  <a:gd name="connsiteY66" fmla="*/ 187 h 10072"/>
                  <a:gd name="connsiteX67" fmla="*/ 1259 w 10590"/>
                  <a:gd name="connsiteY67" fmla="*/ 260 h 10072"/>
                  <a:gd name="connsiteX68" fmla="*/ 1429 w 10590"/>
                  <a:gd name="connsiteY68" fmla="*/ 346 h 10072"/>
                  <a:gd name="connsiteX69" fmla="*/ 1613 w 10590"/>
                  <a:gd name="connsiteY69" fmla="*/ 447 h 10072"/>
                  <a:gd name="connsiteX70" fmla="*/ 1771 w 10590"/>
                  <a:gd name="connsiteY70" fmla="*/ 533 h 10072"/>
                  <a:gd name="connsiteX71" fmla="*/ 1927 w 10590"/>
                  <a:gd name="connsiteY71" fmla="*/ 662 h 10072"/>
                  <a:gd name="connsiteX72" fmla="*/ 2097 w 10590"/>
                  <a:gd name="connsiteY72" fmla="*/ 792 h 10072"/>
                  <a:gd name="connsiteX73" fmla="*/ 2254 w 10590"/>
                  <a:gd name="connsiteY73" fmla="*/ 922 h 10072"/>
                  <a:gd name="connsiteX74" fmla="*/ 2557 w 10590"/>
                  <a:gd name="connsiteY74" fmla="*/ 1209 h 10072"/>
                  <a:gd name="connsiteX75" fmla="*/ 2832 w 10590"/>
                  <a:gd name="connsiteY75" fmla="*/ 1554 h 10072"/>
                  <a:gd name="connsiteX76" fmla="*/ 3093 w 10590"/>
                  <a:gd name="connsiteY76" fmla="*/ 1914 h 10072"/>
                  <a:gd name="connsiteX77" fmla="*/ 3343 w 10590"/>
                  <a:gd name="connsiteY77" fmla="*/ 2303 h 10072"/>
                  <a:gd name="connsiteX78" fmla="*/ 3592 w 10590"/>
                  <a:gd name="connsiteY78" fmla="*/ 2706 h 10072"/>
                  <a:gd name="connsiteX79" fmla="*/ 3815 w 10590"/>
                  <a:gd name="connsiteY79" fmla="*/ 3123 h 10072"/>
                  <a:gd name="connsiteX80" fmla="*/ 4051 w 10590"/>
                  <a:gd name="connsiteY80" fmla="*/ 3555 h 10072"/>
                  <a:gd name="connsiteX81" fmla="*/ 4260 w 10590"/>
                  <a:gd name="connsiteY81" fmla="*/ 3999 h 10072"/>
                  <a:gd name="connsiteX82" fmla="*/ 4652 w 10590"/>
                  <a:gd name="connsiteY82" fmla="*/ 4906 h 10072"/>
                  <a:gd name="connsiteX83" fmla="*/ 5426 w 10590"/>
                  <a:gd name="connsiteY83" fmla="*/ 6705 h 10072"/>
                  <a:gd name="connsiteX84" fmla="*/ 5793 w 10590"/>
                  <a:gd name="connsiteY84" fmla="*/ 7540 h 10072"/>
                  <a:gd name="connsiteX85" fmla="*/ 5989 w 10590"/>
                  <a:gd name="connsiteY85" fmla="*/ 7900 h 10072"/>
                  <a:gd name="connsiteX86" fmla="*/ 6175 w 10590"/>
                  <a:gd name="connsiteY86" fmla="*/ 8273 h 10072"/>
                  <a:gd name="connsiteX87" fmla="*/ 6383 w 10590"/>
                  <a:gd name="connsiteY87" fmla="*/ 8605 h 10072"/>
                  <a:gd name="connsiteX88" fmla="*/ 6580 w 10590"/>
                  <a:gd name="connsiteY88" fmla="*/ 8893 h 10072"/>
                  <a:gd name="connsiteX89" fmla="*/ 6776 w 10590"/>
                  <a:gd name="connsiteY89" fmla="*/ 9165 h 10072"/>
                  <a:gd name="connsiteX90" fmla="*/ 6998 w 10590"/>
                  <a:gd name="connsiteY90" fmla="*/ 9367 h 10072"/>
                  <a:gd name="connsiteX91" fmla="*/ 7117 w 10590"/>
                  <a:gd name="connsiteY91" fmla="*/ 9467 h 10072"/>
                  <a:gd name="connsiteX92" fmla="*/ 7221 w 10590"/>
                  <a:gd name="connsiteY92" fmla="*/ 9569 h 10072"/>
                  <a:gd name="connsiteX93" fmla="*/ 7340 w 10590"/>
                  <a:gd name="connsiteY93" fmla="*/ 9626 h 10072"/>
                  <a:gd name="connsiteX94" fmla="*/ 7459 w 10590"/>
                  <a:gd name="connsiteY94" fmla="*/ 9698 h 10072"/>
                  <a:gd name="connsiteX95" fmla="*/ 7576 w 10590"/>
                  <a:gd name="connsiteY95" fmla="*/ 9741 h 10072"/>
                  <a:gd name="connsiteX96" fmla="*/ 7707 w 10590"/>
                  <a:gd name="connsiteY96" fmla="*/ 9770 h 10072"/>
                  <a:gd name="connsiteX97" fmla="*/ 7839 w 10590"/>
                  <a:gd name="connsiteY97" fmla="*/ 9813 h 10072"/>
                  <a:gd name="connsiteX98" fmla="*/ 7956 w 10590"/>
                  <a:gd name="connsiteY98" fmla="*/ 9813 h 10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0590" h="10072">
                    <a:moveTo>
                      <a:pt x="7956" y="9813"/>
                    </a:moveTo>
                    <a:lnTo>
                      <a:pt x="7956" y="9813"/>
                    </a:lnTo>
                    <a:lnTo>
                      <a:pt x="8126" y="9813"/>
                    </a:lnTo>
                    <a:cubicBezTo>
                      <a:pt x="8170" y="9799"/>
                      <a:pt x="8213" y="9784"/>
                      <a:pt x="8257" y="9770"/>
                    </a:cubicBezTo>
                    <a:cubicBezTo>
                      <a:pt x="8306" y="9756"/>
                      <a:pt x="8353" y="9741"/>
                      <a:pt x="8401" y="9727"/>
                    </a:cubicBezTo>
                    <a:lnTo>
                      <a:pt x="8545" y="9683"/>
                    </a:lnTo>
                    <a:lnTo>
                      <a:pt x="8678" y="9598"/>
                    </a:lnTo>
                    <a:cubicBezTo>
                      <a:pt x="8721" y="9564"/>
                      <a:pt x="8765" y="9531"/>
                      <a:pt x="8808" y="9497"/>
                    </a:cubicBezTo>
                    <a:cubicBezTo>
                      <a:pt x="8848" y="9468"/>
                      <a:pt x="8886" y="9439"/>
                      <a:pt x="8926" y="9410"/>
                    </a:cubicBezTo>
                    <a:lnTo>
                      <a:pt x="9056" y="9281"/>
                    </a:lnTo>
                    <a:cubicBezTo>
                      <a:pt x="9105" y="9238"/>
                      <a:pt x="9152" y="9194"/>
                      <a:pt x="9201" y="9151"/>
                    </a:cubicBezTo>
                    <a:cubicBezTo>
                      <a:pt x="9240" y="9103"/>
                      <a:pt x="9280" y="9056"/>
                      <a:pt x="9319" y="9008"/>
                    </a:cubicBezTo>
                    <a:cubicBezTo>
                      <a:pt x="9397" y="8897"/>
                      <a:pt x="9476" y="8787"/>
                      <a:pt x="9554" y="8676"/>
                    </a:cubicBezTo>
                    <a:cubicBezTo>
                      <a:pt x="9633" y="8552"/>
                      <a:pt x="9711" y="8427"/>
                      <a:pt x="9791" y="8303"/>
                    </a:cubicBezTo>
                    <a:cubicBezTo>
                      <a:pt x="9860" y="8168"/>
                      <a:pt x="9930" y="8034"/>
                      <a:pt x="10000" y="7900"/>
                    </a:cubicBezTo>
                    <a:lnTo>
                      <a:pt x="10302" y="8346"/>
                    </a:lnTo>
                    <a:lnTo>
                      <a:pt x="10590" y="8763"/>
                    </a:lnTo>
                    <a:cubicBezTo>
                      <a:pt x="10498" y="8858"/>
                      <a:pt x="10407" y="8955"/>
                      <a:pt x="10315" y="9051"/>
                    </a:cubicBezTo>
                    <a:lnTo>
                      <a:pt x="10040" y="9310"/>
                    </a:lnTo>
                    <a:lnTo>
                      <a:pt x="9724" y="9539"/>
                    </a:lnTo>
                    <a:cubicBezTo>
                      <a:pt x="9677" y="9569"/>
                      <a:pt x="9628" y="9597"/>
                      <a:pt x="9581" y="9626"/>
                    </a:cubicBezTo>
                    <a:cubicBezTo>
                      <a:pt x="9525" y="9660"/>
                      <a:pt x="9467" y="9693"/>
                      <a:pt x="9411" y="9727"/>
                    </a:cubicBezTo>
                    <a:lnTo>
                      <a:pt x="9241" y="9813"/>
                    </a:lnTo>
                    <a:lnTo>
                      <a:pt x="9083" y="9870"/>
                    </a:lnTo>
                    <a:lnTo>
                      <a:pt x="8900" y="9942"/>
                    </a:lnTo>
                    <a:lnTo>
                      <a:pt x="8730" y="9986"/>
                    </a:lnTo>
                    <a:lnTo>
                      <a:pt x="8545" y="10015"/>
                    </a:lnTo>
                    <a:lnTo>
                      <a:pt x="8362" y="10043"/>
                    </a:lnTo>
                    <a:lnTo>
                      <a:pt x="8165" y="10072"/>
                    </a:lnTo>
                    <a:lnTo>
                      <a:pt x="7956" y="10072"/>
                    </a:lnTo>
                    <a:lnTo>
                      <a:pt x="7747" y="10072"/>
                    </a:lnTo>
                    <a:lnTo>
                      <a:pt x="7550" y="10029"/>
                    </a:lnTo>
                    <a:lnTo>
                      <a:pt x="7340" y="10001"/>
                    </a:lnTo>
                    <a:lnTo>
                      <a:pt x="7143" y="9958"/>
                    </a:lnTo>
                    <a:lnTo>
                      <a:pt x="6960" y="9884"/>
                    </a:lnTo>
                    <a:lnTo>
                      <a:pt x="6776" y="9827"/>
                    </a:lnTo>
                    <a:lnTo>
                      <a:pt x="6606" y="9727"/>
                    </a:lnTo>
                    <a:lnTo>
                      <a:pt x="6423" y="9626"/>
                    </a:lnTo>
                    <a:lnTo>
                      <a:pt x="6265" y="9539"/>
                    </a:lnTo>
                    <a:lnTo>
                      <a:pt x="6081" y="9410"/>
                    </a:lnTo>
                    <a:lnTo>
                      <a:pt x="5937" y="9296"/>
                    </a:lnTo>
                    <a:cubicBezTo>
                      <a:pt x="5884" y="9248"/>
                      <a:pt x="5833" y="9199"/>
                      <a:pt x="5781" y="9151"/>
                    </a:cubicBezTo>
                    <a:lnTo>
                      <a:pt x="5479" y="8849"/>
                    </a:lnTo>
                    <a:lnTo>
                      <a:pt x="5204" y="8518"/>
                    </a:lnTo>
                    <a:lnTo>
                      <a:pt x="4943" y="8158"/>
                    </a:lnTo>
                    <a:cubicBezTo>
                      <a:pt x="4860" y="8028"/>
                      <a:pt x="4775" y="7899"/>
                      <a:pt x="4692" y="7769"/>
                    </a:cubicBezTo>
                    <a:cubicBezTo>
                      <a:pt x="4609" y="7636"/>
                      <a:pt x="4527" y="7501"/>
                      <a:pt x="4444" y="7367"/>
                    </a:cubicBezTo>
                    <a:lnTo>
                      <a:pt x="4221" y="6950"/>
                    </a:lnTo>
                    <a:lnTo>
                      <a:pt x="3999" y="6518"/>
                    </a:lnTo>
                    <a:cubicBezTo>
                      <a:pt x="3928" y="6369"/>
                      <a:pt x="3859" y="6221"/>
                      <a:pt x="3789" y="6072"/>
                    </a:cubicBezTo>
                    <a:lnTo>
                      <a:pt x="3382" y="5166"/>
                    </a:lnTo>
                    <a:lnTo>
                      <a:pt x="2622" y="3382"/>
                    </a:lnTo>
                    <a:cubicBezTo>
                      <a:pt x="2566" y="3232"/>
                      <a:pt x="2509" y="3085"/>
                      <a:pt x="2452" y="2935"/>
                    </a:cubicBezTo>
                    <a:cubicBezTo>
                      <a:pt x="2387" y="2801"/>
                      <a:pt x="2321" y="2667"/>
                      <a:pt x="2254" y="2532"/>
                    </a:cubicBezTo>
                    <a:cubicBezTo>
                      <a:pt x="2193" y="2413"/>
                      <a:pt x="2133" y="2293"/>
                      <a:pt x="2071" y="2173"/>
                    </a:cubicBezTo>
                    <a:cubicBezTo>
                      <a:pt x="2006" y="2048"/>
                      <a:pt x="1939" y="1924"/>
                      <a:pt x="1874" y="1799"/>
                    </a:cubicBezTo>
                    <a:lnTo>
                      <a:pt x="1679" y="1468"/>
                    </a:lnTo>
                    <a:lnTo>
                      <a:pt x="1482" y="1180"/>
                    </a:lnTo>
                    <a:lnTo>
                      <a:pt x="1273" y="908"/>
                    </a:lnTo>
                    <a:lnTo>
                      <a:pt x="1063" y="706"/>
                    </a:lnTo>
                    <a:cubicBezTo>
                      <a:pt x="1024" y="673"/>
                      <a:pt x="984" y="638"/>
                      <a:pt x="944" y="605"/>
                    </a:cubicBezTo>
                    <a:cubicBezTo>
                      <a:pt x="905" y="572"/>
                      <a:pt x="866" y="537"/>
                      <a:pt x="827" y="504"/>
                    </a:cubicBezTo>
                    <a:lnTo>
                      <a:pt x="708" y="447"/>
                    </a:lnTo>
                    <a:cubicBezTo>
                      <a:pt x="668" y="423"/>
                      <a:pt x="377" y="435"/>
                      <a:pt x="337" y="411"/>
                    </a:cubicBezTo>
                    <a:cubicBezTo>
                      <a:pt x="372" y="310"/>
                      <a:pt x="-32" y="101"/>
                      <a:pt x="3" y="0"/>
                    </a:cubicBezTo>
                    <a:lnTo>
                      <a:pt x="892" y="115"/>
                    </a:lnTo>
                    <a:lnTo>
                      <a:pt x="1076" y="187"/>
                    </a:lnTo>
                    <a:lnTo>
                      <a:pt x="1259" y="260"/>
                    </a:lnTo>
                    <a:cubicBezTo>
                      <a:pt x="1315" y="289"/>
                      <a:pt x="1373" y="317"/>
                      <a:pt x="1429" y="346"/>
                    </a:cubicBezTo>
                    <a:lnTo>
                      <a:pt x="1613" y="447"/>
                    </a:lnTo>
                    <a:lnTo>
                      <a:pt x="1771" y="533"/>
                    </a:lnTo>
                    <a:lnTo>
                      <a:pt x="1927" y="662"/>
                    </a:lnTo>
                    <a:cubicBezTo>
                      <a:pt x="1984" y="705"/>
                      <a:pt x="2040" y="749"/>
                      <a:pt x="2097" y="792"/>
                    </a:cubicBezTo>
                    <a:lnTo>
                      <a:pt x="2254" y="922"/>
                    </a:lnTo>
                    <a:lnTo>
                      <a:pt x="2557" y="1209"/>
                    </a:lnTo>
                    <a:lnTo>
                      <a:pt x="2832" y="1554"/>
                    </a:lnTo>
                    <a:lnTo>
                      <a:pt x="3093" y="1914"/>
                    </a:lnTo>
                    <a:cubicBezTo>
                      <a:pt x="3176" y="2044"/>
                      <a:pt x="3260" y="2173"/>
                      <a:pt x="3343" y="2303"/>
                    </a:cubicBezTo>
                    <a:lnTo>
                      <a:pt x="3592" y="2706"/>
                    </a:lnTo>
                    <a:lnTo>
                      <a:pt x="3815" y="3123"/>
                    </a:lnTo>
                    <a:cubicBezTo>
                      <a:pt x="3894" y="3266"/>
                      <a:pt x="3972" y="3411"/>
                      <a:pt x="4051" y="3555"/>
                    </a:cubicBezTo>
                    <a:cubicBezTo>
                      <a:pt x="4120" y="3703"/>
                      <a:pt x="4191" y="3852"/>
                      <a:pt x="4260" y="3999"/>
                    </a:cubicBezTo>
                    <a:lnTo>
                      <a:pt x="4652" y="4906"/>
                    </a:lnTo>
                    <a:lnTo>
                      <a:pt x="5426" y="6705"/>
                    </a:lnTo>
                    <a:cubicBezTo>
                      <a:pt x="5549" y="6983"/>
                      <a:pt x="5671" y="7262"/>
                      <a:pt x="5793" y="7540"/>
                    </a:cubicBezTo>
                    <a:lnTo>
                      <a:pt x="5989" y="7900"/>
                    </a:lnTo>
                    <a:cubicBezTo>
                      <a:pt x="6050" y="8024"/>
                      <a:pt x="6113" y="8149"/>
                      <a:pt x="6175" y="8273"/>
                    </a:cubicBezTo>
                    <a:cubicBezTo>
                      <a:pt x="6244" y="8384"/>
                      <a:pt x="6314" y="8493"/>
                      <a:pt x="6383" y="8605"/>
                    </a:cubicBezTo>
                    <a:cubicBezTo>
                      <a:pt x="6448" y="8701"/>
                      <a:pt x="6515" y="8797"/>
                      <a:pt x="6580" y="8893"/>
                    </a:cubicBezTo>
                    <a:cubicBezTo>
                      <a:pt x="6645" y="8984"/>
                      <a:pt x="6711" y="9074"/>
                      <a:pt x="6776" y="9165"/>
                    </a:cubicBezTo>
                    <a:lnTo>
                      <a:pt x="6998" y="9367"/>
                    </a:lnTo>
                    <a:cubicBezTo>
                      <a:pt x="7038" y="9400"/>
                      <a:pt x="7078" y="9434"/>
                      <a:pt x="7117" y="9467"/>
                    </a:cubicBezTo>
                    <a:lnTo>
                      <a:pt x="7221" y="9569"/>
                    </a:lnTo>
                    <a:lnTo>
                      <a:pt x="7340" y="9626"/>
                    </a:lnTo>
                    <a:lnTo>
                      <a:pt x="7459" y="9698"/>
                    </a:lnTo>
                    <a:lnTo>
                      <a:pt x="7576" y="9741"/>
                    </a:lnTo>
                    <a:lnTo>
                      <a:pt x="7707" y="9770"/>
                    </a:lnTo>
                    <a:lnTo>
                      <a:pt x="7839" y="9813"/>
                    </a:lnTo>
                    <a:lnTo>
                      <a:pt x="7956" y="98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626133C1-8CC4-4840-BFDF-493321278CEA}"/>
                  </a:ext>
                </a:extLst>
              </p:cNvPr>
              <p:cNvGrpSpPr/>
              <p:nvPr/>
            </p:nvGrpSpPr>
            <p:grpSpPr>
              <a:xfrm>
                <a:off x="7912528" y="4792580"/>
                <a:ext cx="526702" cy="640181"/>
                <a:chOff x="-1864887" y="741508"/>
                <a:chExt cx="274422" cy="473135"/>
              </a:xfrm>
              <a:grpFill/>
            </p:grpSpPr>
            <p:sp>
              <p:nvSpPr>
                <p:cNvPr id="75" name="Rectangle 4098">
                  <a:extLst>
                    <a:ext uri="{FF2B5EF4-FFF2-40B4-BE49-F238E27FC236}">
                      <a16:creationId xmlns:a16="http://schemas.microsoft.com/office/drawing/2014/main" id="{266985CA-EFF5-48FF-9D9C-726CAAE003D0}"/>
                    </a:ext>
                  </a:extLst>
                </p:cNvPr>
                <p:cNvSpPr/>
                <p:nvPr/>
              </p:nvSpPr>
              <p:spPr bwMode="auto">
                <a:xfrm>
                  <a:off x="-1785605" y="781051"/>
                  <a:ext cx="36576" cy="433592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3592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33592"/>
                      </a:lnTo>
                      <a:cubicBezTo>
                        <a:pt x="-564" y="287474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Rectangle 68">
                  <a:extLst>
                    <a:ext uri="{FF2B5EF4-FFF2-40B4-BE49-F238E27FC236}">
                      <a16:creationId xmlns:a16="http://schemas.microsoft.com/office/drawing/2014/main" id="{017F2A64-7390-4B6F-813D-A3DEFC80FFA9}"/>
                    </a:ext>
                  </a:extLst>
                </p:cNvPr>
                <p:cNvSpPr/>
                <p:nvPr/>
              </p:nvSpPr>
              <p:spPr bwMode="auto">
                <a:xfrm>
                  <a:off x="-1706323" y="741508"/>
                  <a:ext cx="36576" cy="431211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38575 w 45719"/>
                    <a:gd name="connsiteY2" fmla="*/ 402636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719" h="431211">
                      <a:moveTo>
                        <a:pt x="0" y="0"/>
                      </a:moveTo>
                      <a:lnTo>
                        <a:pt x="45719" y="0"/>
                      </a:lnTo>
                      <a:lnTo>
                        <a:pt x="38575" y="402636"/>
                      </a:lnTo>
                      <a:lnTo>
                        <a:pt x="0" y="4312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Rectangle 4098">
                  <a:extLst>
                    <a:ext uri="{FF2B5EF4-FFF2-40B4-BE49-F238E27FC236}">
                      <a16:creationId xmlns:a16="http://schemas.microsoft.com/office/drawing/2014/main" id="{6499D8C3-C11F-49DA-ACF1-3500EAD07EA6}"/>
                    </a:ext>
                  </a:extLst>
                </p:cNvPr>
                <p:cNvSpPr/>
                <p:nvPr/>
              </p:nvSpPr>
              <p:spPr bwMode="auto">
                <a:xfrm>
                  <a:off x="-1864887" y="886653"/>
                  <a:ext cx="36576" cy="323820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Rectangle 4098">
                  <a:extLst>
                    <a:ext uri="{FF2B5EF4-FFF2-40B4-BE49-F238E27FC236}">
                      <a16:creationId xmlns:a16="http://schemas.microsoft.com/office/drawing/2014/main" id="{8824F18C-8637-455C-A0D7-5AAABD374C23}"/>
                    </a:ext>
                  </a:extLst>
                </p:cNvPr>
                <p:cNvSpPr/>
                <p:nvPr/>
              </p:nvSpPr>
              <p:spPr bwMode="auto">
                <a:xfrm>
                  <a:off x="-1627041" y="743223"/>
                  <a:ext cx="36576" cy="274826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  <a:gd name="connsiteX0" fmla="*/ 229 w 41186"/>
                    <a:gd name="connsiteY0" fmla="*/ 0 h 462893"/>
                    <a:gd name="connsiteX1" fmla="*/ 41186 w 41186"/>
                    <a:gd name="connsiteY1" fmla="*/ 31682 h 462893"/>
                    <a:gd name="connsiteX2" fmla="*/ 41186 w 41186"/>
                    <a:gd name="connsiteY2" fmla="*/ 462893 h 462893"/>
                    <a:gd name="connsiteX3" fmla="*/ 230 w 41186"/>
                    <a:gd name="connsiteY3" fmla="*/ 439906 h 462893"/>
                    <a:gd name="connsiteX4" fmla="*/ 229 w 41186"/>
                    <a:gd name="connsiteY4" fmla="*/ 0 h 462893"/>
                    <a:gd name="connsiteX0" fmla="*/ 229 w 41186"/>
                    <a:gd name="connsiteY0" fmla="*/ 0 h 465017"/>
                    <a:gd name="connsiteX1" fmla="*/ 41186 w 41186"/>
                    <a:gd name="connsiteY1" fmla="*/ 31682 h 465017"/>
                    <a:gd name="connsiteX2" fmla="*/ 41186 w 41186"/>
                    <a:gd name="connsiteY2" fmla="*/ 462893 h 465017"/>
                    <a:gd name="connsiteX3" fmla="*/ 230 w 41186"/>
                    <a:gd name="connsiteY3" fmla="*/ 465017 h 465017"/>
                    <a:gd name="connsiteX4" fmla="*/ 229 w 41186"/>
                    <a:gd name="connsiteY4" fmla="*/ 0 h 465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65017">
                      <a:moveTo>
                        <a:pt x="229" y="0"/>
                      </a:moveTo>
                      <a:lnTo>
                        <a:pt x="41186" y="31682"/>
                      </a:lnTo>
                      <a:lnTo>
                        <a:pt x="41186" y="462893"/>
                      </a:lnTo>
                      <a:lnTo>
                        <a:pt x="230" y="465017"/>
                      </a:lnTo>
                      <a:cubicBezTo>
                        <a:pt x="-564" y="318899"/>
                        <a:pt x="1023" y="146118"/>
                        <a:pt x="22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F63948AE-5797-40CC-A597-B664C99229CA}"/>
                  </a:ext>
                </a:extLst>
              </p:cNvPr>
              <p:cNvGrpSpPr/>
              <p:nvPr/>
            </p:nvGrpSpPr>
            <p:grpSpPr>
              <a:xfrm>
                <a:off x="7066354" y="4765421"/>
                <a:ext cx="509407" cy="672315"/>
                <a:chOff x="-2308678" y="726689"/>
                <a:chExt cx="265411" cy="496885"/>
              </a:xfrm>
              <a:grpFill/>
            </p:grpSpPr>
            <p:sp>
              <p:nvSpPr>
                <p:cNvPr id="71" name="Rectangle 4098">
                  <a:extLst>
                    <a:ext uri="{FF2B5EF4-FFF2-40B4-BE49-F238E27FC236}">
                      <a16:creationId xmlns:a16="http://schemas.microsoft.com/office/drawing/2014/main" id="{24CC387F-4685-4F00-BF49-AEA04C8DD396}"/>
                    </a:ext>
                  </a:extLst>
                </p:cNvPr>
                <p:cNvSpPr/>
                <p:nvPr/>
              </p:nvSpPr>
              <p:spPr bwMode="auto">
                <a:xfrm>
                  <a:off x="-2233453" y="726689"/>
                  <a:ext cx="36461" cy="47883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376442 h 431211"/>
                    <a:gd name="connsiteX4" fmla="*/ 229 w 41186"/>
                    <a:gd name="connsiteY4" fmla="*/ 16669 h 431211"/>
                    <a:gd name="connsiteX0" fmla="*/ 2779 w 41055"/>
                    <a:gd name="connsiteY0" fmla="*/ 0 h 478836"/>
                    <a:gd name="connsiteX1" fmla="*/ 41055 w 41055"/>
                    <a:gd name="connsiteY1" fmla="*/ 47625 h 478836"/>
                    <a:gd name="connsiteX2" fmla="*/ 41055 w 41055"/>
                    <a:gd name="connsiteY2" fmla="*/ 478836 h 478836"/>
                    <a:gd name="connsiteX3" fmla="*/ 99 w 41055"/>
                    <a:gd name="connsiteY3" fmla="*/ 424067 h 478836"/>
                    <a:gd name="connsiteX4" fmla="*/ 2779 w 41055"/>
                    <a:gd name="connsiteY4" fmla="*/ 0 h 478836"/>
                    <a:gd name="connsiteX0" fmla="*/ 2779 w 41055"/>
                    <a:gd name="connsiteY0" fmla="*/ 0 h 478836"/>
                    <a:gd name="connsiteX1" fmla="*/ 41055 w 41055"/>
                    <a:gd name="connsiteY1" fmla="*/ 9525 h 478836"/>
                    <a:gd name="connsiteX2" fmla="*/ 41055 w 41055"/>
                    <a:gd name="connsiteY2" fmla="*/ 478836 h 478836"/>
                    <a:gd name="connsiteX3" fmla="*/ 99 w 41055"/>
                    <a:gd name="connsiteY3" fmla="*/ 424067 h 478836"/>
                    <a:gd name="connsiteX4" fmla="*/ 2779 w 41055"/>
                    <a:gd name="connsiteY4" fmla="*/ 0 h 4788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055" h="478836">
                      <a:moveTo>
                        <a:pt x="2779" y="0"/>
                      </a:moveTo>
                      <a:lnTo>
                        <a:pt x="41055" y="9525"/>
                      </a:lnTo>
                      <a:lnTo>
                        <a:pt x="41055" y="478836"/>
                      </a:lnTo>
                      <a:lnTo>
                        <a:pt x="99" y="424067"/>
                      </a:lnTo>
                      <a:cubicBezTo>
                        <a:pt x="-695" y="277949"/>
                        <a:pt x="3573" y="146118"/>
                        <a:pt x="277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Rectangle 68">
                  <a:extLst>
                    <a:ext uri="{FF2B5EF4-FFF2-40B4-BE49-F238E27FC236}">
                      <a16:creationId xmlns:a16="http://schemas.microsoft.com/office/drawing/2014/main" id="{96047718-DF9C-4332-9527-FA4EA3DCDA27}"/>
                    </a:ext>
                  </a:extLst>
                </p:cNvPr>
                <p:cNvSpPr/>
                <p:nvPr/>
              </p:nvSpPr>
              <p:spPr bwMode="auto">
                <a:xfrm>
                  <a:off x="-2158346" y="753823"/>
                  <a:ext cx="39854" cy="469751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38575 w 45719"/>
                    <a:gd name="connsiteY2" fmla="*/ 402636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5015"/>
                    <a:gd name="connsiteX1" fmla="*/ 45719 w 45719"/>
                    <a:gd name="connsiteY1" fmla="*/ 0 h 435015"/>
                    <a:gd name="connsiteX2" fmla="*/ 34369 w 45719"/>
                    <a:gd name="connsiteY2" fmla="*/ 435015 h 435015"/>
                    <a:gd name="connsiteX3" fmla="*/ 0 w 45719"/>
                    <a:gd name="connsiteY3" fmla="*/ 431211 h 435015"/>
                    <a:gd name="connsiteX4" fmla="*/ 0 w 45719"/>
                    <a:gd name="connsiteY4" fmla="*/ 0 h 435015"/>
                    <a:gd name="connsiteX0" fmla="*/ 0 w 35203"/>
                    <a:gd name="connsiteY0" fmla="*/ 0 h 435015"/>
                    <a:gd name="connsiteX1" fmla="*/ 35203 w 35203"/>
                    <a:gd name="connsiteY1" fmla="*/ 28062 h 435015"/>
                    <a:gd name="connsiteX2" fmla="*/ 34369 w 35203"/>
                    <a:gd name="connsiteY2" fmla="*/ 435015 h 435015"/>
                    <a:gd name="connsiteX3" fmla="*/ 0 w 35203"/>
                    <a:gd name="connsiteY3" fmla="*/ 431211 h 435015"/>
                    <a:gd name="connsiteX4" fmla="*/ 0 w 35203"/>
                    <a:gd name="connsiteY4" fmla="*/ 0 h 435015"/>
                    <a:gd name="connsiteX0" fmla="*/ 4206 w 35203"/>
                    <a:gd name="connsiteY0" fmla="*/ 0 h 417747"/>
                    <a:gd name="connsiteX1" fmla="*/ 35203 w 35203"/>
                    <a:gd name="connsiteY1" fmla="*/ 10794 h 417747"/>
                    <a:gd name="connsiteX2" fmla="*/ 34369 w 35203"/>
                    <a:gd name="connsiteY2" fmla="*/ 417747 h 417747"/>
                    <a:gd name="connsiteX3" fmla="*/ 0 w 35203"/>
                    <a:gd name="connsiteY3" fmla="*/ 413943 h 417747"/>
                    <a:gd name="connsiteX4" fmla="*/ 4206 w 35203"/>
                    <a:gd name="connsiteY4" fmla="*/ 0 h 417747"/>
                    <a:gd name="connsiteX0" fmla="*/ 4206 w 35203"/>
                    <a:gd name="connsiteY0" fmla="*/ 0 h 425819"/>
                    <a:gd name="connsiteX1" fmla="*/ 35203 w 35203"/>
                    <a:gd name="connsiteY1" fmla="*/ 10794 h 425819"/>
                    <a:gd name="connsiteX2" fmla="*/ 33058 w 35203"/>
                    <a:gd name="connsiteY2" fmla="*/ 425819 h 425819"/>
                    <a:gd name="connsiteX3" fmla="*/ 0 w 35203"/>
                    <a:gd name="connsiteY3" fmla="*/ 413943 h 425819"/>
                    <a:gd name="connsiteX4" fmla="*/ 4206 w 35203"/>
                    <a:gd name="connsiteY4" fmla="*/ 0 h 425819"/>
                    <a:gd name="connsiteX0" fmla="*/ 4206 w 35203"/>
                    <a:gd name="connsiteY0" fmla="*/ 0 h 425819"/>
                    <a:gd name="connsiteX1" fmla="*/ 35203 w 35203"/>
                    <a:gd name="connsiteY1" fmla="*/ 20211 h 425819"/>
                    <a:gd name="connsiteX2" fmla="*/ 33058 w 35203"/>
                    <a:gd name="connsiteY2" fmla="*/ 425819 h 425819"/>
                    <a:gd name="connsiteX3" fmla="*/ 0 w 35203"/>
                    <a:gd name="connsiteY3" fmla="*/ 413943 h 425819"/>
                    <a:gd name="connsiteX4" fmla="*/ 4206 w 35203"/>
                    <a:gd name="connsiteY4" fmla="*/ 0 h 42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203" h="425819">
                      <a:moveTo>
                        <a:pt x="4206" y="0"/>
                      </a:moveTo>
                      <a:lnTo>
                        <a:pt x="35203" y="20211"/>
                      </a:lnTo>
                      <a:lnTo>
                        <a:pt x="33058" y="425819"/>
                      </a:lnTo>
                      <a:lnTo>
                        <a:pt x="0" y="413943"/>
                      </a:lnTo>
                      <a:lnTo>
                        <a:pt x="420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Rectangle 4098">
                  <a:extLst>
                    <a:ext uri="{FF2B5EF4-FFF2-40B4-BE49-F238E27FC236}">
                      <a16:creationId xmlns:a16="http://schemas.microsoft.com/office/drawing/2014/main" id="{B1BA7277-C047-4425-9AA5-B941235F1625}"/>
                    </a:ext>
                  </a:extLst>
                </p:cNvPr>
                <p:cNvSpPr/>
                <p:nvPr/>
              </p:nvSpPr>
              <p:spPr bwMode="auto">
                <a:xfrm>
                  <a:off x="-2308678" y="741806"/>
                  <a:ext cx="36576" cy="323820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tangle 4098">
                  <a:extLst>
                    <a:ext uri="{FF2B5EF4-FFF2-40B4-BE49-F238E27FC236}">
                      <a16:creationId xmlns:a16="http://schemas.microsoft.com/office/drawing/2014/main" id="{D3EDDD19-BCA6-4B4C-8AC9-935D55C7C123}"/>
                    </a:ext>
                  </a:extLst>
                </p:cNvPr>
                <p:cNvSpPr/>
                <p:nvPr/>
              </p:nvSpPr>
              <p:spPr bwMode="auto">
                <a:xfrm>
                  <a:off x="-2079843" y="855554"/>
                  <a:ext cx="36576" cy="360173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  <a:gd name="connsiteX0" fmla="*/ 229 w 41186"/>
                    <a:gd name="connsiteY0" fmla="*/ 0 h 462893"/>
                    <a:gd name="connsiteX1" fmla="*/ 41186 w 41186"/>
                    <a:gd name="connsiteY1" fmla="*/ 31682 h 462893"/>
                    <a:gd name="connsiteX2" fmla="*/ 41186 w 41186"/>
                    <a:gd name="connsiteY2" fmla="*/ 462893 h 462893"/>
                    <a:gd name="connsiteX3" fmla="*/ 230 w 41186"/>
                    <a:gd name="connsiteY3" fmla="*/ 439906 h 462893"/>
                    <a:gd name="connsiteX4" fmla="*/ 229 w 41186"/>
                    <a:gd name="connsiteY4" fmla="*/ 0 h 462893"/>
                    <a:gd name="connsiteX0" fmla="*/ 229 w 41186"/>
                    <a:gd name="connsiteY0" fmla="*/ 0 h 439906"/>
                    <a:gd name="connsiteX1" fmla="*/ 41186 w 41186"/>
                    <a:gd name="connsiteY1" fmla="*/ 31682 h 439906"/>
                    <a:gd name="connsiteX2" fmla="*/ 39040 w 41186"/>
                    <a:gd name="connsiteY2" fmla="*/ 436080 h 439906"/>
                    <a:gd name="connsiteX3" fmla="*/ 230 w 41186"/>
                    <a:gd name="connsiteY3" fmla="*/ 439906 h 439906"/>
                    <a:gd name="connsiteX4" fmla="*/ 229 w 41186"/>
                    <a:gd name="connsiteY4" fmla="*/ 0 h 439906"/>
                    <a:gd name="connsiteX0" fmla="*/ 229 w 41186"/>
                    <a:gd name="connsiteY0" fmla="*/ 0 h 460015"/>
                    <a:gd name="connsiteX1" fmla="*/ 41186 w 41186"/>
                    <a:gd name="connsiteY1" fmla="*/ 31682 h 460015"/>
                    <a:gd name="connsiteX2" fmla="*/ 39040 w 41186"/>
                    <a:gd name="connsiteY2" fmla="*/ 436080 h 460015"/>
                    <a:gd name="connsiteX3" fmla="*/ 230 w 41186"/>
                    <a:gd name="connsiteY3" fmla="*/ 460015 h 460015"/>
                    <a:gd name="connsiteX4" fmla="*/ 229 w 41186"/>
                    <a:gd name="connsiteY4" fmla="*/ 0 h 460015"/>
                    <a:gd name="connsiteX0" fmla="*/ 2257 w 41068"/>
                    <a:gd name="connsiteY0" fmla="*/ 0 h 506938"/>
                    <a:gd name="connsiteX1" fmla="*/ 41068 w 41068"/>
                    <a:gd name="connsiteY1" fmla="*/ 78605 h 506938"/>
                    <a:gd name="connsiteX2" fmla="*/ 38922 w 41068"/>
                    <a:gd name="connsiteY2" fmla="*/ 483003 h 506938"/>
                    <a:gd name="connsiteX3" fmla="*/ 112 w 41068"/>
                    <a:gd name="connsiteY3" fmla="*/ 506938 h 506938"/>
                    <a:gd name="connsiteX4" fmla="*/ 2257 w 41068"/>
                    <a:gd name="connsiteY4" fmla="*/ 0 h 506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068" h="506938">
                      <a:moveTo>
                        <a:pt x="2257" y="0"/>
                      </a:moveTo>
                      <a:lnTo>
                        <a:pt x="41068" y="78605"/>
                      </a:lnTo>
                      <a:cubicBezTo>
                        <a:pt x="40353" y="213404"/>
                        <a:pt x="39637" y="348204"/>
                        <a:pt x="38922" y="483003"/>
                      </a:cubicBezTo>
                      <a:lnTo>
                        <a:pt x="112" y="506938"/>
                      </a:lnTo>
                      <a:cubicBezTo>
                        <a:pt x="-682" y="360820"/>
                        <a:pt x="3051" y="146118"/>
                        <a:pt x="225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0" name="Rectangle 4098">
                <a:extLst>
                  <a:ext uri="{FF2B5EF4-FFF2-40B4-BE49-F238E27FC236}">
                    <a16:creationId xmlns:a16="http://schemas.microsoft.com/office/drawing/2014/main" id="{94145C72-6E1A-4DD9-AD0F-03E05EEEA7AC}"/>
                  </a:ext>
                </a:extLst>
              </p:cNvPr>
              <p:cNvSpPr/>
              <p:nvPr/>
            </p:nvSpPr>
            <p:spPr bwMode="auto">
              <a:xfrm>
                <a:off x="8738635" y="4799880"/>
                <a:ext cx="70201" cy="43814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2B081CD-8BEE-49F7-8AC8-F24147B9B405}"/>
                </a:ext>
              </a:extLst>
            </p:cNvPr>
            <p:cNvSpPr/>
            <p:nvPr/>
          </p:nvSpPr>
          <p:spPr bwMode="auto">
            <a:xfrm>
              <a:off x="8068101" y="5392335"/>
              <a:ext cx="240470" cy="334018"/>
            </a:xfrm>
            <a:custGeom>
              <a:avLst/>
              <a:gdLst>
                <a:gd name="connsiteX0" fmla="*/ 188056 w 240470"/>
                <a:gd name="connsiteY0" fmla="*/ 0 h 334018"/>
                <a:gd name="connsiteX1" fmla="*/ 213083 w 240470"/>
                <a:gd name="connsiteY1" fmla="*/ 53554 h 334018"/>
                <a:gd name="connsiteX2" fmla="*/ 240470 w 240470"/>
                <a:gd name="connsiteY2" fmla="*/ 110376 h 334018"/>
                <a:gd name="connsiteX3" fmla="*/ 185055 w 240470"/>
                <a:gd name="connsiteY3" fmla="*/ 169998 h 334018"/>
                <a:gd name="connsiteX4" fmla="*/ 155845 w 240470"/>
                <a:gd name="connsiteY4" fmla="*/ 200594 h 334018"/>
                <a:gd name="connsiteX5" fmla="*/ 126893 w 240470"/>
                <a:gd name="connsiteY5" fmla="*/ 229255 h 334018"/>
                <a:gd name="connsiteX6" fmla="*/ 96440 w 240470"/>
                <a:gd name="connsiteY6" fmla="*/ 258702 h 334018"/>
                <a:gd name="connsiteX7" fmla="*/ 64998 w 240470"/>
                <a:gd name="connsiteY7" fmla="*/ 285062 h 334018"/>
                <a:gd name="connsiteX8" fmla="*/ 32312 w 240470"/>
                <a:gd name="connsiteY8" fmla="*/ 310273 h 334018"/>
                <a:gd name="connsiteX9" fmla="*/ 0 w 240470"/>
                <a:gd name="connsiteY9" fmla="*/ 334018 h 334018"/>
                <a:gd name="connsiteX10" fmla="*/ 0 w 240470"/>
                <a:gd name="connsiteY10" fmla="*/ 193589 h 334018"/>
                <a:gd name="connsiteX11" fmla="*/ 51187 w 240470"/>
                <a:gd name="connsiteY11" fmla="*/ 136472 h 334018"/>
                <a:gd name="connsiteX12" fmla="*/ 85157 w 240470"/>
                <a:gd name="connsiteY12" fmla="*/ 101583 h 334018"/>
                <a:gd name="connsiteX13" fmla="*/ 117626 w 240470"/>
                <a:gd name="connsiteY13" fmla="*/ 67479 h 334018"/>
                <a:gd name="connsiteX14" fmla="*/ 151596 w 240470"/>
                <a:gd name="connsiteY14" fmla="*/ 32589 h 334018"/>
                <a:gd name="connsiteX15" fmla="*/ 188056 w 240470"/>
                <a:gd name="connsiteY15" fmla="*/ 0 h 334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470" h="334018">
                  <a:moveTo>
                    <a:pt x="188056" y="0"/>
                  </a:moveTo>
                  <a:lnTo>
                    <a:pt x="213083" y="53554"/>
                  </a:lnTo>
                  <a:lnTo>
                    <a:pt x="240470" y="110376"/>
                  </a:lnTo>
                  <a:lnTo>
                    <a:pt x="185055" y="169998"/>
                  </a:lnTo>
                  <a:lnTo>
                    <a:pt x="155845" y="200594"/>
                  </a:lnTo>
                  <a:lnTo>
                    <a:pt x="126893" y="229255"/>
                  </a:lnTo>
                  <a:lnTo>
                    <a:pt x="96440" y="258702"/>
                  </a:lnTo>
                  <a:lnTo>
                    <a:pt x="64998" y="285062"/>
                  </a:lnTo>
                  <a:lnTo>
                    <a:pt x="32312" y="310273"/>
                  </a:lnTo>
                  <a:lnTo>
                    <a:pt x="0" y="334018"/>
                  </a:lnTo>
                  <a:lnTo>
                    <a:pt x="0" y="193589"/>
                  </a:lnTo>
                  <a:lnTo>
                    <a:pt x="51187" y="136472"/>
                  </a:lnTo>
                  <a:lnTo>
                    <a:pt x="85157" y="101583"/>
                  </a:lnTo>
                  <a:lnTo>
                    <a:pt x="117626" y="67479"/>
                  </a:lnTo>
                  <a:lnTo>
                    <a:pt x="151596" y="32589"/>
                  </a:lnTo>
                  <a:lnTo>
                    <a:pt x="188056" y="0"/>
                  </a:lnTo>
                  <a:close/>
                </a:path>
              </a:pathLst>
            </a:cu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9" name="Lightning Bolt 78">
            <a:extLst>
              <a:ext uri="{FF2B5EF4-FFF2-40B4-BE49-F238E27FC236}">
                <a16:creationId xmlns:a16="http://schemas.microsoft.com/office/drawing/2014/main" id="{A0940EF2-C373-4705-9B73-733D29E43F0C}"/>
              </a:ext>
            </a:extLst>
          </p:cNvPr>
          <p:cNvSpPr/>
          <p:nvPr/>
        </p:nvSpPr>
        <p:spPr>
          <a:xfrm rot="3934600">
            <a:off x="2551391" y="1692831"/>
            <a:ext cx="567711" cy="771830"/>
          </a:xfrm>
          <a:prstGeom prst="lightningBol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Lightning Bolt 79">
            <a:extLst>
              <a:ext uri="{FF2B5EF4-FFF2-40B4-BE49-F238E27FC236}">
                <a16:creationId xmlns:a16="http://schemas.microsoft.com/office/drawing/2014/main" id="{B4AF8A5F-1CD5-4BF9-9346-E268390C1DC6}"/>
              </a:ext>
            </a:extLst>
          </p:cNvPr>
          <p:cNvSpPr/>
          <p:nvPr/>
        </p:nvSpPr>
        <p:spPr>
          <a:xfrm rot="3934600">
            <a:off x="7957590" y="1692831"/>
            <a:ext cx="567711" cy="771830"/>
          </a:xfrm>
          <a:prstGeom prst="lightningBol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682D4F81-7AB8-4571-9B11-75960D0366A6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84" name="Picture 9">
              <a:extLst>
                <a:ext uri="{FF2B5EF4-FFF2-40B4-BE49-F238E27FC236}">
                  <a16:creationId xmlns:a16="http://schemas.microsoft.com/office/drawing/2014/main" id="{77A75606-6F4F-4DA4-819A-5A3C1B6891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EDBEE481-18F1-4FB4-BA34-D91A913B2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6" name="Text Box 11">
            <a:extLst>
              <a:ext uri="{FF2B5EF4-FFF2-40B4-BE49-F238E27FC236}">
                <a16:creationId xmlns:a16="http://schemas.microsoft.com/office/drawing/2014/main" id="{D89E1DB1-1843-4C5A-BAD9-4EED7ADF24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76504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</p:spTree>
    <p:extLst>
      <p:ext uri="{BB962C8B-B14F-4D97-AF65-F5344CB8AC3E}">
        <p14:creationId xmlns:p14="http://schemas.microsoft.com/office/powerpoint/2010/main" val="3660243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>
            <a:extLst>
              <a:ext uri="{FF2B5EF4-FFF2-40B4-BE49-F238E27FC236}">
                <a16:creationId xmlns:a16="http://schemas.microsoft.com/office/drawing/2014/main" id="{B23A3041-2ED0-4ECF-8A58-77DB84B0158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8" y="238127"/>
            <a:ext cx="11048841" cy="1103313"/>
          </a:xfrm>
        </p:spPr>
        <p:txBody>
          <a:bodyPr/>
          <a:lstStyle/>
          <a:p>
            <a:r>
              <a:rPr lang="en-US" sz="3400" dirty="0"/>
              <a:t>Key DNA Repair Pathways for Single-Stranded DNA Damage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8C97107-E7DD-4930-AB84-4A3C686F88AC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400"/>
              </a:spcBef>
            </a:pPr>
            <a:r>
              <a:rPr lang="en-US" sz="2200" dirty="0"/>
              <a:t>Mismatch repair (MMR)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Fixes wrong bases, small insertions/deletions occurring during normal DNA replication </a:t>
            </a:r>
          </a:p>
          <a:p>
            <a:pPr lvl="1">
              <a:spcBef>
                <a:spcPts val="400"/>
              </a:spcBef>
            </a:pPr>
            <a:r>
              <a:rPr lang="en-US" sz="2000" i="1" dirty="0"/>
              <a:t>MSH2, MSH6, MLH1, PMS2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Failure leads to hypermutation</a:t>
            </a:r>
          </a:p>
          <a:p>
            <a:pPr>
              <a:spcBef>
                <a:spcPts val="400"/>
              </a:spcBef>
            </a:pPr>
            <a:r>
              <a:rPr lang="en-US" sz="2200" dirty="0"/>
              <a:t>Nucleotide excision repair (NER)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Removes bulky DNA lesions such as those generated by UV light: cyclobutane pyrimidine dimers and pyrimidine-pyrimidone photoproducts (6-4 PPs)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 </a:t>
            </a:r>
            <a:r>
              <a:rPr lang="en-US" sz="2000" i="1" dirty="0"/>
              <a:t>XPA-G, ERCC1-8, CSA/B, RPA, RAD23A/B, ATR</a:t>
            </a:r>
          </a:p>
          <a:p>
            <a:pPr>
              <a:spcBef>
                <a:spcPts val="400"/>
              </a:spcBef>
            </a:pPr>
            <a:r>
              <a:rPr lang="en-US" sz="2200" dirty="0"/>
              <a:t>Single-stranded break repair (SSBR)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Rejoins broken strands</a:t>
            </a:r>
          </a:p>
          <a:p>
            <a:pPr lvl="1">
              <a:spcBef>
                <a:spcPts val="400"/>
              </a:spcBef>
            </a:pPr>
            <a:r>
              <a:rPr lang="en-US" sz="2000" dirty="0"/>
              <a:t>Activated during base excision repair (BER)</a:t>
            </a:r>
          </a:p>
          <a:p>
            <a:pPr lvl="1">
              <a:spcBef>
                <a:spcPts val="400"/>
              </a:spcBef>
            </a:pPr>
            <a:r>
              <a:rPr lang="en-US" sz="2000" b="1" i="1" dirty="0">
                <a:solidFill>
                  <a:schemeClr val="accent3"/>
                </a:solidFill>
              </a:rPr>
              <a:t>PARP1</a:t>
            </a:r>
            <a:r>
              <a:rPr lang="en-US" sz="2000" b="1" dirty="0"/>
              <a:t>, </a:t>
            </a:r>
            <a:r>
              <a:rPr lang="en-US" sz="2000" i="1" dirty="0"/>
              <a:t>POLB, XRCC1, ATR, MUTYH</a:t>
            </a:r>
          </a:p>
        </p:txBody>
      </p:sp>
      <p:sp>
        <p:nvSpPr>
          <p:cNvPr id="14" name="Text Box 11">
            <a:extLst>
              <a:ext uri="{FF2B5EF4-FFF2-40B4-BE49-F238E27FC236}">
                <a16:creationId xmlns:a16="http://schemas.microsoft.com/office/drawing/2014/main" id="{CF16F91B-EB14-46D4-9DE1-985F8243C6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85740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teo. Euro Urol. 2017;71:417.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347ECE6-1215-422B-B5FD-52414597384A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6" name="Picture 9">
              <a:extLst>
                <a:ext uri="{FF2B5EF4-FFF2-40B4-BE49-F238E27FC236}">
                  <a16:creationId xmlns:a16="http://schemas.microsoft.com/office/drawing/2014/main" id="{B09B7148-2E7D-487C-91F7-AC46AA786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tangle 8">
              <a:extLst>
                <a:ext uri="{FF2B5EF4-FFF2-40B4-BE49-F238E27FC236}">
                  <a16:creationId xmlns:a16="http://schemas.microsoft.com/office/drawing/2014/main" id="{86BC84C9-873C-4125-8312-4B4118CC4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0058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2">
            <a:extLst>
              <a:ext uri="{FF2B5EF4-FFF2-40B4-BE49-F238E27FC236}">
                <a16:creationId xmlns:a16="http://schemas.microsoft.com/office/drawing/2014/main" id="{C9BCA766-BEE5-4293-9ED5-9CD5F1C3A1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1131627" cy="1103313"/>
          </a:xfrm>
        </p:spPr>
        <p:txBody>
          <a:bodyPr/>
          <a:lstStyle/>
          <a:p>
            <a:r>
              <a:rPr lang="en-US" sz="3400" dirty="0"/>
              <a:t>Key DNA Repair Pathways for Double-Stranded DNA Breaks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72F47DA-68F9-4456-B54F-F5AFC3DFC81F}"/>
              </a:ext>
            </a:extLst>
          </p:cNvPr>
          <p:cNvCxnSpPr/>
          <p:nvPr/>
        </p:nvCxnSpPr>
        <p:spPr>
          <a:xfrm flipV="1">
            <a:off x="2520400" y="4626364"/>
            <a:ext cx="225087" cy="45720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22DCB9E-291D-4E51-B370-E5442B1F0649}"/>
              </a:ext>
            </a:extLst>
          </p:cNvPr>
          <p:cNvCxnSpPr/>
          <p:nvPr/>
        </p:nvCxnSpPr>
        <p:spPr>
          <a:xfrm>
            <a:off x="4909935" y="14917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0C8E0AE-1AF8-40F2-9952-5D2CEDF10780}"/>
              </a:ext>
            </a:extLst>
          </p:cNvPr>
          <p:cNvCxnSpPr/>
          <p:nvPr/>
        </p:nvCxnSpPr>
        <p:spPr>
          <a:xfrm>
            <a:off x="4909935" y="16441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ECB44B7-CB10-41BA-B621-0C0F2FD80EE6}"/>
              </a:ext>
            </a:extLst>
          </p:cNvPr>
          <p:cNvCxnSpPr/>
          <p:nvPr/>
        </p:nvCxnSpPr>
        <p:spPr>
          <a:xfrm>
            <a:off x="6205335" y="14917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A168FA4-651E-4256-835F-E5155D22C3DE}"/>
              </a:ext>
            </a:extLst>
          </p:cNvPr>
          <p:cNvCxnSpPr/>
          <p:nvPr/>
        </p:nvCxnSpPr>
        <p:spPr>
          <a:xfrm>
            <a:off x="6205335" y="16441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Lightning Bolt 111">
            <a:extLst>
              <a:ext uri="{FF2B5EF4-FFF2-40B4-BE49-F238E27FC236}">
                <a16:creationId xmlns:a16="http://schemas.microsoft.com/office/drawing/2014/main" id="{B5558A18-7B81-469C-9926-D33BFFC6A13C}"/>
              </a:ext>
            </a:extLst>
          </p:cNvPr>
          <p:cNvSpPr/>
          <p:nvPr/>
        </p:nvSpPr>
        <p:spPr>
          <a:xfrm rot="21119913" flipH="1">
            <a:off x="5979218" y="1168298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8EA0A4B2-8F74-4EAC-8170-78654C98AA02}"/>
              </a:ext>
            </a:extLst>
          </p:cNvPr>
          <p:cNvSpPr txBox="1"/>
          <p:nvPr/>
        </p:nvSpPr>
        <p:spPr>
          <a:xfrm>
            <a:off x="1018472" y="2310175"/>
            <a:ext cx="32654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1 blocks 53BP1,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 complex resects ends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15F4F81-9348-4A05-989C-CA5ED94066C5}"/>
              </a:ext>
            </a:extLst>
          </p:cNvPr>
          <p:cNvSpPr txBox="1"/>
          <p:nvPr/>
        </p:nvSpPr>
        <p:spPr>
          <a:xfrm>
            <a:off x="8119395" y="2310175"/>
            <a:ext cx="29530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 keeps MRE11 aw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 free end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3657392-618C-46D1-9A62-8653C8BA8E06}"/>
              </a:ext>
            </a:extLst>
          </p:cNvPr>
          <p:cNvSpPr txBox="1"/>
          <p:nvPr/>
        </p:nvSpPr>
        <p:spPr>
          <a:xfrm>
            <a:off x="7689694" y="1778031"/>
            <a:ext cx="38124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homologous End Joining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D6C660DF-ADEB-4CD6-95A0-142EBCE9B107}"/>
              </a:ext>
            </a:extLst>
          </p:cNvPr>
          <p:cNvCxnSpPr/>
          <p:nvPr/>
        </p:nvCxnSpPr>
        <p:spPr>
          <a:xfrm>
            <a:off x="8328095" y="34649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597C93F9-912C-406D-9A75-580F20FB3ED0}"/>
              </a:ext>
            </a:extLst>
          </p:cNvPr>
          <p:cNvCxnSpPr/>
          <p:nvPr/>
        </p:nvCxnSpPr>
        <p:spPr>
          <a:xfrm>
            <a:off x="8328095" y="36173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A118CAA-4278-4475-91D9-A46EB7C4F692}"/>
              </a:ext>
            </a:extLst>
          </p:cNvPr>
          <p:cNvCxnSpPr/>
          <p:nvPr/>
        </p:nvCxnSpPr>
        <p:spPr>
          <a:xfrm>
            <a:off x="9799957" y="34649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E90A9D0-F485-44C7-96BD-56B29FAC11B4}"/>
              </a:ext>
            </a:extLst>
          </p:cNvPr>
          <p:cNvCxnSpPr/>
          <p:nvPr/>
        </p:nvCxnSpPr>
        <p:spPr>
          <a:xfrm>
            <a:off x="9799957" y="36173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1A045D6-F28A-4BB8-9F26-8C6008754D51}"/>
              </a:ext>
            </a:extLst>
          </p:cNvPr>
          <p:cNvSpPr txBox="1"/>
          <p:nvPr/>
        </p:nvSpPr>
        <p:spPr>
          <a:xfrm>
            <a:off x="8469683" y="3885163"/>
            <a:ext cx="22524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s chewed back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ued together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02A403AC-0FCA-4915-855F-D325794BC6D5}"/>
              </a:ext>
            </a:extLst>
          </p:cNvPr>
          <p:cNvSpPr txBox="1"/>
          <p:nvPr/>
        </p:nvSpPr>
        <p:spPr>
          <a:xfrm>
            <a:off x="751156" y="1778031"/>
            <a:ext cx="380007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mologous Recombination</a:t>
            </a:r>
          </a:p>
        </p:txBody>
      </p: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2A54FB1D-ADB6-41A1-A9A7-FBE6446BC4AA}"/>
              </a:ext>
            </a:extLst>
          </p:cNvPr>
          <p:cNvCxnSpPr/>
          <p:nvPr/>
        </p:nvCxnSpPr>
        <p:spPr>
          <a:xfrm>
            <a:off x="6129135" y="1796541"/>
            <a:ext cx="114300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454B552A-9BEA-4953-B629-9996A78EB81D}"/>
              </a:ext>
            </a:extLst>
          </p:cNvPr>
          <p:cNvCxnSpPr/>
          <p:nvPr/>
        </p:nvCxnSpPr>
        <p:spPr>
          <a:xfrm flipH="1">
            <a:off x="4986135" y="1796541"/>
            <a:ext cx="114300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15584CE3-2669-4AC0-BD74-F6D7988E2101}"/>
              </a:ext>
            </a:extLst>
          </p:cNvPr>
          <p:cNvCxnSpPr/>
          <p:nvPr/>
        </p:nvCxnSpPr>
        <p:spPr>
          <a:xfrm>
            <a:off x="1371433" y="3187288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4EBC91C-2726-43F3-8F18-747E04E392BD}"/>
              </a:ext>
            </a:extLst>
          </p:cNvPr>
          <p:cNvCxnSpPr/>
          <p:nvPr/>
        </p:nvCxnSpPr>
        <p:spPr>
          <a:xfrm>
            <a:off x="1371433" y="33396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CC596ACA-4CAE-4B56-B6CC-9FC84DF769A7}"/>
              </a:ext>
            </a:extLst>
          </p:cNvPr>
          <p:cNvCxnSpPr/>
          <p:nvPr/>
        </p:nvCxnSpPr>
        <p:spPr>
          <a:xfrm>
            <a:off x="3124033" y="31872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BC693A94-FEC4-4F0E-B326-A1A689E85BAD}"/>
              </a:ext>
            </a:extLst>
          </p:cNvPr>
          <p:cNvCxnSpPr/>
          <p:nvPr/>
        </p:nvCxnSpPr>
        <p:spPr>
          <a:xfrm>
            <a:off x="2666833" y="3339688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73C645D9-8323-40AE-B148-AABA6F244B50}"/>
              </a:ext>
            </a:extLst>
          </p:cNvPr>
          <p:cNvCxnSpPr/>
          <p:nvPr/>
        </p:nvCxnSpPr>
        <p:spPr>
          <a:xfrm>
            <a:off x="2651195" y="35644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75DF06A7-86A9-450D-B6A8-42DF7E0EA5A8}"/>
              </a:ext>
            </a:extLst>
          </p:cNvPr>
          <p:cNvSpPr txBox="1"/>
          <p:nvPr/>
        </p:nvSpPr>
        <p:spPr>
          <a:xfrm>
            <a:off x="991767" y="3885163"/>
            <a:ext cx="3318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2 recruits RAD51, PALB2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0FAF29C2-C544-4363-A48E-270A2413FEDB}"/>
              </a:ext>
            </a:extLst>
          </p:cNvPr>
          <p:cNvCxnSpPr/>
          <p:nvPr/>
        </p:nvCxnSpPr>
        <p:spPr>
          <a:xfrm>
            <a:off x="1390023" y="4473964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DAE6D692-FDBC-4029-9A5C-8C332D8110A5}"/>
              </a:ext>
            </a:extLst>
          </p:cNvPr>
          <p:cNvCxnSpPr/>
          <p:nvPr/>
        </p:nvCxnSpPr>
        <p:spPr>
          <a:xfrm>
            <a:off x="1390023" y="46263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6957828E-5E2C-4020-B373-0715A930CB69}"/>
              </a:ext>
            </a:extLst>
          </p:cNvPr>
          <p:cNvCxnSpPr/>
          <p:nvPr/>
        </p:nvCxnSpPr>
        <p:spPr>
          <a:xfrm>
            <a:off x="3142623" y="44739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50DDAEE5-9046-43B6-90DD-7AA068DE649D}"/>
              </a:ext>
            </a:extLst>
          </p:cNvPr>
          <p:cNvCxnSpPr/>
          <p:nvPr/>
        </p:nvCxnSpPr>
        <p:spPr>
          <a:xfrm>
            <a:off x="2685423" y="4626364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85F088F-1934-4BE5-8B13-14595E3FF82F}"/>
              </a:ext>
            </a:extLst>
          </p:cNvPr>
          <p:cNvGrpSpPr/>
          <p:nvPr/>
        </p:nvGrpSpPr>
        <p:grpSpPr>
          <a:xfrm>
            <a:off x="2059687" y="4473964"/>
            <a:ext cx="1059773" cy="152400"/>
            <a:chOff x="2059687" y="4473964"/>
            <a:chExt cx="1059773" cy="152400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A75F9F4-165C-41D5-A7EF-3BFBCFC005AB}"/>
                </a:ext>
              </a:extLst>
            </p:cNvPr>
            <p:cNvSpPr/>
            <p:nvPr/>
          </p:nvSpPr>
          <p:spPr>
            <a:xfrm>
              <a:off x="2364486" y="4473964"/>
              <a:ext cx="152400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06CC786D-7681-4D5A-85ED-E035C56E31A8}"/>
                </a:ext>
              </a:extLst>
            </p:cNvPr>
            <p:cNvSpPr/>
            <p:nvPr/>
          </p:nvSpPr>
          <p:spPr>
            <a:xfrm>
              <a:off x="2212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F6A6D4BF-F748-4D75-9F0B-C34FCFE72A19}"/>
                </a:ext>
              </a:extLst>
            </p:cNvPr>
            <p:cNvSpPr/>
            <p:nvPr/>
          </p:nvSpPr>
          <p:spPr>
            <a:xfrm>
              <a:off x="2059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DFC010AE-2761-4569-BD7E-F7B79BB49FC6}"/>
                </a:ext>
              </a:extLst>
            </p:cNvPr>
            <p:cNvSpPr/>
            <p:nvPr/>
          </p:nvSpPr>
          <p:spPr>
            <a:xfrm>
              <a:off x="26692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B9574B62-2E1C-4183-8211-E6D0638AE9EC}"/>
                </a:ext>
              </a:extLst>
            </p:cNvPr>
            <p:cNvSpPr/>
            <p:nvPr/>
          </p:nvSpPr>
          <p:spPr>
            <a:xfrm>
              <a:off x="2821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A0F1DE45-8860-4603-A311-AF55B7FB9F44}"/>
                </a:ext>
              </a:extLst>
            </p:cNvPr>
            <p:cNvSpPr/>
            <p:nvPr/>
          </p:nvSpPr>
          <p:spPr>
            <a:xfrm>
              <a:off x="2974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D4DEAA83-3131-4AFD-BD76-FBFD67172BE8}"/>
              </a:ext>
            </a:extLst>
          </p:cNvPr>
          <p:cNvCxnSpPr/>
          <p:nvPr/>
        </p:nvCxnSpPr>
        <p:spPr>
          <a:xfrm>
            <a:off x="1991953" y="5066632"/>
            <a:ext cx="571502" cy="1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9026305E-AC52-4DA9-A8D1-BCA042ED41B0}"/>
              </a:ext>
            </a:extLst>
          </p:cNvPr>
          <p:cNvCxnSpPr/>
          <p:nvPr/>
        </p:nvCxnSpPr>
        <p:spPr>
          <a:xfrm>
            <a:off x="1373886" y="5235964"/>
            <a:ext cx="2438400" cy="0"/>
          </a:xfrm>
          <a:prstGeom prst="line">
            <a:avLst/>
          </a:prstGeom>
          <a:ln w="762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14F16C7-559D-49D5-822A-AECD3A63F4E3}"/>
              </a:ext>
            </a:extLst>
          </p:cNvPr>
          <p:cNvGrpSpPr/>
          <p:nvPr/>
        </p:nvGrpSpPr>
        <p:grpSpPr>
          <a:xfrm>
            <a:off x="1373886" y="4838033"/>
            <a:ext cx="2438400" cy="253999"/>
            <a:chOff x="1373886" y="4838033"/>
            <a:chExt cx="2438400" cy="253999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4B2D8A64-1653-400D-BDFC-168FF1FF031E}"/>
                </a:ext>
              </a:extLst>
            </p:cNvPr>
            <p:cNvCxnSpPr/>
            <p:nvPr/>
          </p:nvCxnSpPr>
          <p:spPr>
            <a:xfrm>
              <a:off x="1373886" y="5083564"/>
              <a:ext cx="4572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DA55E9B-CB25-47C0-BFDE-644DFFD94CF1}"/>
                </a:ext>
              </a:extLst>
            </p:cNvPr>
            <p:cNvCxnSpPr/>
            <p:nvPr/>
          </p:nvCxnSpPr>
          <p:spPr>
            <a:xfrm>
              <a:off x="2745486" y="5083564"/>
              <a:ext cx="10668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43F26F37-6499-4DA9-B06C-176B7DF97507}"/>
                </a:ext>
              </a:extLst>
            </p:cNvPr>
            <p:cNvCxnSpPr/>
            <p:nvPr/>
          </p:nvCxnSpPr>
          <p:spPr>
            <a:xfrm flipV="1">
              <a:off x="1797219" y="4838033"/>
              <a:ext cx="220134" cy="249764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B1059302-58A0-422F-8E43-DECA77487EC5}"/>
                </a:ext>
              </a:extLst>
            </p:cNvPr>
            <p:cNvCxnSpPr/>
            <p:nvPr/>
          </p:nvCxnSpPr>
          <p:spPr>
            <a:xfrm>
              <a:off x="1991954" y="4850732"/>
              <a:ext cx="524933" cy="42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98750BD2-9C5D-43E1-82DB-E8711309DEF8}"/>
                </a:ext>
              </a:extLst>
            </p:cNvPr>
            <p:cNvCxnSpPr/>
            <p:nvPr/>
          </p:nvCxnSpPr>
          <p:spPr>
            <a:xfrm>
              <a:off x="2491483" y="4846499"/>
              <a:ext cx="275171" cy="2455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9" name="Oval 168">
            <a:extLst>
              <a:ext uri="{FF2B5EF4-FFF2-40B4-BE49-F238E27FC236}">
                <a16:creationId xmlns:a16="http://schemas.microsoft.com/office/drawing/2014/main" id="{2DA347EF-D770-4DD7-BACE-D9FDDA31A871}"/>
              </a:ext>
            </a:extLst>
          </p:cNvPr>
          <p:cNvSpPr/>
          <p:nvPr/>
        </p:nvSpPr>
        <p:spPr>
          <a:xfrm>
            <a:off x="1320851" y="4397764"/>
            <a:ext cx="145374" cy="9144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9ECBC8B1-BEFE-4EBE-A48B-C57757FCED33}"/>
              </a:ext>
            </a:extLst>
          </p:cNvPr>
          <p:cNvSpPr/>
          <p:nvPr/>
        </p:nvSpPr>
        <p:spPr>
          <a:xfrm>
            <a:off x="4837720" y="3311398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B4E930CE-25F3-4957-BD4A-1AFEEBE6E522}"/>
              </a:ext>
            </a:extLst>
          </p:cNvPr>
          <p:cNvGrpSpPr/>
          <p:nvPr/>
        </p:nvGrpSpPr>
        <p:grpSpPr>
          <a:xfrm>
            <a:off x="3823695" y="3156233"/>
            <a:ext cx="752257" cy="338554"/>
            <a:chOff x="2151695" y="4178793"/>
            <a:chExt cx="752257" cy="338554"/>
          </a:xfrm>
        </p:grpSpPr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6E617EEB-24B5-4045-A08E-7C1A25D6D095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79298DD9-F00E-4D8D-A185-F8131C0542AD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44254BB-0542-412F-A3EB-473634F6AD2C}"/>
              </a:ext>
            </a:extLst>
          </p:cNvPr>
          <p:cNvGrpSpPr/>
          <p:nvPr/>
        </p:nvGrpSpPr>
        <p:grpSpPr>
          <a:xfrm>
            <a:off x="4534544" y="3311401"/>
            <a:ext cx="245536" cy="169333"/>
            <a:chOff x="4453299" y="3311401"/>
            <a:chExt cx="245536" cy="169333"/>
          </a:xfrm>
        </p:grpSpPr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42F666D-3BEF-4E8C-A8D0-AA24075962F6}"/>
                </a:ext>
              </a:extLst>
            </p:cNvPr>
            <p:cNvCxnSpPr/>
            <p:nvPr/>
          </p:nvCxnSpPr>
          <p:spPr>
            <a:xfrm>
              <a:off x="4453299" y="3391833"/>
              <a:ext cx="241300" cy="42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D149B8-E965-4873-B554-6D8EE79EBFB8}"/>
                </a:ext>
              </a:extLst>
            </p:cNvPr>
            <p:cNvCxnSpPr/>
            <p:nvPr/>
          </p:nvCxnSpPr>
          <p:spPr>
            <a:xfrm flipH="1">
              <a:off x="4698834" y="3311401"/>
              <a:ext cx="1" cy="1693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5" name="TextBox 184">
            <a:extLst>
              <a:ext uri="{FF2B5EF4-FFF2-40B4-BE49-F238E27FC236}">
                <a16:creationId xmlns:a16="http://schemas.microsoft.com/office/drawing/2014/main" id="{D59AB77D-7777-4A38-B8EE-9408DF167283}"/>
              </a:ext>
            </a:extLst>
          </p:cNvPr>
          <p:cNvSpPr txBox="1"/>
          <p:nvPr/>
        </p:nvSpPr>
        <p:spPr>
          <a:xfrm>
            <a:off x="3828423" y="4943864"/>
            <a:ext cx="1707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ster chromatid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F19F501E-59D4-42AB-B6C0-CEE69A0F7AF2}"/>
              </a:ext>
            </a:extLst>
          </p:cNvPr>
          <p:cNvSpPr txBox="1"/>
          <p:nvPr/>
        </p:nvSpPr>
        <p:spPr>
          <a:xfrm>
            <a:off x="4921393" y="323472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554FC8-93BC-4BBE-A087-622B79FDEFF9}"/>
              </a:ext>
            </a:extLst>
          </p:cNvPr>
          <p:cNvGrpSpPr/>
          <p:nvPr/>
        </p:nvGrpSpPr>
        <p:grpSpPr>
          <a:xfrm>
            <a:off x="2761099" y="3059910"/>
            <a:ext cx="457821" cy="166178"/>
            <a:chOff x="2761099" y="3059910"/>
            <a:chExt cx="457821" cy="166178"/>
          </a:xfrm>
        </p:grpSpPr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EAD4B6AD-6210-4DC4-8CEF-5CA8D494BF85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963B038F-A968-405A-85AC-1026393A2A00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56B3E876-60FA-43AE-9F9F-2B0588EE8289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9E3A7BD4-DFEF-4137-9C84-FE6F6AB2B4D9}"/>
              </a:ext>
            </a:extLst>
          </p:cNvPr>
          <p:cNvSpPr txBox="1"/>
          <p:nvPr/>
        </p:nvSpPr>
        <p:spPr>
          <a:xfrm>
            <a:off x="1652448" y="3394234"/>
            <a:ext cx="7873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C7186A95-64A8-4FC9-98A2-E22553B124AC}"/>
              </a:ext>
            </a:extLst>
          </p:cNvPr>
          <p:cNvSpPr txBox="1"/>
          <p:nvPr/>
        </p:nvSpPr>
        <p:spPr>
          <a:xfrm>
            <a:off x="1028368" y="5768163"/>
            <a:ext cx="32456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matches original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46FB835F-4E64-4CD7-8C4F-7BAA21C5A132}"/>
              </a:ext>
            </a:extLst>
          </p:cNvPr>
          <p:cNvSpPr txBox="1"/>
          <p:nvPr/>
        </p:nvSpPr>
        <p:spPr>
          <a:xfrm>
            <a:off x="7645488" y="5321910"/>
            <a:ext cx="3900866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57200">
              <a:defRPr sz="2400" b="1">
                <a:solidFill>
                  <a:schemeClr val="accent3"/>
                </a:solidFill>
                <a:latin typeface="Calibri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introduces deletion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82E6BA6-F795-4EE6-92B3-C4A363F0DB65}"/>
              </a:ext>
            </a:extLst>
          </p:cNvPr>
          <p:cNvSpPr txBox="1"/>
          <p:nvPr/>
        </p:nvSpPr>
        <p:spPr>
          <a:xfrm>
            <a:off x="9764329" y="310597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3B91E5C8-36E2-4B6E-B909-93D652AB5199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98" name="Picture 9">
              <a:extLst>
                <a:ext uri="{FF2B5EF4-FFF2-40B4-BE49-F238E27FC236}">
                  <a16:creationId xmlns:a16="http://schemas.microsoft.com/office/drawing/2014/main" id="{F5D0D5BA-005C-4F3B-A897-7EAA7B5604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8">
              <a:extLst>
                <a:ext uri="{FF2B5EF4-FFF2-40B4-BE49-F238E27FC236}">
                  <a16:creationId xmlns:a16="http://schemas.microsoft.com/office/drawing/2014/main" id="{103BBE1D-EB60-4C6D-983F-1D50451D3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0" name="Text Box 11">
            <a:extLst>
              <a:ext uri="{FF2B5EF4-FFF2-40B4-BE49-F238E27FC236}">
                <a16:creationId xmlns:a16="http://schemas.microsoft.com/office/drawing/2014/main" id="{99D91ED8-85B9-4CCF-B887-1BE938E7E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85740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aricio. DNA Repair (Amst). 2014;19:169.</a:t>
            </a:r>
          </a:p>
        </p:txBody>
      </p: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AF07BB8C-C5C2-4CB6-87EA-59706570C8B1}"/>
              </a:ext>
            </a:extLst>
          </p:cNvPr>
          <p:cNvCxnSpPr/>
          <p:nvPr/>
        </p:nvCxnSpPr>
        <p:spPr>
          <a:xfrm>
            <a:off x="2651195" y="5332141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06C5492D-E159-4370-A2CC-3B4EDBDFB284}"/>
              </a:ext>
            </a:extLst>
          </p:cNvPr>
          <p:cNvCxnSpPr/>
          <p:nvPr/>
        </p:nvCxnSpPr>
        <p:spPr>
          <a:xfrm>
            <a:off x="9595921" y="47416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2E3DF536-72F8-42AD-922E-28449488593D}"/>
              </a:ext>
            </a:extLst>
          </p:cNvPr>
          <p:cNvSpPr/>
          <p:nvPr/>
        </p:nvSpPr>
        <p:spPr>
          <a:xfrm>
            <a:off x="9731878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5A646A6-8CF0-44B6-9348-6E57208B07AB}"/>
              </a:ext>
            </a:extLst>
          </p:cNvPr>
          <p:cNvSpPr/>
          <p:nvPr/>
        </p:nvSpPr>
        <p:spPr>
          <a:xfrm>
            <a:off x="9731878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881292B-1C1B-4DF6-B1A3-0D6008114F4B}"/>
              </a:ext>
            </a:extLst>
          </p:cNvPr>
          <p:cNvSpPr/>
          <p:nvPr/>
        </p:nvSpPr>
        <p:spPr>
          <a:xfrm>
            <a:off x="9331994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F6C475E1-B9C8-4AB9-AB29-92D74D92BEBA}"/>
              </a:ext>
            </a:extLst>
          </p:cNvPr>
          <p:cNvSpPr/>
          <p:nvPr/>
        </p:nvSpPr>
        <p:spPr>
          <a:xfrm>
            <a:off x="9331994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CE618D6C-D2FE-43F2-AF0A-F660F533C16E}"/>
              </a:ext>
            </a:extLst>
          </p:cNvPr>
          <p:cNvGrpSpPr/>
          <p:nvPr/>
        </p:nvGrpSpPr>
        <p:grpSpPr>
          <a:xfrm>
            <a:off x="2880794" y="4576855"/>
            <a:ext cx="752257" cy="338554"/>
            <a:chOff x="2151695" y="4178793"/>
            <a:chExt cx="752257" cy="338554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21C4F5DD-B515-4078-A06D-70765B326DD9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7ACDA5B-D9D1-40C1-83F0-1AC20FC67094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2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64036884-789D-4BC6-A0C9-8DFAA627E1C7}"/>
              </a:ext>
            </a:extLst>
          </p:cNvPr>
          <p:cNvGrpSpPr/>
          <p:nvPr/>
        </p:nvGrpSpPr>
        <p:grpSpPr>
          <a:xfrm>
            <a:off x="3517594" y="4677222"/>
            <a:ext cx="710964" cy="338554"/>
            <a:chOff x="2161220" y="4169268"/>
            <a:chExt cx="710964" cy="338554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CB2694CA-D4DF-4EA6-B3BB-F822913E5D14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A2C9A75-88CE-4653-A571-2DA99DF91535}"/>
                </a:ext>
              </a:extLst>
            </p:cNvPr>
            <p:cNvSpPr txBox="1"/>
            <p:nvPr/>
          </p:nvSpPr>
          <p:spPr>
            <a:xfrm>
              <a:off x="2161220" y="4169268"/>
              <a:ext cx="710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LB2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B2DF08B-B78F-4CD6-8F06-17A94B020B87}"/>
              </a:ext>
            </a:extLst>
          </p:cNvPr>
          <p:cNvGrpSpPr/>
          <p:nvPr/>
        </p:nvGrpSpPr>
        <p:grpSpPr>
          <a:xfrm>
            <a:off x="4186531" y="4677222"/>
            <a:ext cx="752257" cy="338554"/>
            <a:chOff x="2151695" y="4169268"/>
            <a:chExt cx="752257" cy="338554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78352A63-45E7-44D6-9A48-06FDF0CEE8A8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18192151-DBC9-4D1A-A6B8-18AAB18BB6CC}"/>
                </a:ext>
              </a:extLst>
            </p:cNvPr>
            <p:cNvSpPr txBox="1"/>
            <p:nvPr/>
          </p:nvSpPr>
          <p:spPr>
            <a:xfrm>
              <a:off x="2151695" y="4169268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1558D48-1A43-402B-A6E7-48A6C73A34D6}"/>
              </a:ext>
            </a:extLst>
          </p:cNvPr>
          <p:cNvGrpSpPr/>
          <p:nvPr/>
        </p:nvGrpSpPr>
        <p:grpSpPr>
          <a:xfrm>
            <a:off x="1837734" y="3295399"/>
            <a:ext cx="457821" cy="166178"/>
            <a:chOff x="2761099" y="3059910"/>
            <a:chExt cx="457821" cy="166178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53CD4726-69D8-429A-B4A4-69A113F7B74B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C02381F8-82B2-4B60-B2BD-91385D00E99E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0C5B4E76-0426-4D61-989F-4DF6D1516287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3" name="Rectangle 202">
            <a:extLst>
              <a:ext uri="{FF2B5EF4-FFF2-40B4-BE49-F238E27FC236}">
                <a16:creationId xmlns:a16="http://schemas.microsoft.com/office/drawing/2014/main" id="{2324528E-68AA-4D3E-B4ED-816833F722AA}"/>
              </a:ext>
            </a:extLst>
          </p:cNvPr>
          <p:cNvSpPr/>
          <p:nvPr/>
        </p:nvSpPr>
        <p:spPr>
          <a:xfrm>
            <a:off x="6107277" y="1773762"/>
            <a:ext cx="5517553" cy="4121570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8477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2">
            <a:extLst>
              <a:ext uri="{FF2B5EF4-FFF2-40B4-BE49-F238E27FC236}">
                <a16:creationId xmlns:a16="http://schemas.microsoft.com/office/drawing/2014/main" id="{C9BCA766-BEE5-4293-9ED5-9CD5F1C3A1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1125041" cy="1103313"/>
          </a:xfrm>
        </p:spPr>
        <p:txBody>
          <a:bodyPr/>
          <a:lstStyle/>
          <a:p>
            <a:r>
              <a:rPr lang="en-US" sz="3400" dirty="0"/>
              <a:t>Key DNA Repair Pathways for Double-Stranded DNA Breaks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3B91E5C8-36E2-4B6E-B909-93D652AB5199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98" name="Picture 9">
              <a:extLst>
                <a:ext uri="{FF2B5EF4-FFF2-40B4-BE49-F238E27FC236}">
                  <a16:creationId xmlns:a16="http://schemas.microsoft.com/office/drawing/2014/main" id="{F5D0D5BA-005C-4F3B-A897-7EAA7B5604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8">
              <a:extLst>
                <a:ext uri="{FF2B5EF4-FFF2-40B4-BE49-F238E27FC236}">
                  <a16:creationId xmlns:a16="http://schemas.microsoft.com/office/drawing/2014/main" id="{103BBE1D-EB60-4C6D-983F-1D50451D3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0" name="Text Box 11">
            <a:extLst>
              <a:ext uri="{FF2B5EF4-FFF2-40B4-BE49-F238E27FC236}">
                <a16:creationId xmlns:a16="http://schemas.microsoft.com/office/drawing/2014/main" id="{99D91ED8-85B9-4CCF-B887-1BE938E7E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85740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aricio. DNA Repair (Amst). 2014;19:169.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C71BD39-0D31-4456-A6F0-89A2D6802996}"/>
              </a:ext>
            </a:extLst>
          </p:cNvPr>
          <p:cNvCxnSpPr/>
          <p:nvPr/>
        </p:nvCxnSpPr>
        <p:spPr>
          <a:xfrm flipV="1">
            <a:off x="2520400" y="4626364"/>
            <a:ext cx="225087" cy="45720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744ADEC-D8B7-40E5-8068-384509DF49F3}"/>
              </a:ext>
            </a:extLst>
          </p:cNvPr>
          <p:cNvCxnSpPr/>
          <p:nvPr/>
        </p:nvCxnSpPr>
        <p:spPr>
          <a:xfrm>
            <a:off x="4909935" y="14917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05E6EC84-6953-4181-B80E-A6DC07C147F7}"/>
              </a:ext>
            </a:extLst>
          </p:cNvPr>
          <p:cNvCxnSpPr/>
          <p:nvPr/>
        </p:nvCxnSpPr>
        <p:spPr>
          <a:xfrm>
            <a:off x="4909935" y="16441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297910D-8DAC-4DC1-9DA2-94613F8C5551}"/>
              </a:ext>
            </a:extLst>
          </p:cNvPr>
          <p:cNvCxnSpPr/>
          <p:nvPr/>
        </p:nvCxnSpPr>
        <p:spPr>
          <a:xfrm>
            <a:off x="6205335" y="14917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A85688A-437A-4337-9359-B1720B31D26D}"/>
              </a:ext>
            </a:extLst>
          </p:cNvPr>
          <p:cNvCxnSpPr/>
          <p:nvPr/>
        </p:nvCxnSpPr>
        <p:spPr>
          <a:xfrm>
            <a:off x="6205335" y="16441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Lightning Bolt 87">
            <a:extLst>
              <a:ext uri="{FF2B5EF4-FFF2-40B4-BE49-F238E27FC236}">
                <a16:creationId xmlns:a16="http://schemas.microsoft.com/office/drawing/2014/main" id="{675D3C65-DD4D-403F-BEBA-6DED5FC20371}"/>
              </a:ext>
            </a:extLst>
          </p:cNvPr>
          <p:cNvSpPr/>
          <p:nvPr/>
        </p:nvSpPr>
        <p:spPr>
          <a:xfrm rot="21119913" flipH="1">
            <a:off x="5979218" y="1168298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1F090D0-440E-4E89-9C5C-E0BA33CBECE4}"/>
              </a:ext>
            </a:extLst>
          </p:cNvPr>
          <p:cNvSpPr txBox="1"/>
          <p:nvPr/>
        </p:nvSpPr>
        <p:spPr>
          <a:xfrm>
            <a:off x="1018472" y="2310175"/>
            <a:ext cx="32654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1 blocks 53BP1,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 complex resects end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C290226-AD42-4FA9-A3AB-373AD95A11E7}"/>
              </a:ext>
            </a:extLst>
          </p:cNvPr>
          <p:cNvSpPr txBox="1"/>
          <p:nvPr/>
        </p:nvSpPr>
        <p:spPr>
          <a:xfrm>
            <a:off x="8119395" y="2310175"/>
            <a:ext cx="29530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 keeps MRE11 aw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 free end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BBC2BE6-B7B7-4503-A06D-A140E24CB1E5}"/>
              </a:ext>
            </a:extLst>
          </p:cNvPr>
          <p:cNvSpPr txBox="1"/>
          <p:nvPr/>
        </p:nvSpPr>
        <p:spPr>
          <a:xfrm>
            <a:off x="7689694" y="1778031"/>
            <a:ext cx="38124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homologous End Joining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50DA1A2-2691-49AE-8730-45230184A01C}"/>
              </a:ext>
            </a:extLst>
          </p:cNvPr>
          <p:cNvCxnSpPr/>
          <p:nvPr/>
        </p:nvCxnSpPr>
        <p:spPr>
          <a:xfrm>
            <a:off x="8328095" y="34649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D35250F-58D8-43DE-8589-D325DA0EA827}"/>
              </a:ext>
            </a:extLst>
          </p:cNvPr>
          <p:cNvCxnSpPr/>
          <p:nvPr/>
        </p:nvCxnSpPr>
        <p:spPr>
          <a:xfrm>
            <a:off x="8328095" y="36173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3A15633-800D-4C51-BCA4-F60F99B0DF3B}"/>
              </a:ext>
            </a:extLst>
          </p:cNvPr>
          <p:cNvCxnSpPr/>
          <p:nvPr/>
        </p:nvCxnSpPr>
        <p:spPr>
          <a:xfrm>
            <a:off x="9799957" y="34649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B7A68A72-8CCE-4AFB-8BA8-532DE62DC76A}"/>
              </a:ext>
            </a:extLst>
          </p:cNvPr>
          <p:cNvCxnSpPr/>
          <p:nvPr/>
        </p:nvCxnSpPr>
        <p:spPr>
          <a:xfrm>
            <a:off x="9799957" y="36173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7C118270-1C37-489B-9388-816EFDC5554F}"/>
              </a:ext>
            </a:extLst>
          </p:cNvPr>
          <p:cNvSpPr txBox="1"/>
          <p:nvPr/>
        </p:nvSpPr>
        <p:spPr>
          <a:xfrm>
            <a:off x="8469683" y="3885163"/>
            <a:ext cx="22524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s chewed back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ued together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58A61D1-B088-4976-988C-1BA89CD1EB9F}"/>
              </a:ext>
            </a:extLst>
          </p:cNvPr>
          <p:cNvSpPr txBox="1"/>
          <p:nvPr/>
        </p:nvSpPr>
        <p:spPr>
          <a:xfrm>
            <a:off x="751156" y="1778031"/>
            <a:ext cx="380007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mologous Recombination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B1BD0F2A-5F47-45FD-82FD-CC8C0526DA4B}"/>
              </a:ext>
            </a:extLst>
          </p:cNvPr>
          <p:cNvCxnSpPr/>
          <p:nvPr/>
        </p:nvCxnSpPr>
        <p:spPr>
          <a:xfrm>
            <a:off x="6129135" y="1796541"/>
            <a:ext cx="114300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F75BDFA8-4782-4D8C-A9C8-A4CFE67BD69C}"/>
              </a:ext>
            </a:extLst>
          </p:cNvPr>
          <p:cNvCxnSpPr/>
          <p:nvPr/>
        </p:nvCxnSpPr>
        <p:spPr>
          <a:xfrm flipH="1">
            <a:off x="4986135" y="1796541"/>
            <a:ext cx="114300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3A27E87-B85C-4984-844E-54E1314BDCF0}"/>
              </a:ext>
            </a:extLst>
          </p:cNvPr>
          <p:cNvCxnSpPr/>
          <p:nvPr/>
        </p:nvCxnSpPr>
        <p:spPr>
          <a:xfrm>
            <a:off x="1371433" y="3187288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60505A0-966C-4C53-B4BA-AB264078DF1B}"/>
              </a:ext>
            </a:extLst>
          </p:cNvPr>
          <p:cNvCxnSpPr/>
          <p:nvPr/>
        </p:nvCxnSpPr>
        <p:spPr>
          <a:xfrm>
            <a:off x="1371433" y="33396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854E12F-1CAD-49CA-8D10-21572D0EACAB}"/>
              </a:ext>
            </a:extLst>
          </p:cNvPr>
          <p:cNvCxnSpPr/>
          <p:nvPr/>
        </p:nvCxnSpPr>
        <p:spPr>
          <a:xfrm>
            <a:off x="3124033" y="31872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485BE56-A8DD-491D-99C7-387F647D9D9B}"/>
              </a:ext>
            </a:extLst>
          </p:cNvPr>
          <p:cNvCxnSpPr/>
          <p:nvPr/>
        </p:nvCxnSpPr>
        <p:spPr>
          <a:xfrm>
            <a:off x="2666833" y="3339688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4ED3A5A5-90AD-49CA-8937-49BE6B5FA58B}"/>
              </a:ext>
            </a:extLst>
          </p:cNvPr>
          <p:cNvCxnSpPr/>
          <p:nvPr/>
        </p:nvCxnSpPr>
        <p:spPr>
          <a:xfrm>
            <a:off x="2651195" y="35644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E81FEAA2-0F18-4C8C-B1EF-88210E317587}"/>
              </a:ext>
            </a:extLst>
          </p:cNvPr>
          <p:cNvSpPr txBox="1"/>
          <p:nvPr/>
        </p:nvSpPr>
        <p:spPr>
          <a:xfrm>
            <a:off x="991767" y="3885163"/>
            <a:ext cx="3318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2 recruits RAD51, PALB2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484DAB3-5EB7-47F9-8112-2052C4130226}"/>
              </a:ext>
            </a:extLst>
          </p:cNvPr>
          <p:cNvCxnSpPr/>
          <p:nvPr/>
        </p:nvCxnSpPr>
        <p:spPr>
          <a:xfrm>
            <a:off x="1390023" y="4473964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BE60A80-C9DA-4C40-AE3E-137112737B67}"/>
              </a:ext>
            </a:extLst>
          </p:cNvPr>
          <p:cNvCxnSpPr/>
          <p:nvPr/>
        </p:nvCxnSpPr>
        <p:spPr>
          <a:xfrm>
            <a:off x="1390023" y="46263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0FE1F090-BFED-4D44-A6D6-48E565003227}"/>
              </a:ext>
            </a:extLst>
          </p:cNvPr>
          <p:cNvCxnSpPr/>
          <p:nvPr/>
        </p:nvCxnSpPr>
        <p:spPr>
          <a:xfrm>
            <a:off x="3142623" y="44739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38B9CD02-0AAD-406B-BCD3-C108CEF90347}"/>
              </a:ext>
            </a:extLst>
          </p:cNvPr>
          <p:cNvCxnSpPr/>
          <p:nvPr/>
        </p:nvCxnSpPr>
        <p:spPr>
          <a:xfrm>
            <a:off x="2685423" y="4626364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B0FF1601-F5CA-4449-9899-4D02F0B4B2B7}"/>
              </a:ext>
            </a:extLst>
          </p:cNvPr>
          <p:cNvGrpSpPr/>
          <p:nvPr/>
        </p:nvGrpSpPr>
        <p:grpSpPr>
          <a:xfrm>
            <a:off x="2059687" y="4473964"/>
            <a:ext cx="1059773" cy="152400"/>
            <a:chOff x="2059687" y="4473964"/>
            <a:chExt cx="1059773" cy="152400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BEBE52FB-F4DF-4BB2-96B4-ED3869DB4B09}"/>
                </a:ext>
              </a:extLst>
            </p:cNvPr>
            <p:cNvSpPr/>
            <p:nvPr/>
          </p:nvSpPr>
          <p:spPr>
            <a:xfrm>
              <a:off x="2364486" y="4473964"/>
              <a:ext cx="152400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620DCF74-B7F3-489A-9E06-E264619CDC43}"/>
                </a:ext>
              </a:extLst>
            </p:cNvPr>
            <p:cNvSpPr/>
            <p:nvPr/>
          </p:nvSpPr>
          <p:spPr>
            <a:xfrm>
              <a:off x="2212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E5E948-0FF2-4AF7-8284-953D390FCC1A}"/>
                </a:ext>
              </a:extLst>
            </p:cNvPr>
            <p:cNvSpPr/>
            <p:nvPr/>
          </p:nvSpPr>
          <p:spPr>
            <a:xfrm>
              <a:off x="2059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D85CAE36-2875-4CB0-8E12-70DCF8B510AD}"/>
                </a:ext>
              </a:extLst>
            </p:cNvPr>
            <p:cNvSpPr/>
            <p:nvPr/>
          </p:nvSpPr>
          <p:spPr>
            <a:xfrm>
              <a:off x="26692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2332861-4BA3-4AF9-9CF4-3F8701C1C202}"/>
                </a:ext>
              </a:extLst>
            </p:cNvPr>
            <p:cNvSpPr/>
            <p:nvPr/>
          </p:nvSpPr>
          <p:spPr>
            <a:xfrm>
              <a:off x="2821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3B122357-D134-48B2-9ED4-86106E8EAFE0}"/>
                </a:ext>
              </a:extLst>
            </p:cNvPr>
            <p:cNvSpPr/>
            <p:nvPr/>
          </p:nvSpPr>
          <p:spPr>
            <a:xfrm>
              <a:off x="2974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0E65499-D5A4-4ED8-83B4-8EA11CFB0185}"/>
              </a:ext>
            </a:extLst>
          </p:cNvPr>
          <p:cNvCxnSpPr/>
          <p:nvPr/>
        </p:nvCxnSpPr>
        <p:spPr>
          <a:xfrm>
            <a:off x="1991953" y="5066632"/>
            <a:ext cx="571502" cy="1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0F112C4-36E3-4262-8894-2CC7BF0D8636}"/>
              </a:ext>
            </a:extLst>
          </p:cNvPr>
          <p:cNvCxnSpPr/>
          <p:nvPr/>
        </p:nvCxnSpPr>
        <p:spPr>
          <a:xfrm>
            <a:off x="1373886" y="5235964"/>
            <a:ext cx="2438400" cy="0"/>
          </a:xfrm>
          <a:prstGeom prst="line">
            <a:avLst/>
          </a:prstGeom>
          <a:ln w="762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90B6C07-FCDC-43C6-AD20-37367A45FF22}"/>
              </a:ext>
            </a:extLst>
          </p:cNvPr>
          <p:cNvGrpSpPr/>
          <p:nvPr/>
        </p:nvGrpSpPr>
        <p:grpSpPr>
          <a:xfrm>
            <a:off x="1373886" y="4838033"/>
            <a:ext cx="2438400" cy="253999"/>
            <a:chOff x="1373886" y="4838033"/>
            <a:chExt cx="2438400" cy="253999"/>
          </a:xfrm>
        </p:grpSpPr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8EECAAE5-E90E-4917-AAB1-F01ED1A8A065}"/>
                </a:ext>
              </a:extLst>
            </p:cNvPr>
            <p:cNvCxnSpPr/>
            <p:nvPr/>
          </p:nvCxnSpPr>
          <p:spPr>
            <a:xfrm>
              <a:off x="1373886" y="5083564"/>
              <a:ext cx="4572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E80DA89E-3318-4D33-BCC7-A72564AF9653}"/>
                </a:ext>
              </a:extLst>
            </p:cNvPr>
            <p:cNvCxnSpPr/>
            <p:nvPr/>
          </p:nvCxnSpPr>
          <p:spPr>
            <a:xfrm>
              <a:off x="2745486" y="5083564"/>
              <a:ext cx="10668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D549B094-0B09-466B-9726-A7AB0D156629}"/>
                </a:ext>
              </a:extLst>
            </p:cNvPr>
            <p:cNvCxnSpPr/>
            <p:nvPr/>
          </p:nvCxnSpPr>
          <p:spPr>
            <a:xfrm flipV="1">
              <a:off x="1797219" y="4838033"/>
              <a:ext cx="220134" cy="249764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6D66028-F2B4-4906-95C5-5D25B421106A}"/>
                </a:ext>
              </a:extLst>
            </p:cNvPr>
            <p:cNvCxnSpPr/>
            <p:nvPr/>
          </p:nvCxnSpPr>
          <p:spPr>
            <a:xfrm>
              <a:off x="1991954" y="4850732"/>
              <a:ext cx="524933" cy="42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484DC8CC-10FD-4758-BAF7-4C49D730E89C}"/>
                </a:ext>
              </a:extLst>
            </p:cNvPr>
            <p:cNvCxnSpPr/>
            <p:nvPr/>
          </p:nvCxnSpPr>
          <p:spPr>
            <a:xfrm>
              <a:off x="2491483" y="4846499"/>
              <a:ext cx="275171" cy="2455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3" name="Oval 202">
            <a:extLst>
              <a:ext uri="{FF2B5EF4-FFF2-40B4-BE49-F238E27FC236}">
                <a16:creationId xmlns:a16="http://schemas.microsoft.com/office/drawing/2014/main" id="{5DFBE9A2-EEFA-4477-8E61-D90EEEA4D9C7}"/>
              </a:ext>
            </a:extLst>
          </p:cNvPr>
          <p:cNvSpPr/>
          <p:nvPr/>
        </p:nvSpPr>
        <p:spPr>
          <a:xfrm>
            <a:off x="1320851" y="4397764"/>
            <a:ext cx="145374" cy="9144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5B3A1866-E1E9-4F1C-9D39-5B13A6706D22}"/>
              </a:ext>
            </a:extLst>
          </p:cNvPr>
          <p:cNvSpPr/>
          <p:nvPr/>
        </p:nvSpPr>
        <p:spPr>
          <a:xfrm>
            <a:off x="4837720" y="3311398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90648276-7984-4714-98B3-AD940D29E61E}"/>
              </a:ext>
            </a:extLst>
          </p:cNvPr>
          <p:cNvGrpSpPr/>
          <p:nvPr/>
        </p:nvGrpSpPr>
        <p:grpSpPr>
          <a:xfrm>
            <a:off x="3823695" y="3156233"/>
            <a:ext cx="752257" cy="338554"/>
            <a:chOff x="2151695" y="4178793"/>
            <a:chExt cx="752257" cy="338554"/>
          </a:xfrm>
        </p:grpSpPr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88209053-327A-4BF6-BC56-4D67E37CD3F4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217E9678-74DD-4162-8A75-ABF4825F8E51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E1EC5A5-ABF3-43E9-995B-6D92EF1DFB6F}"/>
              </a:ext>
            </a:extLst>
          </p:cNvPr>
          <p:cNvGrpSpPr/>
          <p:nvPr/>
        </p:nvGrpSpPr>
        <p:grpSpPr>
          <a:xfrm>
            <a:off x="4534544" y="3311401"/>
            <a:ext cx="245536" cy="169333"/>
            <a:chOff x="4453299" y="3311401"/>
            <a:chExt cx="245536" cy="169333"/>
          </a:xfrm>
        </p:grpSpPr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45C6FF5E-B581-4A60-9929-70CA8D6A443B}"/>
                </a:ext>
              </a:extLst>
            </p:cNvPr>
            <p:cNvCxnSpPr/>
            <p:nvPr/>
          </p:nvCxnSpPr>
          <p:spPr>
            <a:xfrm>
              <a:off x="4453299" y="3391833"/>
              <a:ext cx="241300" cy="42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6238337D-6539-469B-AA7C-72AB58305A26}"/>
                </a:ext>
              </a:extLst>
            </p:cNvPr>
            <p:cNvCxnSpPr/>
            <p:nvPr/>
          </p:nvCxnSpPr>
          <p:spPr>
            <a:xfrm flipH="1">
              <a:off x="4698834" y="3311401"/>
              <a:ext cx="1" cy="1693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1" name="TextBox 210">
            <a:extLst>
              <a:ext uri="{FF2B5EF4-FFF2-40B4-BE49-F238E27FC236}">
                <a16:creationId xmlns:a16="http://schemas.microsoft.com/office/drawing/2014/main" id="{92861272-AEFB-484C-80F2-8F366A370983}"/>
              </a:ext>
            </a:extLst>
          </p:cNvPr>
          <p:cNvSpPr txBox="1"/>
          <p:nvPr/>
        </p:nvSpPr>
        <p:spPr>
          <a:xfrm>
            <a:off x="3828423" y="4943864"/>
            <a:ext cx="1707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ster chromatid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7BA8E35C-66F9-4440-81EA-247476DC6515}"/>
              </a:ext>
            </a:extLst>
          </p:cNvPr>
          <p:cNvSpPr txBox="1"/>
          <p:nvPr/>
        </p:nvSpPr>
        <p:spPr>
          <a:xfrm>
            <a:off x="4921393" y="323472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36925FB4-9FCE-4181-8C92-54B5BFCA9BBB}"/>
              </a:ext>
            </a:extLst>
          </p:cNvPr>
          <p:cNvGrpSpPr/>
          <p:nvPr/>
        </p:nvGrpSpPr>
        <p:grpSpPr>
          <a:xfrm>
            <a:off x="2761099" y="3059910"/>
            <a:ext cx="457821" cy="166178"/>
            <a:chOff x="2761099" y="3059910"/>
            <a:chExt cx="457821" cy="166178"/>
          </a:xfrm>
        </p:grpSpPr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8DC10503-C69C-4EC6-AD9B-3152ACF068E1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02492083-9281-49A7-A69A-2FA77EAD5565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19A8714E-FE28-45B0-AD79-4EA19D5918C2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7" name="TextBox 216">
            <a:extLst>
              <a:ext uri="{FF2B5EF4-FFF2-40B4-BE49-F238E27FC236}">
                <a16:creationId xmlns:a16="http://schemas.microsoft.com/office/drawing/2014/main" id="{67280EB5-DE2B-40BB-A185-09A3FA07C475}"/>
              </a:ext>
            </a:extLst>
          </p:cNvPr>
          <p:cNvSpPr txBox="1"/>
          <p:nvPr/>
        </p:nvSpPr>
        <p:spPr>
          <a:xfrm>
            <a:off x="1652448" y="3394234"/>
            <a:ext cx="7873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7D21EC36-E715-4B3A-A28B-01396CE30E55}"/>
              </a:ext>
            </a:extLst>
          </p:cNvPr>
          <p:cNvSpPr txBox="1"/>
          <p:nvPr/>
        </p:nvSpPr>
        <p:spPr>
          <a:xfrm>
            <a:off x="1028368" y="5768163"/>
            <a:ext cx="32456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matches original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E75620C5-8A85-4706-BFFC-F78C15AE4112}"/>
              </a:ext>
            </a:extLst>
          </p:cNvPr>
          <p:cNvSpPr txBox="1"/>
          <p:nvPr/>
        </p:nvSpPr>
        <p:spPr>
          <a:xfrm>
            <a:off x="7645488" y="5321910"/>
            <a:ext cx="3900866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57200">
              <a:defRPr sz="2400" b="1">
                <a:solidFill>
                  <a:schemeClr val="accent3"/>
                </a:solidFill>
                <a:latin typeface="Calibri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introduces deletions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DE70F95-3026-4B34-8C39-53F0E9A10C1D}"/>
              </a:ext>
            </a:extLst>
          </p:cNvPr>
          <p:cNvSpPr txBox="1"/>
          <p:nvPr/>
        </p:nvSpPr>
        <p:spPr>
          <a:xfrm>
            <a:off x="9764329" y="310597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C9843DEF-90C5-4523-83F5-C2BA6FA078F5}"/>
              </a:ext>
            </a:extLst>
          </p:cNvPr>
          <p:cNvCxnSpPr/>
          <p:nvPr/>
        </p:nvCxnSpPr>
        <p:spPr>
          <a:xfrm>
            <a:off x="2651195" y="5332141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Arrow Connector 221">
            <a:extLst>
              <a:ext uri="{FF2B5EF4-FFF2-40B4-BE49-F238E27FC236}">
                <a16:creationId xmlns:a16="http://schemas.microsoft.com/office/drawing/2014/main" id="{83C98342-6C3E-4511-BC16-F268753CDBD8}"/>
              </a:ext>
            </a:extLst>
          </p:cNvPr>
          <p:cNvCxnSpPr/>
          <p:nvPr/>
        </p:nvCxnSpPr>
        <p:spPr>
          <a:xfrm>
            <a:off x="9595921" y="47416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3" name="Oval 222">
            <a:extLst>
              <a:ext uri="{FF2B5EF4-FFF2-40B4-BE49-F238E27FC236}">
                <a16:creationId xmlns:a16="http://schemas.microsoft.com/office/drawing/2014/main" id="{E3CD95F7-8195-4375-BC7F-CB78ED25142A}"/>
              </a:ext>
            </a:extLst>
          </p:cNvPr>
          <p:cNvSpPr/>
          <p:nvPr/>
        </p:nvSpPr>
        <p:spPr>
          <a:xfrm>
            <a:off x="9731878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3FCF8167-26D9-4A28-BD21-445AAECD3E2C}"/>
              </a:ext>
            </a:extLst>
          </p:cNvPr>
          <p:cNvSpPr/>
          <p:nvPr/>
        </p:nvSpPr>
        <p:spPr>
          <a:xfrm>
            <a:off x="9731878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3F6E8DF7-43F0-46E2-808E-85403B8689BA}"/>
              </a:ext>
            </a:extLst>
          </p:cNvPr>
          <p:cNvSpPr/>
          <p:nvPr/>
        </p:nvSpPr>
        <p:spPr>
          <a:xfrm>
            <a:off x="9331994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A0DB4169-A540-4571-AF63-429BE3154AC7}"/>
              </a:ext>
            </a:extLst>
          </p:cNvPr>
          <p:cNvSpPr/>
          <p:nvPr/>
        </p:nvSpPr>
        <p:spPr>
          <a:xfrm>
            <a:off x="9331994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B85E71F5-5779-4B86-901A-81624ED6ED12}"/>
              </a:ext>
            </a:extLst>
          </p:cNvPr>
          <p:cNvGrpSpPr/>
          <p:nvPr/>
        </p:nvGrpSpPr>
        <p:grpSpPr>
          <a:xfrm>
            <a:off x="2880794" y="4576855"/>
            <a:ext cx="752257" cy="338554"/>
            <a:chOff x="2151695" y="4178793"/>
            <a:chExt cx="752257" cy="338554"/>
          </a:xfrm>
        </p:grpSpPr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F1E8DB3-B9BB-4ECA-A99A-841CC19C77D2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8E7347AF-B3AE-4708-85E6-A0ADCC73740B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2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24AD65D7-9E65-44EC-9474-7871519AB7B7}"/>
              </a:ext>
            </a:extLst>
          </p:cNvPr>
          <p:cNvGrpSpPr/>
          <p:nvPr/>
        </p:nvGrpSpPr>
        <p:grpSpPr>
          <a:xfrm>
            <a:off x="3517594" y="4677222"/>
            <a:ext cx="710964" cy="338554"/>
            <a:chOff x="2161220" y="4169268"/>
            <a:chExt cx="710964" cy="338554"/>
          </a:xfrm>
        </p:grpSpPr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F019B972-9728-4763-AF76-54915D9CB280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9091F131-467C-41E1-B82E-EAEF26A6E9F1}"/>
                </a:ext>
              </a:extLst>
            </p:cNvPr>
            <p:cNvSpPr txBox="1"/>
            <p:nvPr/>
          </p:nvSpPr>
          <p:spPr>
            <a:xfrm>
              <a:off x="2161220" y="4169268"/>
              <a:ext cx="710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LB2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D61AF8C-3B62-4ADB-94C0-CD40125336E8}"/>
              </a:ext>
            </a:extLst>
          </p:cNvPr>
          <p:cNvGrpSpPr/>
          <p:nvPr/>
        </p:nvGrpSpPr>
        <p:grpSpPr>
          <a:xfrm>
            <a:off x="4186531" y="4677222"/>
            <a:ext cx="752257" cy="338554"/>
            <a:chOff x="2151695" y="4169268"/>
            <a:chExt cx="752257" cy="338554"/>
          </a:xfrm>
        </p:grpSpPr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53310084-876C-40CC-8BB1-E987EFBBFACB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8D969D04-516A-4B74-BF0D-C4CFB526A8ED}"/>
                </a:ext>
              </a:extLst>
            </p:cNvPr>
            <p:cNvSpPr txBox="1"/>
            <p:nvPr/>
          </p:nvSpPr>
          <p:spPr>
            <a:xfrm>
              <a:off x="2151695" y="4169268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53756376-4D94-49F3-B92B-D4E8DB06636A}"/>
              </a:ext>
            </a:extLst>
          </p:cNvPr>
          <p:cNvGrpSpPr/>
          <p:nvPr/>
        </p:nvGrpSpPr>
        <p:grpSpPr>
          <a:xfrm>
            <a:off x="1837734" y="3295399"/>
            <a:ext cx="457821" cy="166178"/>
            <a:chOff x="2761099" y="3059910"/>
            <a:chExt cx="457821" cy="166178"/>
          </a:xfrm>
        </p:grpSpPr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988C8AA7-F9F0-43CA-B98B-F3948B2E42BB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F4D8C676-2DB8-4642-B06A-8D8E77AFF42B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4D6D357C-D752-4CFF-88EC-7CF7FF4197A8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9697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2">
            <a:extLst>
              <a:ext uri="{FF2B5EF4-FFF2-40B4-BE49-F238E27FC236}">
                <a16:creationId xmlns:a16="http://schemas.microsoft.com/office/drawing/2014/main" id="{C9BCA766-BEE5-4293-9ED5-9CD5F1C3A1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2304" y="238127"/>
            <a:ext cx="11375095" cy="1103313"/>
          </a:xfrm>
        </p:spPr>
        <p:txBody>
          <a:bodyPr/>
          <a:lstStyle/>
          <a:p>
            <a:r>
              <a:rPr lang="en-US" sz="3400" dirty="0"/>
              <a:t>HR-Deficient Cells Must Use the NHEJ Pathway for DNA Repai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3B91E5C8-36E2-4B6E-B909-93D652AB5199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98" name="Picture 9">
              <a:extLst>
                <a:ext uri="{FF2B5EF4-FFF2-40B4-BE49-F238E27FC236}">
                  <a16:creationId xmlns:a16="http://schemas.microsoft.com/office/drawing/2014/main" id="{F5D0D5BA-005C-4F3B-A897-7EAA7B5604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8">
              <a:extLst>
                <a:ext uri="{FF2B5EF4-FFF2-40B4-BE49-F238E27FC236}">
                  <a16:creationId xmlns:a16="http://schemas.microsoft.com/office/drawing/2014/main" id="{103BBE1D-EB60-4C6D-983F-1D50451D3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0" name="Text Box 11">
            <a:extLst>
              <a:ext uri="{FF2B5EF4-FFF2-40B4-BE49-F238E27FC236}">
                <a16:creationId xmlns:a16="http://schemas.microsoft.com/office/drawing/2014/main" id="{99D91ED8-85B9-4CCF-B887-1BE938E7E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85740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aricio. DNA Repair (Amst). 2014;19:169.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5917AB6-D430-43C3-91CB-26AD13E3E091}"/>
              </a:ext>
            </a:extLst>
          </p:cNvPr>
          <p:cNvCxnSpPr/>
          <p:nvPr/>
        </p:nvCxnSpPr>
        <p:spPr>
          <a:xfrm flipV="1">
            <a:off x="2520400" y="4626364"/>
            <a:ext cx="225087" cy="45720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53DEBB3-95DF-4B0D-AE54-12CC75804565}"/>
              </a:ext>
            </a:extLst>
          </p:cNvPr>
          <p:cNvCxnSpPr/>
          <p:nvPr/>
        </p:nvCxnSpPr>
        <p:spPr>
          <a:xfrm>
            <a:off x="4909935" y="14917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D894596-BDEA-43AA-A17E-760B1F15A5E4}"/>
              </a:ext>
            </a:extLst>
          </p:cNvPr>
          <p:cNvCxnSpPr/>
          <p:nvPr/>
        </p:nvCxnSpPr>
        <p:spPr>
          <a:xfrm>
            <a:off x="4909935" y="164414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7F6CE7A-4E73-434E-B2DB-5B73F66380A4}"/>
              </a:ext>
            </a:extLst>
          </p:cNvPr>
          <p:cNvCxnSpPr/>
          <p:nvPr/>
        </p:nvCxnSpPr>
        <p:spPr>
          <a:xfrm>
            <a:off x="6205335" y="14917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331A89B-4DBD-4239-A6FE-AD32E2F455C4}"/>
              </a:ext>
            </a:extLst>
          </p:cNvPr>
          <p:cNvCxnSpPr/>
          <p:nvPr/>
        </p:nvCxnSpPr>
        <p:spPr>
          <a:xfrm>
            <a:off x="6205335" y="164414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Lightning Bolt 87">
            <a:extLst>
              <a:ext uri="{FF2B5EF4-FFF2-40B4-BE49-F238E27FC236}">
                <a16:creationId xmlns:a16="http://schemas.microsoft.com/office/drawing/2014/main" id="{FE6BBBB1-4C8D-46D4-9470-2A46EBA0BEA6}"/>
              </a:ext>
            </a:extLst>
          </p:cNvPr>
          <p:cNvSpPr/>
          <p:nvPr/>
        </p:nvSpPr>
        <p:spPr>
          <a:xfrm rot="21119913" flipH="1">
            <a:off x="5979218" y="1168298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61A5EF9-0DEC-404A-A9D4-B36B73C82901}"/>
              </a:ext>
            </a:extLst>
          </p:cNvPr>
          <p:cNvSpPr txBox="1"/>
          <p:nvPr/>
        </p:nvSpPr>
        <p:spPr>
          <a:xfrm>
            <a:off x="1018472" y="2310175"/>
            <a:ext cx="32654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1 blocks 53BP1,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 complex resects end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38294C1-AD3A-481F-B0D5-96962A1745BF}"/>
              </a:ext>
            </a:extLst>
          </p:cNvPr>
          <p:cNvSpPr txBox="1"/>
          <p:nvPr/>
        </p:nvSpPr>
        <p:spPr>
          <a:xfrm>
            <a:off x="8119395" y="2310175"/>
            <a:ext cx="29530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 keeps MRE11 aw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 free end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9C4535B-E4FE-41C5-AA64-6C2CFC650D4F}"/>
              </a:ext>
            </a:extLst>
          </p:cNvPr>
          <p:cNvSpPr txBox="1"/>
          <p:nvPr/>
        </p:nvSpPr>
        <p:spPr>
          <a:xfrm>
            <a:off x="7689694" y="1778031"/>
            <a:ext cx="38124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homologous End Joining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E698464-AD4E-435F-B53B-7169663129EA}"/>
              </a:ext>
            </a:extLst>
          </p:cNvPr>
          <p:cNvCxnSpPr/>
          <p:nvPr/>
        </p:nvCxnSpPr>
        <p:spPr>
          <a:xfrm>
            <a:off x="8328095" y="34649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6BAF16E8-B851-4CCA-AC93-87DBA32E792B}"/>
              </a:ext>
            </a:extLst>
          </p:cNvPr>
          <p:cNvCxnSpPr/>
          <p:nvPr/>
        </p:nvCxnSpPr>
        <p:spPr>
          <a:xfrm>
            <a:off x="8328095" y="3617311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1D24B62-77FB-457D-8C3A-B111CB3D44F4}"/>
              </a:ext>
            </a:extLst>
          </p:cNvPr>
          <p:cNvCxnSpPr/>
          <p:nvPr/>
        </p:nvCxnSpPr>
        <p:spPr>
          <a:xfrm>
            <a:off x="9799957" y="34649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01732782-F187-45F4-89D6-487DD0C5F29C}"/>
              </a:ext>
            </a:extLst>
          </p:cNvPr>
          <p:cNvCxnSpPr/>
          <p:nvPr/>
        </p:nvCxnSpPr>
        <p:spPr>
          <a:xfrm>
            <a:off x="9799957" y="3617311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11CED2E0-CFC9-4F23-B83B-327167AC55AE}"/>
              </a:ext>
            </a:extLst>
          </p:cNvPr>
          <p:cNvSpPr txBox="1"/>
          <p:nvPr/>
        </p:nvSpPr>
        <p:spPr>
          <a:xfrm>
            <a:off x="8469683" y="3885163"/>
            <a:ext cx="22524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s chewed back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ued together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19F9B25-6E92-4550-933A-587EDFC87081}"/>
              </a:ext>
            </a:extLst>
          </p:cNvPr>
          <p:cNvSpPr txBox="1"/>
          <p:nvPr/>
        </p:nvSpPr>
        <p:spPr>
          <a:xfrm>
            <a:off x="751156" y="1778031"/>
            <a:ext cx="380007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mologous Recombination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61D9489-C47F-406E-9BC5-32FCFDB6D3CE}"/>
              </a:ext>
            </a:extLst>
          </p:cNvPr>
          <p:cNvCxnSpPr/>
          <p:nvPr/>
        </p:nvCxnSpPr>
        <p:spPr>
          <a:xfrm>
            <a:off x="6129135" y="1796541"/>
            <a:ext cx="114300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61A749F-AE0C-4673-8F28-EBCCF26603C5}"/>
              </a:ext>
            </a:extLst>
          </p:cNvPr>
          <p:cNvCxnSpPr/>
          <p:nvPr/>
        </p:nvCxnSpPr>
        <p:spPr>
          <a:xfrm>
            <a:off x="1371433" y="3187288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798CF2A4-7907-464C-BACC-72AA266CC4B4}"/>
              </a:ext>
            </a:extLst>
          </p:cNvPr>
          <p:cNvCxnSpPr/>
          <p:nvPr/>
        </p:nvCxnSpPr>
        <p:spPr>
          <a:xfrm>
            <a:off x="1371433" y="33396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67F9027-ABB4-4954-87A4-C854EC375ABB}"/>
              </a:ext>
            </a:extLst>
          </p:cNvPr>
          <p:cNvCxnSpPr/>
          <p:nvPr/>
        </p:nvCxnSpPr>
        <p:spPr>
          <a:xfrm>
            <a:off x="3124033" y="3187288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809E6C2-ABF1-4BD9-977E-C6C56E7AD465}"/>
              </a:ext>
            </a:extLst>
          </p:cNvPr>
          <p:cNvCxnSpPr/>
          <p:nvPr/>
        </p:nvCxnSpPr>
        <p:spPr>
          <a:xfrm>
            <a:off x="2666833" y="3339688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9198EF27-92EB-48E9-92F0-4149F3A74073}"/>
              </a:ext>
            </a:extLst>
          </p:cNvPr>
          <p:cNvCxnSpPr/>
          <p:nvPr/>
        </p:nvCxnSpPr>
        <p:spPr>
          <a:xfrm>
            <a:off x="2651195" y="35644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8EEF0F20-377B-4EC1-8E0A-591B2D58FAC4}"/>
              </a:ext>
            </a:extLst>
          </p:cNvPr>
          <p:cNvSpPr txBox="1"/>
          <p:nvPr/>
        </p:nvSpPr>
        <p:spPr>
          <a:xfrm>
            <a:off x="991767" y="3885163"/>
            <a:ext cx="3318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2 recruits RAD51, PALB2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59EF364-2C5B-4BAA-AD65-FCAC815075C0}"/>
              </a:ext>
            </a:extLst>
          </p:cNvPr>
          <p:cNvCxnSpPr/>
          <p:nvPr/>
        </p:nvCxnSpPr>
        <p:spPr>
          <a:xfrm>
            <a:off x="1390023" y="4473964"/>
            <a:ext cx="1066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90A3D2E-EB01-48B3-BB1B-58B3A5DE3BBF}"/>
              </a:ext>
            </a:extLst>
          </p:cNvPr>
          <p:cNvCxnSpPr/>
          <p:nvPr/>
        </p:nvCxnSpPr>
        <p:spPr>
          <a:xfrm>
            <a:off x="1390023" y="46263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FEB577D-13BF-4774-B48E-C03BACB30AE1}"/>
              </a:ext>
            </a:extLst>
          </p:cNvPr>
          <p:cNvCxnSpPr/>
          <p:nvPr/>
        </p:nvCxnSpPr>
        <p:spPr>
          <a:xfrm>
            <a:off x="3142623" y="4473964"/>
            <a:ext cx="6858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1E34146-260D-4D50-AC3A-9D86A7B806D7}"/>
              </a:ext>
            </a:extLst>
          </p:cNvPr>
          <p:cNvCxnSpPr/>
          <p:nvPr/>
        </p:nvCxnSpPr>
        <p:spPr>
          <a:xfrm>
            <a:off x="2685423" y="4626364"/>
            <a:ext cx="11430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328A9263-6C3E-4ECC-BBC5-81CA97A7CB62}"/>
              </a:ext>
            </a:extLst>
          </p:cNvPr>
          <p:cNvGrpSpPr/>
          <p:nvPr/>
        </p:nvGrpSpPr>
        <p:grpSpPr>
          <a:xfrm>
            <a:off x="2059687" y="4473964"/>
            <a:ext cx="1059773" cy="152400"/>
            <a:chOff x="2059687" y="4473964"/>
            <a:chExt cx="1059773" cy="152400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9F6D6FE1-9D76-46CA-A717-A06BBE9A1EE8}"/>
                </a:ext>
              </a:extLst>
            </p:cNvPr>
            <p:cNvSpPr/>
            <p:nvPr/>
          </p:nvSpPr>
          <p:spPr>
            <a:xfrm>
              <a:off x="2364486" y="4473964"/>
              <a:ext cx="152400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580B6AAA-7DAA-4982-982E-67163E35B733}"/>
                </a:ext>
              </a:extLst>
            </p:cNvPr>
            <p:cNvSpPr/>
            <p:nvPr/>
          </p:nvSpPr>
          <p:spPr>
            <a:xfrm>
              <a:off x="2212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DDCB7881-787A-4A8C-B02F-00F84D78313E}"/>
                </a:ext>
              </a:extLst>
            </p:cNvPr>
            <p:cNvSpPr/>
            <p:nvPr/>
          </p:nvSpPr>
          <p:spPr>
            <a:xfrm>
              <a:off x="2059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64D16992-4E15-432A-83DE-1C1C2B2FF117}"/>
                </a:ext>
              </a:extLst>
            </p:cNvPr>
            <p:cNvSpPr/>
            <p:nvPr/>
          </p:nvSpPr>
          <p:spPr>
            <a:xfrm>
              <a:off x="26692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8A4BDCEC-44F7-44EC-9BAB-4B6BB759AC0D}"/>
                </a:ext>
              </a:extLst>
            </p:cNvPr>
            <p:cNvSpPr/>
            <p:nvPr/>
          </p:nvSpPr>
          <p:spPr>
            <a:xfrm>
              <a:off x="28216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479D37E0-3E0B-438B-ADF0-E1D5DB0AABFF}"/>
                </a:ext>
              </a:extLst>
            </p:cNvPr>
            <p:cNvSpPr/>
            <p:nvPr/>
          </p:nvSpPr>
          <p:spPr>
            <a:xfrm>
              <a:off x="2974087" y="4473964"/>
              <a:ext cx="145373" cy="1524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DEE8206-DAB1-4B56-B1AD-314CF6DA420D}"/>
              </a:ext>
            </a:extLst>
          </p:cNvPr>
          <p:cNvCxnSpPr/>
          <p:nvPr/>
        </p:nvCxnSpPr>
        <p:spPr>
          <a:xfrm>
            <a:off x="1991953" y="5066632"/>
            <a:ext cx="571502" cy="1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3E0E88BE-5048-4175-96E2-B5F9F31E3F51}"/>
              </a:ext>
            </a:extLst>
          </p:cNvPr>
          <p:cNvCxnSpPr/>
          <p:nvPr/>
        </p:nvCxnSpPr>
        <p:spPr>
          <a:xfrm>
            <a:off x="1373886" y="5235964"/>
            <a:ext cx="2438400" cy="0"/>
          </a:xfrm>
          <a:prstGeom prst="line">
            <a:avLst/>
          </a:prstGeom>
          <a:ln w="762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6A67842-703F-4C60-99EE-E5561F5F40FC}"/>
              </a:ext>
            </a:extLst>
          </p:cNvPr>
          <p:cNvGrpSpPr/>
          <p:nvPr/>
        </p:nvGrpSpPr>
        <p:grpSpPr>
          <a:xfrm>
            <a:off x="1373886" y="4838033"/>
            <a:ext cx="2438400" cy="253999"/>
            <a:chOff x="1373886" y="4838033"/>
            <a:chExt cx="2438400" cy="253999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E21C1A01-2E2A-4625-A028-54A0A34CD8B3}"/>
                </a:ext>
              </a:extLst>
            </p:cNvPr>
            <p:cNvCxnSpPr/>
            <p:nvPr/>
          </p:nvCxnSpPr>
          <p:spPr>
            <a:xfrm>
              <a:off x="1373886" y="5083564"/>
              <a:ext cx="4572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7CA9522E-CDF4-47AA-A736-2A7D4DE6271A}"/>
                </a:ext>
              </a:extLst>
            </p:cNvPr>
            <p:cNvCxnSpPr/>
            <p:nvPr/>
          </p:nvCxnSpPr>
          <p:spPr>
            <a:xfrm>
              <a:off x="2745486" y="5083564"/>
              <a:ext cx="1066800" cy="0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34C4D55F-FD81-4742-A239-52DB1E57C94F}"/>
                </a:ext>
              </a:extLst>
            </p:cNvPr>
            <p:cNvCxnSpPr/>
            <p:nvPr/>
          </p:nvCxnSpPr>
          <p:spPr>
            <a:xfrm flipV="1">
              <a:off x="1797219" y="4838033"/>
              <a:ext cx="220134" cy="249764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E70FB6C2-BAA4-4A9C-AA5C-55806CB20F8C}"/>
                </a:ext>
              </a:extLst>
            </p:cNvPr>
            <p:cNvCxnSpPr/>
            <p:nvPr/>
          </p:nvCxnSpPr>
          <p:spPr>
            <a:xfrm>
              <a:off x="1991954" y="4850732"/>
              <a:ext cx="524933" cy="42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C026F20-FB09-4A6B-AB9C-9D2AE3106337}"/>
                </a:ext>
              </a:extLst>
            </p:cNvPr>
            <p:cNvCxnSpPr/>
            <p:nvPr/>
          </p:nvCxnSpPr>
          <p:spPr>
            <a:xfrm>
              <a:off x="2491483" y="4846499"/>
              <a:ext cx="275171" cy="245533"/>
            </a:xfrm>
            <a:prstGeom prst="line">
              <a:avLst/>
            </a:prstGeom>
            <a:ln w="762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6" name="Oval 145">
            <a:extLst>
              <a:ext uri="{FF2B5EF4-FFF2-40B4-BE49-F238E27FC236}">
                <a16:creationId xmlns:a16="http://schemas.microsoft.com/office/drawing/2014/main" id="{FDC76960-D6B9-49ED-BAA1-AC82E2CC4ACB}"/>
              </a:ext>
            </a:extLst>
          </p:cNvPr>
          <p:cNvSpPr/>
          <p:nvPr/>
        </p:nvSpPr>
        <p:spPr>
          <a:xfrm>
            <a:off x="1320851" y="4397764"/>
            <a:ext cx="145374" cy="9144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FBA49114-61A4-4471-B498-0E0C4A2DB4AB}"/>
              </a:ext>
            </a:extLst>
          </p:cNvPr>
          <p:cNvSpPr/>
          <p:nvPr/>
        </p:nvSpPr>
        <p:spPr>
          <a:xfrm>
            <a:off x="4837720" y="3311398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E3A60A59-A0EC-48FF-A2EC-A1D970F4CE19}"/>
              </a:ext>
            </a:extLst>
          </p:cNvPr>
          <p:cNvGrpSpPr/>
          <p:nvPr/>
        </p:nvGrpSpPr>
        <p:grpSpPr>
          <a:xfrm>
            <a:off x="3823695" y="3156233"/>
            <a:ext cx="752257" cy="338554"/>
            <a:chOff x="2151695" y="4178793"/>
            <a:chExt cx="752257" cy="338554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CE36FB6C-D141-4521-BBC1-E98F75201B17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D768896A-243E-4C36-B4B7-B319FADDBE65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57182D8C-3651-4E03-8868-9A2A480D8E50}"/>
              </a:ext>
            </a:extLst>
          </p:cNvPr>
          <p:cNvGrpSpPr/>
          <p:nvPr/>
        </p:nvGrpSpPr>
        <p:grpSpPr>
          <a:xfrm>
            <a:off x="4534544" y="3311401"/>
            <a:ext cx="245536" cy="169333"/>
            <a:chOff x="4453299" y="3311401"/>
            <a:chExt cx="245536" cy="169333"/>
          </a:xfrm>
        </p:grpSpPr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AAFDB9C5-942F-45DD-8898-C15573989308}"/>
                </a:ext>
              </a:extLst>
            </p:cNvPr>
            <p:cNvCxnSpPr/>
            <p:nvPr/>
          </p:nvCxnSpPr>
          <p:spPr>
            <a:xfrm>
              <a:off x="4453299" y="3391833"/>
              <a:ext cx="241300" cy="42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5CCE9914-5F56-4F08-BA8E-EF36C9BA4C63}"/>
                </a:ext>
              </a:extLst>
            </p:cNvPr>
            <p:cNvCxnSpPr/>
            <p:nvPr/>
          </p:nvCxnSpPr>
          <p:spPr>
            <a:xfrm flipH="1">
              <a:off x="4698834" y="3311401"/>
              <a:ext cx="1" cy="169333"/>
            </a:xfrm>
            <a:prstGeom prst="line">
              <a:avLst/>
            </a:prstGeom>
            <a:ln w="38100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TextBox 209">
            <a:extLst>
              <a:ext uri="{FF2B5EF4-FFF2-40B4-BE49-F238E27FC236}">
                <a16:creationId xmlns:a16="http://schemas.microsoft.com/office/drawing/2014/main" id="{12865598-6DDA-4303-BE89-F92424FB3E9A}"/>
              </a:ext>
            </a:extLst>
          </p:cNvPr>
          <p:cNvSpPr txBox="1"/>
          <p:nvPr/>
        </p:nvSpPr>
        <p:spPr>
          <a:xfrm>
            <a:off x="3828423" y="4943864"/>
            <a:ext cx="1743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ster chromatid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F9E4A130-B6BE-4AFF-8807-66116081996C}"/>
              </a:ext>
            </a:extLst>
          </p:cNvPr>
          <p:cNvSpPr txBox="1"/>
          <p:nvPr/>
        </p:nvSpPr>
        <p:spPr>
          <a:xfrm>
            <a:off x="4921393" y="323472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FFDCC6E-40D9-470A-9A63-E88E39490A10}"/>
              </a:ext>
            </a:extLst>
          </p:cNvPr>
          <p:cNvGrpSpPr/>
          <p:nvPr/>
        </p:nvGrpSpPr>
        <p:grpSpPr>
          <a:xfrm>
            <a:off x="2761099" y="3059910"/>
            <a:ext cx="457821" cy="166178"/>
            <a:chOff x="2761099" y="3059910"/>
            <a:chExt cx="457821" cy="166178"/>
          </a:xfrm>
        </p:grpSpPr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C8EA67F-FC4E-47DF-8CD0-8E3912B3C191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D21DAD69-EE4B-4729-92D2-32808AC9052A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859C3B81-455C-444B-8866-5D6E084E413C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6" name="TextBox 215">
            <a:extLst>
              <a:ext uri="{FF2B5EF4-FFF2-40B4-BE49-F238E27FC236}">
                <a16:creationId xmlns:a16="http://schemas.microsoft.com/office/drawing/2014/main" id="{9C1D76EC-4CA2-4D8C-9A80-248E56A6E90D}"/>
              </a:ext>
            </a:extLst>
          </p:cNvPr>
          <p:cNvSpPr txBox="1"/>
          <p:nvPr/>
        </p:nvSpPr>
        <p:spPr>
          <a:xfrm>
            <a:off x="1652448" y="3394234"/>
            <a:ext cx="7873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E11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0480E9AE-FBBC-49A5-BD95-BDD2BA7B3E3F}"/>
              </a:ext>
            </a:extLst>
          </p:cNvPr>
          <p:cNvSpPr txBox="1"/>
          <p:nvPr/>
        </p:nvSpPr>
        <p:spPr>
          <a:xfrm>
            <a:off x="1028368" y="5768163"/>
            <a:ext cx="324565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matches original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0E543CED-F3EC-4D28-ACA5-6CF679A0CB35}"/>
              </a:ext>
            </a:extLst>
          </p:cNvPr>
          <p:cNvSpPr txBox="1"/>
          <p:nvPr/>
        </p:nvSpPr>
        <p:spPr>
          <a:xfrm>
            <a:off x="7645488" y="5321910"/>
            <a:ext cx="3900866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57200">
              <a:defRPr sz="2400" b="1">
                <a:solidFill>
                  <a:schemeClr val="accent3"/>
                </a:solidFill>
                <a:latin typeface="Calibri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air introduces deletions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1D12C7B7-D804-4E4F-9928-B11B595A0C90}"/>
              </a:ext>
            </a:extLst>
          </p:cNvPr>
          <p:cNvSpPr txBox="1"/>
          <p:nvPr/>
        </p:nvSpPr>
        <p:spPr>
          <a:xfrm>
            <a:off x="9764329" y="3105970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3BP1</a:t>
            </a:r>
          </a:p>
        </p:txBody>
      </p: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0556BB07-CA17-4E4B-A18C-51BF81208F36}"/>
              </a:ext>
            </a:extLst>
          </p:cNvPr>
          <p:cNvCxnSpPr/>
          <p:nvPr/>
        </p:nvCxnSpPr>
        <p:spPr>
          <a:xfrm>
            <a:off x="2651195" y="5332141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14C519D6-7688-4FC4-90FA-1785340F9E45}"/>
              </a:ext>
            </a:extLst>
          </p:cNvPr>
          <p:cNvCxnSpPr/>
          <p:nvPr/>
        </p:nvCxnSpPr>
        <p:spPr>
          <a:xfrm>
            <a:off x="9595921" y="4741624"/>
            <a:ext cx="0" cy="3810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2" name="Oval 221">
            <a:extLst>
              <a:ext uri="{FF2B5EF4-FFF2-40B4-BE49-F238E27FC236}">
                <a16:creationId xmlns:a16="http://schemas.microsoft.com/office/drawing/2014/main" id="{EF9DCDC3-3183-4217-9441-0737482DB82F}"/>
              </a:ext>
            </a:extLst>
          </p:cNvPr>
          <p:cNvSpPr/>
          <p:nvPr/>
        </p:nvSpPr>
        <p:spPr>
          <a:xfrm>
            <a:off x="9731878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BF000D1F-B7CF-4F84-89A1-DAB5B89462B5}"/>
              </a:ext>
            </a:extLst>
          </p:cNvPr>
          <p:cNvSpPr/>
          <p:nvPr/>
        </p:nvSpPr>
        <p:spPr>
          <a:xfrm>
            <a:off x="9731878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28D548A9-54E0-4DB7-B2DB-5199CC69A339}"/>
              </a:ext>
            </a:extLst>
          </p:cNvPr>
          <p:cNvSpPr/>
          <p:nvPr/>
        </p:nvSpPr>
        <p:spPr>
          <a:xfrm>
            <a:off x="9331994" y="3539429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44E3F568-D8C1-4E39-8AE9-45BE8F008F73}"/>
              </a:ext>
            </a:extLst>
          </p:cNvPr>
          <p:cNvSpPr/>
          <p:nvPr/>
        </p:nvSpPr>
        <p:spPr>
          <a:xfrm>
            <a:off x="9331994" y="3365235"/>
            <a:ext cx="115149" cy="18519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F8D583F-B9E1-47B1-AE2F-383DB9AA2DD5}"/>
              </a:ext>
            </a:extLst>
          </p:cNvPr>
          <p:cNvGrpSpPr/>
          <p:nvPr/>
        </p:nvGrpSpPr>
        <p:grpSpPr>
          <a:xfrm>
            <a:off x="2880794" y="4576855"/>
            <a:ext cx="752257" cy="338554"/>
            <a:chOff x="2151695" y="4178793"/>
            <a:chExt cx="752257" cy="338554"/>
          </a:xfrm>
        </p:grpSpPr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DEBF4D9E-53D9-49D9-B355-08C152A5683F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53C5ADD8-2E52-4603-96E8-E3FA9A119F2D}"/>
                </a:ext>
              </a:extLst>
            </p:cNvPr>
            <p:cNvSpPr txBox="1"/>
            <p:nvPr/>
          </p:nvSpPr>
          <p:spPr>
            <a:xfrm>
              <a:off x="2151695" y="4178793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2</a:t>
              </a:r>
            </a:p>
          </p:txBody>
        </p: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52400307-22B6-4077-9151-280CDC9C0001}"/>
              </a:ext>
            </a:extLst>
          </p:cNvPr>
          <p:cNvGrpSpPr/>
          <p:nvPr/>
        </p:nvGrpSpPr>
        <p:grpSpPr>
          <a:xfrm>
            <a:off x="3517594" y="4677222"/>
            <a:ext cx="710964" cy="338554"/>
            <a:chOff x="2161220" y="4169268"/>
            <a:chExt cx="710964" cy="338554"/>
          </a:xfrm>
        </p:grpSpPr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5EA8CFE1-2B67-432D-BB98-B789CAD7021E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0E65360C-F50C-4647-BE90-BAB9BB5B7C5B}"/>
                </a:ext>
              </a:extLst>
            </p:cNvPr>
            <p:cNvSpPr txBox="1"/>
            <p:nvPr/>
          </p:nvSpPr>
          <p:spPr>
            <a:xfrm>
              <a:off x="2161220" y="4169268"/>
              <a:ext cx="710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LB2</a:t>
              </a:r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01984A2A-2FE4-47DD-8576-08BC29D5D30F}"/>
              </a:ext>
            </a:extLst>
          </p:cNvPr>
          <p:cNvGrpSpPr/>
          <p:nvPr/>
        </p:nvGrpSpPr>
        <p:grpSpPr>
          <a:xfrm>
            <a:off x="4186531" y="4677222"/>
            <a:ext cx="752257" cy="338554"/>
            <a:chOff x="2151695" y="4169268"/>
            <a:chExt cx="752257" cy="338554"/>
          </a:xfrm>
        </p:grpSpPr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47C5A883-E499-47A0-A508-56C6A3D087E4}"/>
                </a:ext>
              </a:extLst>
            </p:cNvPr>
            <p:cNvSpPr/>
            <p:nvPr/>
          </p:nvSpPr>
          <p:spPr>
            <a:xfrm>
              <a:off x="2164723" y="4191786"/>
              <a:ext cx="683023" cy="30394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BE96390F-3A2B-462F-B64C-3744D5CAD99F}"/>
                </a:ext>
              </a:extLst>
            </p:cNvPr>
            <p:cNvSpPr txBox="1"/>
            <p:nvPr/>
          </p:nvSpPr>
          <p:spPr>
            <a:xfrm>
              <a:off x="2151695" y="4169268"/>
              <a:ext cx="7522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RCA1</a:t>
              </a: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8632855B-8C94-4925-A708-60830AE59EA3}"/>
              </a:ext>
            </a:extLst>
          </p:cNvPr>
          <p:cNvGrpSpPr/>
          <p:nvPr/>
        </p:nvGrpSpPr>
        <p:grpSpPr>
          <a:xfrm>
            <a:off x="1837734" y="3295399"/>
            <a:ext cx="457821" cy="166178"/>
            <a:chOff x="2761099" y="3059910"/>
            <a:chExt cx="457821" cy="166178"/>
          </a:xfrm>
        </p:grpSpPr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2289BA41-D981-4D49-B752-67F55A89276D}"/>
                </a:ext>
              </a:extLst>
            </p:cNvPr>
            <p:cNvSpPr/>
            <p:nvPr/>
          </p:nvSpPr>
          <p:spPr>
            <a:xfrm>
              <a:off x="2761099" y="3124847"/>
              <a:ext cx="196131" cy="9806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F3DD414E-6365-4C5C-9CBC-44A8A575E072}"/>
                </a:ext>
              </a:extLst>
            </p:cNvPr>
            <p:cNvSpPr/>
            <p:nvPr/>
          </p:nvSpPr>
          <p:spPr>
            <a:xfrm>
              <a:off x="2936445" y="3128022"/>
              <a:ext cx="196131" cy="9806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F3A205C6-73CA-4CF5-B1C7-6EAE146DC2CE}"/>
                </a:ext>
              </a:extLst>
            </p:cNvPr>
            <p:cNvSpPr/>
            <p:nvPr/>
          </p:nvSpPr>
          <p:spPr>
            <a:xfrm>
              <a:off x="2922385" y="3059910"/>
              <a:ext cx="296535" cy="98845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9" name="Rectangle 238">
            <a:extLst>
              <a:ext uri="{FF2B5EF4-FFF2-40B4-BE49-F238E27FC236}">
                <a16:creationId xmlns:a16="http://schemas.microsoft.com/office/drawing/2014/main" id="{A784C11D-903B-4D73-AC8C-9897DEA2FB4F}"/>
              </a:ext>
            </a:extLst>
          </p:cNvPr>
          <p:cNvSpPr/>
          <p:nvPr/>
        </p:nvSpPr>
        <p:spPr>
          <a:xfrm>
            <a:off x="602911" y="1773762"/>
            <a:ext cx="5517553" cy="4436538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Multiplication Sign 1">
            <a:extLst>
              <a:ext uri="{FF2B5EF4-FFF2-40B4-BE49-F238E27FC236}">
                <a16:creationId xmlns:a16="http://schemas.microsoft.com/office/drawing/2014/main" id="{A8F7B906-A66A-449C-B058-81FE4F21791A}"/>
              </a:ext>
            </a:extLst>
          </p:cNvPr>
          <p:cNvSpPr/>
          <p:nvPr/>
        </p:nvSpPr>
        <p:spPr bwMode="auto">
          <a:xfrm>
            <a:off x="465148" y="1341439"/>
            <a:ext cx="4754551" cy="4754551"/>
          </a:xfrm>
          <a:prstGeom prst="mathMultiply">
            <a:avLst>
              <a:gd name="adj1" fmla="val 13449"/>
            </a:avLst>
          </a:prstGeom>
          <a:solidFill>
            <a:schemeClr val="accent3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6074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AE4EA34-1D5A-4017-A4EE-3432F24804C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DNA Repair Pathways for Double-Stranded DNA Breaks: Take-home Mess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43B658-325C-4D96-A412-B1B48A6C67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mologous recombination repair</a:t>
            </a:r>
          </a:p>
          <a:p>
            <a:pPr lvl="1"/>
            <a:r>
              <a:rPr lang="en-US" dirty="0"/>
              <a:t>Flawless repairs</a:t>
            </a:r>
          </a:p>
          <a:p>
            <a:pPr lvl="1"/>
            <a:r>
              <a:rPr lang="en-US" dirty="0"/>
              <a:t>Requires </a:t>
            </a:r>
            <a:r>
              <a:rPr lang="en-US" i="1" dirty="0"/>
              <a:t>BRCA2</a:t>
            </a:r>
            <a:r>
              <a:rPr lang="en-US" dirty="0"/>
              <a:t>, </a:t>
            </a:r>
            <a:r>
              <a:rPr lang="en-US" i="1" dirty="0"/>
              <a:t>BRCA1</a:t>
            </a:r>
            <a:r>
              <a:rPr lang="en-US" dirty="0"/>
              <a:t>, </a:t>
            </a:r>
            <a:r>
              <a:rPr lang="en-US" i="1" dirty="0"/>
              <a:t>PALB2</a:t>
            </a:r>
            <a:r>
              <a:rPr lang="en-US" dirty="0"/>
              <a:t>, others</a:t>
            </a:r>
          </a:p>
          <a:p>
            <a:r>
              <a:rPr lang="en-US" dirty="0"/>
              <a:t>Nonhomologous end joining</a:t>
            </a:r>
          </a:p>
          <a:p>
            <a:pPr lvl="1"/>
            <a:r>
              <a:rPr lang="en-US" dirty="0"/>
              <a:t>Repairs but creates deletions</a:t>
            </a:r>
          </a:p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D0BE819-6E3C-4580-9EDD-B61F3C1CDADF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id="{FB70C103-600A-42B8-9BD5-6B2B8E453B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B6572BE-804C-45AB-9297-23115B5C7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81304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9F242F-28F5-47B8-82CA-5925AD73F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PARP Inhibitors Target </a:t>
            </a:r>
            <a:br>
              <a:rPr lang="en-US" dirty="0"/>
            </a:br>
            <a:r>
              <a:rPr lang="en-US" dirty="0"/>
              <a:t>DNA Repair–Deficient Tumor Cells?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017B314-5D64-5E4B-A917-32CC9F720B18}"/>
              </a:ext>
            </a:extLst>
          </p:cNvPr>
          <p:cNvSpPr/>
          <p:nvPr/>
        </p:nvSpPr>
        <p:spPr bwMode="auto">
          <a:xfrm>
            <a:off x="8115300" y="5086835"/>
            <a:ext cx="4076700" cy="1486684"/>
          </a:xfrm>
          <a:prstGeom prst="round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9253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8" name="Rectangle 15">
            <a:extLst>
              <a:ext uri="{FF2B5EF4-FFF2-40B4-BE49-F238E27FC236}">
                <a16:creationId xmlns:a16="http://schemas.microsoft.com/office/drawing/2014/main" id="{B2E8746E-CD89-4677-8EC8-FDDD5663439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ARP1 Biology in Normal Cells</a:t>
            </a:r>
          </a:p>
        </p:txBody>
      </p:sp>
      <p:sp>
        <p:nvSpPr>
          <p:cNvPr id="15367" name="Rectangle 16">
            <a:extLst>
              <a:ext uri="{FF2B5EF4-FFF2-40B4-BE49-F238E27FC236}">
                <a16:creationId xmlns:a16="http://schemas.microsoft.com/office/drawing/2014/main" id="{828BABB3-7D94-439C-ACC5-C6056ABF5B15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04675" y="1513047"/>
            <a:ext cx="10877529" cy="2836991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dirty="0"/>
              <a:t>Activated PARP1 uses NAD as a substrate to add large, branched chains of poly(ADP-ribose) polymers (ie, PARylation) to target proteins</a:t>
            </a:r>
            <a:endParaRPr lang="en-GB" dirty="0"/>
          </a:p>
          <a:p>
            <a:pPr>
              <a:spcAft>
                <a:spcPts val="0"/>
              </a:spcAft>
            </a:pPr>
            <a:r>
              <a:rPr lang="en-GB" dirty="0"/>
              <a:t>Key for repair of ssDNA breaks via BER pathway</a:t>
            </a:r>
          </a:p>
          <a:p>
            <a:pPr lvl="1">
              <a:spcAft>
                <a:spcPts val="0"/>
              </a:spcAft>
            </a:pPr>
            <a:r>
              <a:rPr lang="en-GB" dirty="0"/>
              <a:t>Binds directly to sites of DNA damage during repair</a:t>
            </a:r>
          </a:p>
          <a:p>
            <a:pPr lvl="1">
              <a:spcAft>
                <a:spcPts val="0"/>
              </a:spcAft>
            </a:pPr>
            <a:r>
              <a:rPr lang="en-GB" dirty="0"/>
              <a:t>Recruits other DNA repair enzymes </a:t>
            </a:r>
          </a:p>
          <a:p>
            <a:pPr>
              <a:spcAft>
                <a:spcPts val="0"/>
              </a:spcAft>
            </a:pPr>
            <a:r>
              <a:rPr lang="en-US" dirty="0"/>
              <a:t>Without PARP1, single-strand repair not initiated efficiently</a:t>
            </a:r>
          </a:p>
          <a:p>
            <a:pPr>
              <a:spcAft>
                <a:spcPts val="0"/>
              </a:spcAft>
            </a:pPr>
            <a:endParaRPr lang="en-US" dirty="0"/>
          </a:p>
        </p:txBody>
      </p:sp>
      <p:sp>
        <p:nvSpPr>
          <p:cNvPr id="12" name="Text Box 11">
            <a:extLst>
              <a:ext uri="{FF2B5EF4-FFF2-40B4-BE49-F238E27FC236}">
                <a16:creationId xmlns:a16="http://schemas.microsoft.com/office/drawing/2014/main" id="{AEE81B11-1A0E-4C91-8D27-E6A7D6681B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458" y="6367263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hmoto. Onco Targets Ther. 2017;10:5195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D785847-EAB6-47D9-8384-770FBA221A34}"/>
              </a:ext>
            </a:extLst>
          </p:cNvPr>
          <p:cNvGrpSpPr>
            <a:grpSpLocks/>
          </p:cNvGrpSpPr>
          <p:nvPr/>
        </p:nvGrpSpPr>
        <p:grpSpPr bwMode="auto">
          <a:xfrm>
            <a:off x="9194800" y="6102349"/>
            <a:ext cx="2674130" cy="455415"/>
            <a:chOff x="6294438" y="6210300"/>
            <a:chExt cx="2674130" cy="455415"/>
          </a:xfrm>
        </p:grpSpPr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CBB32E35-4FC7-4B13-92A3-467718674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38" y="6357938"/>
              <a:ext cx="267413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5" name="Picture 10">
              <a:extLst>
                <a:ext uri="{FF2B5EF4-FFF2-40B4-BE49-F238E27FC236}">
                  <a16:creationId xmlns:a16="http://schemas.microsoft.com/office/drawing/2014/main" id="{8C9D59CB-EC3E-4561-A05C-CA2A289AA6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894" r="5573"/>
            <a:stretch>
              <a:fillRect/>
            </a:stretch>
          </p:blipFill>
          <p:spPr bwMode="auto">
            <a:xfrm>
              <a:off x="8277225" y="6210300"/>
              <a:ext cx="569913" cy="18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5" name="Oval 134">
            <a:extLst>
              <a:ext uri="{FF2B5EF4-FFF2-40B4-BE49-F238E27FC236}">
                <a16:creationId xmlns:a16="http://schemas.microsoft.com/office/drawing/2014/main" id="{8F82BB74-D9DA-4CF1-96B1-CE8505149222}"/>
              </a:ext>
            </a:extLst>
          </p:cNvPr>
          <p:cNvSpPr/>
          <p:nvPr/>
        </p:nvSpPr>
        <p:spPr bwMode="auto">
          <a:xfrm>
            <a:off x="8593474" y="5239232"/>
            <a:ext cx="381446" cy="391914"/>
          </a:xfrm>
          <a:prstGeom prst="ellipse">
            <a:avLst/>
          </a:prstGeom>
          <a:solidFill>
            <a:schemeClr val="accent3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DCDC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532EF1C-DC33-45DA-BBAB-AF0310BD8A14}"/>
              </a:ext>
            </a:extLst>
          </p:cNvPr>
          <p:cNvSpPr/>
          <p:nvPr/>
        </p:nvSpPr>
        <p:spPr bwMode="auto">
          <a:xfrm rot="10800000">
            <a:off x="8645488" y="5341319"/>
            <a:ext cx="822960" cy="365760"/>
          </a:xfrm>
          <a:prstGeom prst="ellipse">
            <a:avLst/>
          </a:prstGeom>
          <a:solidFill>
            <a:schemeClr val="accent3"/>
          </a:solidFill>
          <a:ln>
            <a:solidFill>
              <a:srgbClr val="000000"/>
            </a:solidFill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DCDC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C2453252-40E4-45D2-AC4E-5C83C23196F2}"/>
              </a:ext>
            </a:extLst>
          </p:cNvPr>
          <p:cNvGrpSpPr/>
          <p:nvPr/>
        </p:nvGrpSpPr>
        <p:grpSpPr>
          <a:xfrm>
            <a:off x="2136909" y="5587178"/>
            <a:ext cx="3260885" cy="540769"/>
            <a:chOff x="-4333527" y="2679496"/>
            <a:chExt cx="4125796" cy="684201"/>
          </a:xfrm>
        </p:grpSpPr>
        <p:sp>
          <p:nvSpPr>
            <p:cNvPr id="267" name="AutoShape 76">
              <a:extLst>
                <a:ext uri="{FF2B5EF4-FFF2-40B4-BE49-F238E27FC236}">
                  <a16:creationId xmlns:a16="http://schemas.microsoft.com/office/drawing/2014/main" id="{CA774EF0-1853-4E9B-B102-A018DB9DE8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4333527" y="2679496"/>
              <a:ext cx="4125796" cy="684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68" name="Freeform 78">
              <a:extLst>
                <a:ext uri="{FF2B5EF4-FFF2-40B4-BE49-F238E27FC236}">
                  <a16:creationId xmlns:a16="http://schemas.microsoft.com/office/drawing/2014/main" id="{FE2839D5-FEB3-4930-A707-10F11013B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71779" y="2683312"/>
              <a:ext cx="1599964" cy="667978"/>
            </a:xfrm>
            <a:custGeom>
              <a:avLst/>
              <a:gdLst>
                <a:gd name="T0" fmla="*/ 815 w 1182"/>
                <a:gd name="T1" fmla="*/ 681 h 700"/>
                <a:gd name="T2" fmla="*/ 852 w 1182"/>
                <a:gd name="T3" fmla="*/ 670 h 700"/>
                <a:gd name="T4" fmla="*/ 884 w 1182"/>
                <a:gd name="T5" fmla="*/ 647 h 700"/>
                <a:gd name="T6" fmla="*/ 916 w 1182"/>
                <a:gd name="T7" fmla="*/ 613 h 700"/>
                <a:gd name="T8" fmla="*/ 955 w 1182"/>
                <a:gd name="T9" fmla="*/ 555 h 700"/>
                <a:gd name="T10" fmla="*/ 1011 w 1182"/>
                <a:gd name="T11" fmla="*/ 449 h 700"/>
                <a:gd name="T12" fmla="*/ 1090 w 1182"/>
                <a:gd name="T13" fmla="*/ 290 h 700"/>
                <a:gd name="T14" fmla="*/ 1134 w 1182"/>
                <a:gd name="T15" fmla="*/ 213 h 700"/>
                <a:gd name="T16" fmla="*/ 1182 w 1182"/>
                <a:gd name="T17" fmla="*/ 316 h 700"/>
                <a:gd name="T18" fmla="*/ 1112 w 1182"/>
                <a:gd name="T19" fmla="*/ 454 h 700"/>
                <a:gd name="T20" fmla="*/ 1053 w 1182"/>
                <a:gd name="T21" fmla="*/ 549 h 700"/>
                <a:gd name="T22" fmla="*/ 994 w 1182"/>
                <a:gd name="T23" fmla="*/ 617 h 700"/>
                <a:gd name="T24" fmla="*/ 956 w 1182"/>
                <a:gd name="T25" fmla="*/ 649 h 700"/>
                <a:gd name="T26" fmla="*/ 915 w 1182"/>
                <a:gd name="T27" fmla="*/ 674 h 700"/>
                <a:gd name="T28" fmla="*/ 868 w 1182"/>
                <a:gd name="T29" fmla="*/ 692 h 700"/>
                <a:gd name="T30" fmla="*/ 819 w 1182"/>
                <a:gd name="T31" fmla="*/ 700 h 700"/>
                <a:gd name="T32" fmla="*/ 785 w 1182"/>
                <a:gd name="T33" fmla="*/ 700 h 700"/>
                <a:gd name="T34" fmla="*/ 740 w 1182"/>
                <a:gd name="T35" fmla="*/ 692 h 700"/>
                <a:gd name="T36" fmla="*/ 699 w 1182"/>
                <a:gd name="T37" fmla="*/ 676 h 700"/>
                <a:gd name="T38" fmla="*/ 661 w 1182"/>
                <a:gd name="T39" fmla="*/ 654 h 700"/>
                <a:gd name="T40" fmla="*/ 613 w 1182"/>
                <a:gd name="T41" fmla="*/ 616 h 700"/>
                <a:gd name="T42" fmla="*/ 553 w 1182"/>
                <a:gd name="T43" fmla="*/ 540 h 700"/>
                <a:gd name="T44" fmla="*/ 500 w 1182"/>
                <a:gd name="T45" fmla="*/ 453 h 700"/>
                <a:gd name="T46" fmla="*/ 453 w 1182"/>
                <a:gd name="T47" fmla="*/ 359 h 700"/>
                <a:gd name="T48" fmla="*/ 351 w 1182"/>
                <a:gd name="T49" fmla="*/ 151 h 700"/>
                <a:gd name="T50" fmla="*/ 307 w 1182"/>
                <a:gd name="T51" fmla="*/ 82 h 700"/>
                <a:gd name="T52" fmla="*/ 266 w 1182"/>
                <a:gd name="T53" fmla="*/ 42 h 700"/>
                <a:gd name="T54" fmla="*/ 239 w 1182"/>
                <a:gd name="T55" fmla="*/ 26 h 700"/>
                <a:gd name="T56" fmla="*/ 210 w 1182"/>
                <a:gd name="T57" fmla="*/ 20 h 700"/>
                <a:gd name="T58" fmla="*/ 189 w 1182"/>
                <a:gd name="T59" fmla="*/ 18 h 700"/>
                <a:gd name="T60" fmla="*/ 156 w 1182"/>
                <a:gd name="T61" fmla="*/ 27 h 700"/>
                <a:gd name="T62" fmla="*/ 127 w 1182"/>
                <a:gd name="T63" fmla="*/ 46 h 700"/>
                <a:gd name="T64" fmla="*/ 97 w 1182"/>
                <a:gd name="T65" fmla="*/ 74 h 700"/>
                <a:gd name="T66" fmla="*/ 45 w 1182"/>
                <a:gd name="T67" fmla="*/ 151 h 700"/>
                <a:gd name="T68" fmla="*/ 22 w 1182"/>
                <a:gd name="T69" fmla="*/ 119 h 700"/>
                <a:gd name="T70" fmla="*/ 21 w 1182"/>
                <a:gd name="T71" fmla="*/ 71 h 700"/>
                <a:gd name="T72" fmla="*/ 77 w 1182"/>
                <a:gd name="T73" fmla="*/ 31 h 700"/>
                <a:gd name="T74" fmla="*/ 115 w 1182"/>
                <a:gd name="T75" fmla="*/ 14 h 700"/>
                <a:gd name="T76" fmla="*/ 156 w 1182"/>
                <a:gd name="T77" fmla="*/ 4 h 700"/>
                <a:gd name="T78" fmla="*/ 201 w 1182"/>
                <a:gd name="T79" fmla="*/ 0 h 700"/>
                <a:gd name="T80" fmla="*/ 232 w 1182"/>
                <a:gd name="T81" fmla="*/ 3 h 700"/>
                <a:gd name="T82" fmla="*/ 277 w 1182"/>
                <a:gd name="T83" fmla="*/ 13 h 700"/>
                <a:gd name="T84" fmla="*/ 318 w 1182"/>
                <a:gd name="T85" fmla="*/ 31 h 700"/>
                <a:gd name="T86" fmla="*/ 355 w 1182"/>
                <a:gd name="T87" fmla="*/ 55 h 700"/>
                <a:gd name="T88" fmla="*/ 411 w 1182"/>
                <a:gd name="T89" fmla="*/ 108 h 700"/>
                <a:gd name="T90" fmla="*/ 470 w 1182"/>
                <a:gd name="T91" fmla="*/ 188 h 700"/>
                <a:gd name="T92" fmla="*/ 519 w 1182"/>
                <a:gd name="T93" fmla="*/ 278 h 700"/>
                <a:gd name="T94" fmla="*/ 621 w 1182"/>
                <a:gd name="T95" fmla="*/ 496 h 700"/>
                <a:gd name="T96" fmla="*/ 665 w 1182"/>
                <a:gd name="T97" fmla="*/ 575 h 700"/>
                <a:gd name="T98" fmla="*/ 711 w 1182"/>
                <a:gd name="T99" fmla="*/ 637 h 700"/>
                <a:gd name="T100" fmla="*/ 745 w 1182"/>
                <a:gd name="T101" fmla="*/ 665 h 700"/>
                <a:gd name="T102" fmla="*/ 772 w 1182"/>
                <a:gd name="T103" fmla="*/ 677 h 700"/>
                <a:gd name="T104" fmla="*/ 802 w 1182"/>
                <a:gd name="T105" fmla="*/ 682 h 7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2" h="700">
                  <a:moveTo>
                    <a:pt x="802" y="682"/>
                  </a:moveTo>
                  <a:lnTo>
                    <a:pt x="802" y="682"/>
                  </a:lnTo>
                  <a:lnTo>
                    <a:pt x="815" y="681"/>
                  </a:lnTo>
                  <a:lnTo>
                    <a:pt x="827" y="679"/>
                  </a:lnTo>
                  <a:lnTo>
                    <a:pt x="839" y="675"/>
                  </a:lnTo>
                  <a:lnTo>
                    <a:pt x="852" y="670"/>
                  </a:lnTo>
                  <a:lnTo>
                    <a:pt x="863" y="664"/>
                  </a:lnTo>
                  <a:lnTo>
                    <a:pt x="874" y="656"/>
                  </a:lnTo>
                  <a:lnTo>
                    <a:pt x="884" y="647"/>
                  </a:lnTo>
                  <a:lnTo>
                    <a:pt x="895" y="637"/>
                  </a:lnTo>
                  <a:lnTo>
                    <a:pt x="906" y="626"/>
                  </a:lnTo>
                  <a:lnTo>
                    <a:pt x="916" y="613"/>
                  </a:lnTo>
                  <a:lnTo>
                    <a:pt x="926" y="600"/>
                  </a:lnTo>
                  <a:lnTo>
                    <a:pt x="936" y="586"/>
                  </a:lnTo>
                  <a:lnTo>
                    <a:pt x="955" y="555"/>
                  </a:lnTo>
                  <a:lnTo>
                    <a:pt x="974" y="521"/>
                  </a:lnTo>
                  <a:lnTo>
                    <a:pt x="993" y="486"/>
                  </a:lnTo>
                  <a:lnTo>
                    <a:pt x="1011" y="449"/>
                  </a:lnTo>
                  <a:lnTo>
                    <a:pt x="1049" y="369"/>
                  </a:lnTo>
                  <a:lnTo>
                    <a:pt x="1070" y="330"/>
                  </a:lnTo>
                  <a:lnTo>
                    <a:pt x="1090" y="290"/>
                  </a:lnTo>
                  <a:lnTo>
                    <a:pt x="1111" y="250"/>
                  </a:lnTo>
                  <a:lnTo>
                    <a:pt x="1134" y="213"/>
                  </a:lnTo>
                  <a:lnTo>
                    <a:pt x="1158" y="264"/>
                  </a:lnTo>
                  <a:lnTo>
                    <a:pt x="1182" y="316"/>
                  </a:lnTo>
                  <a:lnTo>
                    <a:pt x="1148" y="386"/>
                  </a:lnTo>
                  <a:lnTo>
                    <a:pt x="1130" y="421"/>
                  </a:lnTo>
                  <a:lnTo>
                    <a:pt x="1112" y="454"/>
                  </a:lnTo>
                  <a:lnTo>
                    <a:pt x="1093" y="487"/>
                  </a:lnTo>
                  <a:lnTo>
                    <a:pt x="1073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7" y="604"/>
                  </a:lnTo>
                  <a:lnTo>
                    <a:pt x="994" y="617"/>
                  </a:lnTo>
                  <a:lnTo>
                    <a:pt x="982" y="628"/>
                  </a:lnTo>
                  <a:lnTo>
                    <a:pt x="970" y="639"/>
                  </a:lnTo>
                  <a:lnTo>
                    <a:pt x="956" y="649"/>
                  </a:lnTo>
                  <a:lnTo>
                    <a:pt x="943" y="658"/>
                  </a:lnTo>
                  <a:lnTo>
                    <a:pt x="929" y="667"/>
                  </a:lnTo>
                  <a:lnTo>
                    <a:pt x="915" y="674"/>
                  </a:lnTo>
                  <a:lnTo>
                    <a:pt x="900" y="681"/>
                  </a:lnTo>
                  <a:lnTo>
                    <a:pt x="884" y="687"/>
                  </a:lnTo>
                  <a:lnTo>
                    <a:pt x="868" y="692"/>
                  </a:lnTo>
                  <a:lnTo>
                    <a:pt x="853" y="695"/>
                  </a:lnTo>
                  <a:lnTo>
                    <a:pt x="836" y="698"/>
                  </a:lnTo>
                  <a:lnTo>
                    <a:pt x="819" y="700"/>
                  </a:lnTo>
                  <a:lnTo>
                    <a:pt x="801" y="700"/>
                  </a:lnTo>
                  <a:lnTo>
                    <a:pt x="785" y="700"/>
                  </a:lnTo>
                  <a:lnTo>
                    <a:pt x="770" y="697"/>
                  </a:lnTo>
                  <a:lnTo>
                    <a:pt x="755" y="695"/>
                  </a:lnTo>
                  <a:lnTo>
                    <a:pt x="740" y="692"/>
                  </a:lnTo>
                  <a:lnTo>
                    <a:pt x="726" y="687"/>
                  </a:lnTo>
                  <a:lnTo>
                    <a:pt x="712" y="683"/>
                  </a:lnTo>
                  <a:lnTo>
                    <a:pt x="699" y="676"/>
                  </a:lnTo>
                  <a:lnTo>
                    <a:pt x="685" y="669"/>
                  </a:lnTo>
                  <a:lnTo>
                    <a:pt x="673" y="663"/>
                  </a:lnTo>
                  <a:lnTo>
                    <a:pt x="661" y="654"/>
                  </a:lnTo>
                  <a:lnTo>
                    <a:pt x="648" y="646"/>
                  </a:lnTo>
                  <a:lnTo>
                    <a:pt x="636" y="636"/>
                  </a:lnTo>
                  <a:lnTo>
                    <a:pt x="613" y="616"/>
                  </a:lnTo>
                  <a:lnTo>
                    <a:pt x="592" y="592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4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3" y="422"/>
                  </a:lnTo>
                  <a:lnTo>
                    <a:pt x="453" y="359"/>
                  </a:lnTo>
                  <a:lnTo>
                    <a:pt x="394" y="235"/>
                  </a:lnTo>
                  <a:lnTo>
                    <a:pt x="366" y="177"/>
                  </a:lnTo>
                  <a:lnTo>
                    <a:pt x="351" y="151"/>
                  </a:lnTo>
                  <a:lnTo>
                    <a:pt x="337" y="126"/>
                  </a:lnTo>
                  <a:lnTo>
                    <a:pt x="322" y="102"/>
                  </a:lnTo>
                  <a:lnTo>
                    <a:pt x="307" y="82"/>
                  </a:lnTo>
                  <a:lnTo>
                    <a:pt x="291" y="63"/>
                  </a:lnTo>
                  <a:lnTo>
                    <a:pt x="274" y="49"/>
                  </a:lnTo>
                  <a:lnTo>
                    <a:pt x="266" y="42"/>
                  </a:lnTo>
                  <a:lnTo>
                    <a:pt x="257" y="35"/>
                  </a:lnTo>
                  <a:lnTo>
                    <a:pt x="248" y="31"/>
                  </a:lnTo>
                  <a:lnTo>
                    <a:pt x="239" y="26"/>
                  </a:lnTo>
                  <a:lnTo>
                    <a:pt x="230" y="23"/>
                  </a:lnTo>
                  <a:lnTo>
                    <a:pt x="220" y="21"/>
                  </a:lnTo>
                  <a:lnTo>
                    <a:pt x="210" y="20"/>
                  </a:lnTo>
                  <a:lnTo>
                    <a:pt x="201" y="18"/>
                  </a:lnTo>
                  <a:lnTo>
                    <a:pt x="189" y="18"/>
                  </a:lnTo>
                  <a:lnTo>
                    <a:pt x="178" y="21"/>
                  </a:lnTo>
                  <a:lnTo>
                    <a:pt x="167" y="24"/>
                  </a:lnTo>
                  <a:lnTo>
                    <a:pt x="156" y="27"/>
                  </a:lnTo>
                  <a:lnTo>
                    <a:pt x="146" y="33"/>
                  </a:lnTo>
                  <a:lnTo>
                    <a:pt x="136" y="40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6" y="64"/>
                  </a:lnTo>
                  <a:lnTo>
                    <a:pt x="97" y="74"/>
                  </a:lnTo>
                  <a:lnTo>
                    <a:pt x="80" y="97"/>
                  </a:lnTo>
                  <a:lnTo>
                    <a:pt x="62" y="123"/>
                  </a:lnTo>
                  <a:lnTo>
                    <a:pt x="45" y="151"/>
                  </a:lnTo>
                  <a:lnTo>
                    <a:pt x="33" y="135"/>
                  </a:lnTo>
                  <a:lnTo>
                    <a:pt x="22" y="119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2" y="53"/>
                  </a:lnTo>
                  <a:lnTo>
                    <a:pt x="66" y="37"/>
                  </a:lnTo>
                  <a:lnTo>
                    <a:pt x="77" y="31"/>
                  </a:lnTo>
                  <a:lnTo>
                    <a:pt x="90" y="24"/>
                  </a:lnTo>
                  <a:lnTo>
                    <a:pt x="103" y="18"/>
                  </a:lnTo>
                  <a:lnTo>
                    <a:pt x="115" y="14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6" y="4"/>
                  </a:lnTo>
                  <a:lnTo>
                    <a:pt x="171" y="2"/>
                  </a:lnTo>
                  <a:lnTo>
                    <a:pt x="185" y="0"/>
                  </a:lnTo>
                  <a:lnTo>
                    <a:pt x="201" y="0"/>
                  </a:lnTo>
                  <a:lnTo>
                    <a:pt x="217" y="0"/>
                  </a:lnTo>
                  <a:lnTo>
                    <a:pt x="232" y="3"/>
                  </a:lnTo>
                  <a:lnTo>
                    <a:pt x="248" y="5"/>
                  </a:lnTo>
                  <a:lnTo>
                    <a:pt x="263" y="8"/>
                  </a:lnTo>
                  <a:lnTo>
                    <a:pt x="277" y="13"/>
                  </a:lnTo>
                  <a:lnTo>
                    <a:pt x="291" y="18"/>
                  </a:lnTo>
                  <a:lnTo>
                    <a:pt x="304" y="24"/>
                  </a:lnTo>
                  <a:lnTo>
                    <a:pt x="318" y="31"/>
                  </a:lnTo>
                  <a:lnTo>
                    <a:pt x="330" y="37"/>
                  </a:lnTo>
                  <a:lnTo>
                    <a:pt x="344" y="46"/>
                  </a:lnTo>
                  <a:lnTo>
                    <a:pt x="355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1" y="108"/>
                  </a:lnTo>
                  <a:lnTo>
                    <a:pt x="431" y="133"/>
                  </a:lnTo>
                  <a:lnTo>
                    <a:pt x="450" y="160"/>
                  </a:lnTo>
                  <a:lnTo>
                    <a:pt x="470" y="188"/>
                  </a:lnTo>
                  <a:lnTo>
                    <a:pt x="486" y="217"/>
                  </a:lnTo>
                  <a:lnTo>
                    <a:pt x="503" y="247"/>
                  </a:lnTo>
                  <a:lnTo>
                    <a:pt x="519" y="278"/>
                  </a:lnTo>
                  <a:lnTo>
                    <a:pt x="550" y="341"/>
                  </a:lnTo>
                  <a:lnTo>
                    <a:pt x="608" y="467"/>
                  </a:lnTo>
                  <a:lnTo>
                    <a:pt x="621" y="496"/>
                  </a:lnTo>
                  <a:lnTo>
                    <a:pt x="636" y="524"/>
                  </a:lnTo>
                  <a:lnTo>
                    <a:pt x="650" y="549"/>
                  </a:lnTo>
                  <a:lnTo>
                    <a:pt x="665" y="575"/>
                  </a:lnTo>
                  <a:lnTo>
                    <a:pt x="680" y="598"/>
                  </a:lnTo>
                  <a:lnTo>
                    <a:pt x="695" y="618"/>
                  </a:lnTo>
                  <a:lnTo>
                    <a:pt x="711" y="637"/>
                  </a:lnTo>
                  <a:lnTo>
                    <a:pt x="727" y="651"/>
                  </a:lnTo>
                  <a:lnTo>
                    <a:pt x="736" y="658"/>
                  </a:lnTo>
                  <a:lnTo>
                    <a:pt x="745" y="665"/>
                  </a:lnTo>
                  <a:lnTo>
                    <a:pt x="754" y="669"/>
                  </a:lnTo>
                  <a:lnTo>
                    <a:pt x="763" y="674"/>
                  </a:lnTo>
                  <a:lnTo>
                    <a:pt x="772" y="677"/>
                  </a:lnTo>
                  <a:lnTo>
                    <a:pt x="782" y="679"/>
                  </a:lnTo>
                  <a:lnTo>
                    <a:pt x="792" y="682"/>
                  </a:lnTo>
                  <a:lnTo>
                    <a:pt x="802" y="6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69" name="Freeform 79">
              <a:extLst>
                <a:ext uri="{FF2B5EF4-FFF2-40B4-BE49-F238E27FC236}">
                  <a16:creationId xmlns:a16="http://schemas.microsoft.com/office/drawing/2014/main" id="{88D0EE81-5427-4D0E-B598-1BA02BEC0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4439" y="2696673"/>
              <a:ext cx="272076" cy="143138"/>
            </a:xfrm>
            <a:custGeom>
              <a:avLst/>
              <a:gdLst>
                <a:gd name="T0" fmla="*/ 44 w 201"/>
                <a:gd name="T1" fmla="*/ 150 h 150"/>
                <a:gd name="T2" fmla="*/ 44 w 201"/>
                <a:gd name="T3" fmla="*/ 150 h 150"/>
                <a:gd name="T4" fmla="*/ 62 w 201"/>
                <a:gd name="T5" fmla="*/ 122 h 150"/>
                <a:gd name="T6" fmla="*/ 80 w 201"/>
                <a:gd name="T7" fmla="*/ 96 h 150"/>
                <a:gd name="T8" fmla="*/ 98 w 201"/>
                <a:gd name="T9" fmla="*/ 74 h 150"/>
                <a:gd name="T10" fmla="*/ 107 w 201"/>
                <a:gd name="T11" fmla="*/ 64 h 150"/>
                <a:gd name="T12" fmla="*/ 117 w 201"/>
                <a:gd name="T13" fmla="*/ 55 h 150"/>
                <a:gd name="T14" fmla="*/ 126 w 201"/>
                <a:gd name="T15" fmla="*/ 46 h 150"/>
                <a:gd name="T16" fmla="*/ 136 w 201"/>
                <a:gd name="T17" fmla="*/ 39 h 150"/>
                <a:gd name="T18" fmla="*/ 146 w 201"/>
                <a:gd name="T19" fmla="*/ 32 h 150"/>
                <a:gd name="T20" fmla="*/ 156 w 201"/>
                <a:gd name="T21" fmla="*/ 27 h 150"/>
                <a:gd name="T22" fmla="*/ 167 w 201"/>
                <a:gd name="T23" fmla="*/ 23 h 150"/>
                <a:gd name="T24" fmla="*/ 177 w 201"/>
                <a:gd name="T25" fmla="*/ 20 h 150"/>
                <a:gd name="T26" fmla="*/ 189 w 201"/>
                <a:gd name="T27" fmla="*/ 18 h 150"/>
                <a:gd name="T28" fmla="*/ 200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5 w 201"/>
                <a:gd name="T35" fmla="*/ 0 h 150"/>
                <a:gd name="T36" fmla="*/ 171 w 201"/>
                <a:gd name="T37" fmla="*/ 1 h 150"/>
                <a:gd name="T38" fmla="*/ 156 w 201"/>
                <a:gd name="T39" fmla="*/ 2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3 h 150"/>
                <a:gd name="T46" fmla="*/ 102 w 201"/>
                <a:gd name="T47" fmla="*/ 18 h 150"/>
                <a:gd name="T48" fmla="*/ 90 w 201"/>
                <a:gd name="T49" fmla="*/ 23 h 150"/>
                <a:gd name="T50" fmla="*/ 77 w 201"/>
                <a:gd name="T51" fmla="*/ 30 h 150"/>
                <a:gd name="T52" fmla="*/ 65 w 201"/>
                <a:gd name="T53" fmla="*/ 37 h 150"/>
                <a:gd name="T54" fmla="*/ 43 w 201"/>
                <a:gd name="T55" fmla="*/ 53 h 150"/>
                <a:gd name="T56" fmla="*/ 20 w 201"/>
                <a:gd name="T57" fmla="*/ 71 h 150"/>
                <a:gd name="T58" fmla="*/ 0 w 201"/>
                <a:gd name="T59" fmla="*/ 90 h 150"/>
                <a:gd name="T60" fmla="*/ 0 w 201"/>
                <a:gd name="T61" fmla="*/ 90 h 150"/>
                <a:gd name="T62" fmla="*/ 22 w 201"/>
                <a:gd name="T63" fmla="*/ 119 h 150"/>
                <a:gd name="T64" fmla="*/ 34 w 201"/>
                <a:gd name="T65" fmla="*/ 134 h 150"/>
                <a:gd name="T66" fmla="*/ 44 w 201"/>
                <a:gd name="T67" fmla="*/ 150 h 150"/>
                <a:gd name="T68" fmla="*/ 44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4" y="150"/>
                  </a:moveTo>
                  <a:lnTo>
                    <a:pt x="44" y="150"/>
                  </a:lnTo>
                  <a:lnTo>
                    <a:pt x="62" y="122"/>
                  </a:lnTo>
                  <a:lnTo>
                    <a:pt x="80" y="96"/>
                  </a:lnTo>
                  <a:lnTo>
                    <a:pt x="98" y="74"/>
                  </a:lnTo>
                  <a:lnTo>
                    <a:pt x="107" y="64"/>
                  </a:lnTo>
                  <a:lnTo>
                    <a:pt x="117" y="55"/>
                  </a:lnTo>
                  <a:lnTo>
                    <a:pt x="126" y="46"/>
                  </a:lnTo>
                  <a:lnTo>
                    <a:pt x="136" y="39"/>
                  </a:lnTo>
                  <a:lnTo>
                    <a:pt x="146" y="32"/>
                  </a:lnTo>
                  <a:lnTo>
                    <a:pt x="156" y="27"/>
                  </a:lnTo>
                  <a:lnTo>
                    <a:pt x="167" y="23"/>
                  </a:lnTo>
                  <a:lnTo>
                    <a:pt x="177" y="20"/>
                  </a:lnTo>
                  <a:lnTo>
                    <a:pt x="189" y="18"/>
                  </a:lnTo>
                  <a:lnTo>
                    <a:pt x="200" y="18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71" y="1"/>
                  </a:lnTo>
                  <a:lnTo>
                    <a:pt x="156" y="2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3"/>
                  </a:lnTo>
                  <a:lnTo>
                    <a:pt x="102" y="18"/>
                  </a:lnTo>
                  <a:lnTo>
                    <a:pt x="90" y="23"/>
                  </a:lnTo>
                  <a:lnTo>
                    <a:pt x="77" y="30"/>
                  </a:lnTo>
                  <a:lnTo>
                    <a:pt x="65" y="37"/>
                  </a:lnTo>
                  <a:lnTo>
                    <a:pt x="43" y="53"/>
                  </a:lnTo>
                  <a:lnTo>
                    <a:pt x="20" y="71"/>
                  </a:lnTo>
                  <a:lnTo>
                    <a:pt x="0" y="90"/>
                  </a:lnTo>
                  <a:lnTo>
                    <a:pt x="22" y="119"/>
                  </a:lnTo>
                  <a:lnTo>
                    <a:pt x="34" y="134"/>
                  </a:lnTo>
                  <a:lnTo>
                    <a:pt x="44" y="150"/>
                  </a:lnTo>
                  <a:close/>
                </a:path>
              </a:pathLst>
            </a:custGeom>
            <a:solidFill>
              <a:srgbClr val="CD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0" name="Freeform 80">
              <a:extLst>
                <a:ext uri="{FF2B5EF4-FFF2-40B4-BE49-F238E27FC236}">
                  <a16:creationId xmlns:a16="http://schemas.microsoft.com/office/drawing/2014/main" id="{78292702-C401-43F2-9813-9E9DEBD51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33527" y="2874164"/>
              <a:ext cx="514371" cy="464722"/>
            </a:xfrm>
            <a:custGeom>
              <a:avLst/>
              <a:gdLst>
                <a:gd name="T0" fmla="*/ 380 w 380"/>
                <a:gd name="T1" fmla="*/ 104 h 487"/>
                <a:gd name="T2" fmla="*/ 380 w 380"/>
                <a:gd name="T3" fmla="*/ 104 h 487"/>
                <a:gd name="T4" fmla="*/ 356 w 380"/>
                <a:gd name="T5" fmla="*/ 50 h 487"/>
                <a:gd name="T6" fmla="*/ 332 w 380"/>
                <a:gd name="T7" fmla="*/ 0 h 487"/>
                <a:gd name="T8" fmla="*/ 332 w 380"/>
                <a:gd name="T9" fmla="*/ 0 h 487"/>
                <a:gd name="T10" fmla="*/ 309 w 380"/>
                <a:gd name="T11" fmla="*/ 38 h 487"/>
                <a:gd name="T12" fmla="*/ 288 w 380"/>
                <a:gd name="T13" fmla="*/ 77 h 487"/>
                <a:gd name="T14" fmla="*/ 267 w 380"/>
                <a:gd name="T15" fmla="*/ 116 h 487"/>
                <a:gd name="T16" fmla="*/ 247 w 380"/>
                <a:gd name="T17" fmla="*/ 157 h 487"/>
                <a:gd name="T18" fmla="*/ 210 w 380"/>
                <a:gd name="T19" fmla="*/ 235 h 487"/>
                <a:gd name="T20" fmla="*/ 191 w 380"/>
                <a:gd name="T21" fmla="*/ 273 h 487"/>
                <a:gd name="T22" fmla="*/ 172 w 380"/>
                <a:gd name="T23" fmla="*/ 309 h 487"/>
                <a:gd name="T24" fmla="*/ 153 w 380"/>
                <a:gd name="T25" fmla="*/ 343 h 487"/>
                <a:gd name="T26" fmla="*/ 134 w 380"/>
                <a:gd name="T27" fmla="*/ 373 h 487"/>
                <a:gd name="T28" fmla="*/ 125 w 380"/>
                <a:gd name="T29" fmla="*/ 388 h 487"/>
                <a:gd name="T30" fmla="*/ 115 w 380"/>
                <a:gd name="T31" fmla="*/ 401 h 487"/>
                <a:gd name="T32" fmla="*/ 105 w 380"/>
                <a:gd name="T33" fmla="*/ 412 h 487"/>
                <a:gd name="T34" fmla="*/ 93 w 380"/>
                <a:gd name="T35" fmla="*/ 423 h 487"/>
                <a:gd name="T36" fmla="*/ 83 w 380"/>
                <a:gd name="T37" fmla="*/ 435 h 487"/>
                <a:gd name="T38" fmla="*/ 72 w 380"/>
                <a:gd name="T39" fmla="*/ 444 h 487"/>
                <a:gd name="T40" fmla="*/ 61 w 380"/>
                <a:gd name="T41" fmla="*/ 450 h 487"/>
                <a:gd name="T42" fmla="*/ 49 w 380"/>
                <a:gd name="T43" fmla="*/ 457 h 487"/>
                <a:gd name="T44" fmla="*/ 37 w 380"/>
                <a:gd name="T45" fmla="*/ 463 h 487"/>
                <a:gd name="T46" fmla="*/ 26 w 380"/>
                <a:gd name="T47" fmla="*/ 466 h 487"/>
                <a:gd name="T48" fmla="*/ 12 w 380"/>
                <a:gd name="T49" fmla="*/ 468 h 487"/>
                <a:gd name="T50" fmla="*/ 0 w 380"/>
                <a:gd name="T51" fmla="*/ 469 h 487"/>
                <a:gd name="T52" fmla="*/ 0 w 380"/>
                <a:gd name="T53" fmla="*/ 487 h 487"/>
                <a:gd name="T54" fmla="*/ 0 w 380"/>
                <a:gd name="T55" fmla="*/ 487 h 487"/>
                <a:gd name="T56" fmla="*/ 17 w 380"/>
                <a:gd name="T57" fmla="*/ 486 h 487"/>
                <a:gd name="T58" fmla="*/ 35 w 380"/>
                <a:gd name="T59" fmla="*/ 485 h 487"/>
                <a:gd name="T60" fmla="*/ 51 w 380"/>
                <a:gd name="T61" fmla="*/ 483 h 487"/>
                <a:gd name="T62" fmla="*/ 67 w 380"/>
                <a:gd name="T63" fmla="*/ 478 h 487"/>
                <a:gd name="T64" fmla="*/ 83 w 380"/>
                <a:gd name="T65" fmla="*/ 474 h 487"/>
                <a:gd name="T66" fmla="*/ 98 w 380"/>
                <a:gd name="T67" fmla="*/ 468 h 487"/>
                <a:gd name="T68" fmla="*/ 112 w 380"/>
                <a:gd name="T69" fmla="*/ 461 h 487"/>
                <a:gd name="T70" fmla="*/ 127 w 380"/>
                <a:gd name="T71" fmla="*/ 454 h 487"/>
                <a:gd name="T72" fmla="*/ 142 w 380"/>
                <a:gd name="T73" fmla="*/ 445 h 487"/>
                <a:gd name="T74" fmla="*/ 155 w 380"/>
                <a:gd name="T75" fmla="*/ 436 h 487"/>
                <a:gd name="T76" fmla="*/ 167 w 380"/>
                <a:gd name="T77" fmla="*/ 426 h 487"/>
                <a:gd name="T78" fmla="*/ 181 w 380"/>
                <a:gd name="T79" fmla="*/ 414 h 487"/>
                <a:gd name="T80" fmla="*/ 193 w 380"/>
                <a:gd name="T81" fmla="*/ 403 h 487"/>
                <a:gd name="T82" fmla="*/ 206 w 380"/>
                <a:gd name="T83" fmla="*/ 391 h 487"/>
                <a:gd name="T84" fmla="*/ 228 w 380"/>
                <a:gd name="T85" fmla="*/ 365 h 487"/>
                <a:gd name="T86" fmla="*/ 251 w 380"/>
                <a:gd name="T87" fmla="*/ 336 h 487"/>
                <a:gd name="T88" fmla="*/ 271 w 380"/>
                <a:gd name="T89" fmla="*/ 306 h 487"/>
                <a:gd name="T90" fmla="*/ 291 w 380"/>
                <a:gd name="T91" fmla="*/ 274 h 487"/>
                <a:gd name="T92" fmla="*/ 310 w 380"/>
                <a:gd name="T93" fmla="*/ 241 h 487"/>
                <a:gd name="T94" fmla="*/ 329 w 380"/>
                <a:gd name="T95" fmla="*/ 207 h 487"/>
                <a:gd name="T96" fmla="*/ 346 w 380"/>
                <a:gd name="T97" fmla="*/ 172 h 487"/>
                <a:gd name="T98" fmla="*/ 380 w 380"/>
                <a:gd name="T99" fmla="*/ 104 h 487"/>
                <a:gd name="T100" fmla="*/ 380 w 380"/>
                <a:gd name="T101" fmla="*/ 104 h 4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487">
                  <a:moveTo>
                    <a:pt x="380" y="104"/>
                  </a:moveTo>
                  <a:lnTo>
                    <a:pt x="380" y="104"/>
                  </a:lnTo>
                  <a:lnTo>
                    <a:pt x="356" y="50"/>
                  </a:lnTo>
                  <a:lnTo>
                    <a:pt x="332" y="0"/>
                  </a:lnTo>
                  <a:lnTo>
                    <a:pt x="309" y="38"/>
                  </a:lnTo>
                  <a:lnTo>
                    <a:pt x="288" y="77"/>
                  </a:lnTo>
                  <a:lnTo>
                    <a:pt x="267" y="116"/>
                  </a:lnTo>
                  <a:lnTo>
                    <a:pt x="247" y="157"/>
                  </a:lnTo>
                  <a:lnTo>
                    <a:pt x="210" y="235"/>
                  </a:lnTo>
                  <a:lnTo>
                    <a:pt x="191" y="273"/>
                  </a:lnTo>
                  <a:lnTo>
                    <a:pt x="172" y="309"/>
                  </a:lnTo>
                  <a:lnTo>
                    <a:pt x="153" y="343"/>
                  </a:lnTo>
                  <a:lnTo>
                    <a:pt x="134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5" y="412"/>
                  </a:lnTo>
                  <a:lnTo>
                    <a:pt x="93" y="423"/>
                  </a:lnTo>
                  <a:lnTo>
                    <a:pt x="83" y="435"/>
                  </a:lnTo>
                  <a:lnTo>
                    <a:pt x="72" y="444"/>
                  </a:lnTo>
                  <a:lnTo>
                    <a:pt x="61" y="450"/>
                  </a:lnTo>
                  <a:lnTo>
                    <a:pt x="49" y="457"/>
                  </a:lnTo>
                  <a:lnTo>
                    <a:pt x="37" y="463"/>
                  </a:lnTo>
                  <a:lnTo>
                    <a:pt x="26" y="466"/>
                  </a:lnTo>
                  <a:lnTo>
                    <a:pt x="12" y="468"/>
                  </a:lnTo>
                  <a:lnTo>
                    <a:pt x="0" y="469"/>
                  </a:lnTo>
                  <a:lnTo>
                    <a:pt x="0" y="487"/>
                  </a:lnTo>
                  <a:lnTo>
                    <a:pt x="17" y="486"/>
                  </a:lnTo>
                  <a:lnTo>
                    <a:pt x="35" y="485"/>
                  </a:lnTo>
                  <a:lnTo>
                    <a:pt x="51" y="483"/>
                  </a:lnTo>
                  <a:lnTo>
                    <a:pt x="67" y="478"/>
                  </a:lnTo>
                  <a:lnTo>
                    <a:pt x="83" y="474"/>
                  </a:lnTo>
                  <a:lnTo>
                    <a:pt x="98" y="468"/>
                  </a:lnTo>
                  <a:lnTo>
                    <a:pt x="112" y="461"/>
                  </a:lnTo>
                  <a:lnTo>
                    <a:pt x="127" y="454"/>
                  </a:lnTo>
                  <a:lnTo>
                    <a:pt x="142" y="445"/>
                  </a:lnTo>
                  <a:lnTo>
                    <a:pt x="155" y="436"/>
                  </a:lnTo>
                  <a:lnTo>
                    <a:pt x="167" y="426"/>
                  </a:lnTo>
                  <a:lnTo>
                    <a:pt x="181" y="414"/>
                  </a:lnTo>
                  <a:lnTo>
                    <a:pt x="193" y="403"/>
                  </a:lnTo>
                  <a:lnTo>
                    <a:pt x="206" y="391"/>
                  </a:lnTo>
                  <a:lnTo>
                    <a:pt x="228" y="365"/>
                  </a:lnTo>
                  <a:lnTo>
                    <a:pt x="251" y="336"/>
                  </a:lnTo>
                  <a:lnTo>
                    <a:pt x="271" y="306"/>
                  </a:lnTo>
                  <a:lnTo>
                    <a:pt x="291" y="274"/>
                  </a:lnTo>
                  <a:lnTo>
                    <a:pt x="310" y="241"/>
                  </a:lnTo>
                  <a:lnTo>
                    <a:pt x="329" y="207"/>
                  </a:lnTo>
                  <a:lnTo>
                    <a:pt x="346" y="172"/>
                  </a:lnTo>
                  <a:lnTo>
                    <a:pt x="380" y="1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1" name="Freeform 81">
              <a:extLst>
                <a:ext uri="{FF2B5EF4-FFF2-40B4-BE49-F238E27FC236}">
                  <a16:creationId xmlns:a16="http://schemas.microsoft.com/office/drawing/2014/main" id="{10D367C2-7521-4A22-B89B-5A032EB18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6911" y="2721103"/>
              <a:ext cx="252723" cy="435514"/>
            </a:xfrm>
            <a:custGeom>
              <a:avLst/>
              <a:gdLst>
                <a:gd name="T0" fmla="*/ 0 w 810"/>
                <a:gd name="T1" fmla="*/ 385 h 630"/>
                <a:gd name="T2" fmla="*/ 48 w 810"/>
                <a:gd name="T3" fmla="*/ 488 h 630"/>
                <a:gd name="T4" fmla="*/ 71 w 810"/>
                <a:gd name="T5" fmla="*/ 450 h 630"/>
                <a:gd name="T6" fmla="*/ 114 w 810"/>
                <a:gd name="T7" fmla="*/ 371 h 630"/>
                <a:gd name="T8" fmla="*/ 171 w 810"/>
                <a:gd name="T9" fmla="*/ 252 h 630"/>
                <a:gd name="T10" fmla="*/ 208 w 810"/>
                <a:gd name="T11" fmla="*/ 178 h 630"/>
                <a:gd name="T12" fmla="*/ 246 w 810"/>
                <a:gd name="T13" fmla="*/ 115 h 630"/>
                <a:gd name="T14" fmla="*/ 266 w 810"/>
                <a:gd name="T15" fmla="*/ 88 h 630"/>
                <a:gd name="T16" fmla="*/ 287 w 810"/>
                <a:gd name="T17" fmla="*/ 64 h 630"/>
                <a:gd name="T18" fmla="*/ 309 w 810"/>
                <a:gd name="T19" fmla="*/ 45 h 630"/>
                <a:gd name="T20" fmla="*/ 332 w 810"/>
                <a:gd name="T21" fmla="*/ 31 h 630"/>
                <a:gd name="T22" fmla="*/ 355 w 810"/>
                <a:gd name="T23" fmla="*/ 22 h 630"/>
                <a:gd name="T24" fmla="*/ 381 w 810"/>
                <a:gd name="T25" fmla="*/ 19 h 630"/>
                <a:gd name="T26" fmla="*/ 381 w 810"/>
                <a:gd name="T27" fmla="*/ 19 h 630"/>
                <a:gd name="T28" fmla="*/ 413 w 810"/>
                <a:gd name="T29" fmla="*/ 24 h 630"/>
                <a:gd name="T30" fmla="*/ 442 w 810"/>
                <a:gd name="T31" fmla="*/ 38 h 630"/>
                <a:gd name="T32" fmla="*/ 469 w 810"/>
                <a:gd name="T33" fmla="*/ 61 h 630"/>
                <a:gd name="T34" fmla="*/ 495 w 810"/>
                <a:gd name="T35" fmla="*/ 91 h 630"/>
                <a:gd name="T36" fmla="*/ 518 w 810"/>
                <a:gd name="T37" fmla="*/ 127 h 630"/>
                <a:gd name="T38" fmla="*/ 542 w 810"/>
                <a:gd name="T39" fmla="*/ 167 h 630"/>
                <a:gd name="T40" fmla="*/ 587 w 810"/>
                <a:gd name="T41" fmla="*/ 260 h 630"/>
                <a:gd name="T42" fmla="*/ 658 w 810"/>
                <a:gd name="T43" fmla="*/ 413 h 630"/>
                <a:gd name="T44" fmla="*/ 697 w 810"/>
                <a:gd name="T45" fmla="*/ 487 h 630"/>
                <a:gd name="T46" fmla="*/ 726 w 810"/>
                <a:gd name="T47" fmla="*/ 532 h 630"/>
                <a:gd name="T48" fmla="*/ 757 w 810"/>
                <a:gd name="T49" fmla="*/ 575 h 630"/>
                <a:gd name="T50" fmla="*/ 790 w 810"/>
                <a:gd name="T51" fmla="*/ 613 h 630"/>
                <a:gd name="T52" fmla="*/ 810 w 810"/>
                <a:gd name="T53" fmla="*/ 510 h 630"/>
                <a:gd name="T54" fmla="*/ 791 w 810"/>
                <a:gd name="T55" fmla="*/ 472 h 630"/>
                <a:gd name="T56" fmla="*/ 733 w 810"/>
                <a:gd name="T57" fmla="*/ 347 h 630"/>
                <a:gd name="T58" fmla="*/ 691 w 810"/>
                <a:gd name="T59" fmla="*/ 261 h 630"/>
                <a:gd name="T60" fmla="*/ 644 w 810"/>
                <a:gd name="T61" fmla="*/ 182 h 630"/>
                <a:gd name="T62" fmla="*/ 619 w 810"/>
                <a:gd name="T63" fmla="*/ 145 h 630"/>
                <a:gd name="T64" fmla="*/ 592 w 810"/>
                <a:gd name="T65" fmla="*/ 110 h 630"/>
                <a:gd name="T66" fmla="*/ 563 w 810"/>
                <a:gd name="T67" fmla="*/ 80 h 630"/>
                <a:gd name="T68" fmla="*/ 532 w 810"/>
                <a:gd name="T69" fmla="*/ 53 h 630"/>
                <a:gd name="T70" fmla="*/ 498 w 810"/>
                <a:gd name="T71" fmla="*/ 32 h 630"/>
                <a:gd name="T72" fmla="*/ 462 w 810"/>
                <a:gd name="T73" fmla="*/ 15 h 630"/>
                <a:gd name="T74" fmla="*/ 423 w 810"/>
                <a:gd name="T75" fmla="*/ 5 h 630"/>
                <a:gd name="T76" fmla="*/ 381 w 810"/>
                <a:gd name="T77" fmla="*/ 0 h 630"/>
                <a:gd name="T78" fmla="*/ 381 w 810"/>
                <a:gd name="T79" fmla="*/ 0 h 630"/>
                <a:gd name="T80" fmla="*/ 346 w 810"/>
                <a:gd name="T81" fmla="*/ 3 h 630"/>
                <a:gd name="T82" fmla="*/ 314 w 810"/>
                <a:gd name="T83" fmla="*/ 9 h 630"/>
                <a:gd name="T84" fmla="*/ 282 w 810"/>
                <a:gd name="T85" fmla="*/ 19 h 630"/>
                <a:gd name="T86" fmla="*/ 253 w 810"/>
                <a:gd name="T87" fmla="*/ 34 h 630"/>
                <a:gd name="T88" fmla="*/ 226 w 810"/>
                <a:gd name="T89" fmla="*/ 52 h 630"/>
                <a:gd name="T90" fmla="*/ 200 w 810"/>
                <a:gd name="T91" fmla="*/ 73 h 630"/>
                <a:gd name="T92" fmla="*/ 175 w 810"/>
                <a:gd name="T93" fmla="*/ 97 h 630"/>
                <a:gd name="T94" fmla="*/ 130 w 810"/>
                <a:gd name="T95" fmla="*/ 152 h 630"/>
                <a:gd name="T96" fmla="*/ 89 w 810"/>
                <a:gd name="T97" fmla="*/ 214 h 630"/>
                <a:gd name="T98" fmla="*/ 52 w 810"/>
                <a:gd name="T99" fmla="*/ 280 h 630"/>
                <a:gd name="T100" fmla="*/ 0 w 810"/>
                <a:gd name="T101" fmla="*/ 385 h 6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connsiteX0" fmla="*/ 0 w 9988"/>
                <a:gd name="connsiteY0" fmla="*/ 6111 h 10000"/>
                <a:gd name="connsiteX1" fmla="*/ 0 w 9988"/>
                <a:gd name="connsiteY1" fmla="*/ 6111 h 10000"/>
                <a:gd name="connsiteX2" fmla="*/ 309 w 9988"/>
                <a:gd name="connsiteY2" fmla="*/ 6937 h 10000"/>
                <a:gd name="connsiteX3" fmla="*/ 593 w 9988"/>
                <a:gd name="connsiteY3" fmla="*/ 7746 h 10000"/>
                <a:gd name="connsiteX4" fmla="*/ 877 w 9988"/>
                <a:gd name="connsiteY4" fmla="*/ 7143 h 10000"/>
                <a:gd name="connsiteX5" fmla="*/ 1136 w 9988"/>
                <a:gd name="connsiteY5" fmla="*/ 6508 h 10000"/>
                <a:gd name="connsiteX6" fmla="*/ 1407 w 9988"/>
                <a:gd name="connsiteY6" fmla="*/ 5889 h 10000"/>
                <a:gd name="connsiteX7" fmla="*/ 1642 w 9988"/>
                <a:gd name="connsiteY7" fmla="*/ 5254 h 10000"/>
                <a:gd name="connsiteX8" fmla="*/ 2111 w 9988"/>
                <a:gd name="connsiteY8" fmla="*/ 4000 h 10000"/>
                <a:gd name="connsiteX9" fmla="*/ 2346 w 9988"/>
                <a:gd name="connsiteY9" fmla="*/ 3397 h 10000"/>
                <a:gd name="connsiteX10" fmla="*/ 2568 w 9988"/>
                <a:gd name="connsiteY10" fmla="*/ 2825 h 10000"/>
                <a:gd name="connsiteX11" fmla="*/ 2802 w 9988"/>
                <a:gd name="connsiteY11" fmla="*/ 2302 h 10000"/>
                <a:gd name="connsiteX12" fmla="*/ 3037 w 9988"/>
                <a:gd name="connsiteY12" fmla="*/ 1825 h 10000"/>
                <a:gd name="connsiteX13" fmla="*/ 3160 w 9988"/>
                <a:gd name="connsiteY13" fmla="*/ 1587 h 10000"/>
                <a:gd name="connsiteX14" fmla="*/ 3284 w 9988"/>
                <a:gd name="connsiteY14" fmla="*/ 1397 h 10000"/>
                <a:gd name="connsiteX15" fmla="*/ 3420 w 9988"/>
                <a:gd name="connsiteY15" fmla="*/ 1190 h 10000"/>
                <a:gd name="connsiteX16" fmla="*/ 3543 w 9988"/>
                <a:gd name="connsiteY16" fmla="*/ 1016 h 10000"/>
                <a:gd name="connsiteX17" fmla="*/ 3679 w 9988"/>
                <a:gd name="connsiteY17" fmla="*/ 857 h 10000"/>
                <a:gd name="connsiteX18" fmla="*/ 3815 w 9988"/>
                <a:gd name="connsiteY18" fmla="*/ 714 h 10000"/>
                <a:gd name="connsiteX19" fmla="*/ 3951 w 9988"/>
                <a:gd name="connsiteY19" fmla="*/ 587 h 10000"/>
                <a:gd name="connsiteX20" fmla="*/ 4099 w 9988"/>
                <a:gd name="connsiteY20" fmla="*/ 492 h 10000"/>
                <a:gd name="connsiteX21" fmla="*/ 4235 w 9988"/>
                <a:gd name="connsiteY21" fmla="*/ 397 h 10000"/>
                <a:gd name="connsiteX22" fmla="*/ 4383 w 9988"/>
                <a:gd name="connsiteY22" fmla="*/ 349 h 10000"/>
                <a:gd name="connsiteX23" fmla="*/ 4543 w 9988"/>
                <a:gd name="connsiteY23" fmla="*/ 302 h 10000"/>
                <a:gd name="connsiteX24" fmla="*/ 4704 w 9988"/>
                <a:gd name="connsiteY24" fmla="*/ 302 h 10000"/>
                <a:gd name="connsiteX25" fmla="*/ 4901 w 9988"/>
                <a:gd name="connsiteY25" fmla="*/ 317 h 10000"/>
                <a:gd name="connsiteX26" fmla="*/ 5099 w 9988"/>
                <a:gd name="connsiteY26" fmla="*/ 381 h 10000"/>
                <a:gd name="connsiteX27" fmla="*/ 5272 w 9988"/>
                <a:gd name="connsiteY27" fmla="*/ 492 h 10000"/>
                <a:gd name="connsiteX28" fmla="*/ 5457 w 9988"/>
                <a:gd name="connsiteY28" fmla="*/ 603 h 10000"/>
                <a:gd name="connsiteX29" fmla="*/ 5617 w 9988"/>
                <a:gd name="connsiteY29" fmla="*/ 762 h 10000"/>
                <a:gd name="connsiteX30" fmla="*/ 5790 w 9988"/>
                <a:gd name="connsiteY30" fmla="*/ 968 h 10000"/>
                <a:gd name="connsiteX31" fmla="*/ 5938 w 9988"/>
                <a:gd name="connsiteY31" fmla="*/ 1190 h 10000"/>
                <a:gd name="connsiteX32" fmla="*/ 6111 w 9988"/>
                <a:gd name="connsiteY32" fmla="*/ 1444 h 10000"/>
                <a:gd name="connsiteX33" fmla="*/ 6247 w 9988"/>
                <a:gd name="connsiteY33" fmla="*/ 1714 h 10000"/>
                <a:gd name="connsiteX34" fmla="*/ 6395 w 9988"/>
                <a:gd name="connsiteY34" fmla="*/ 2016 h 10000"/>
                <a:gd name="connsiteX35" fmla="*/ 6531 w 9988"/>
                <a:gd name="connsiteY35" fmla="*/ 2317 h 10000"/>
                <a:gd name="connsiteX36" fmla="*/ 6691 w 9988"/>
                <a:gd name="connsiteY36" fmla="*/ 2651 h 10000"/>
                <a:gd name="connsiteX37" fmla="*/ 6963 w 9988"/>
                <a:gd name="connsiteY37" fmla="*/ 3365 h 10000"/>
                <a:gd name="connsiteX38" fmla="*/ 7247 w 9988"/>
                <a:gd name="connsiteY38" fmla="*/ 4127 h 10000"/>
                <a:gd name="connsiteX39" fmla="*/ 7815 w 9988"/>
                <a:gd name="connsiteY39" fmla="*/ 5730 h 10000"/>
                <a:gd name="connsiteX40" fmla="*/ 8123 w 9988"/>
                <a:gd name="connsiteY40" fmla="*/ 6556 h 10000"/>
                <a:gd name="connsiteX41" fmla="*/ 8432 w 9988"/>
                <a:gd name="connsiteY41" fmla="*/ 7333 h 10000"/>
                <a:gd name="connsiteX42" fmla="*/ 8605 w 9988"/>
                <a:gd name="connsiteY42" fmla="*/ 7730 h 10000"/>
                <a:gd name="connsiteX43" fmla="*/ 8790 w 9988"/>
                <a:gd name="connsiteY43" fmla="*/ 8095 h 10000"/>
                <a:gd name="connsiteX44" fmla="*/ 8963 w 9988"/>
                <a:gd name="connsiteY44" fmla="*/ 8444 h 10000"/>
                <a:gd name="connsiteX45" fmla="*/ 9148 w 9988"/>
                <a:gd name="connsiteY45" fmla="*/ 8794 h 10000"/>
                <a:gd name="connsiteX46" fmla="*/ 9346 w 9988"/>
                <a:gd name="connsiteY46" fmla="*/ 9127 h 10000"/>
                <a:gd name="connsiteX47" fmla="*/ 9543 w 9988"/>
                <a:gd name="connsiteY47" fmla="*/ 9444 h 10000"/>
                <a:gd name="connsiteX48" fmla="*/ 9753 w 9988"/>
                <a:gd name="connsiteY48" fmla="*/ 9730 h 10000"/>
                <a:gd name="connsiteX49" fmla="*/ 9988 w 9988"/>
                <a:gd name="connsiteY49" fmla="*/ 10000 h 10000"/>
                <a:gd name="connsiteX50" fmla="*/ 9765 w 9988"/>
                <a:gd name="connsiteY50" fmla="*/ 7492 h 10000"/>
                <a:gd name="connsiteX51" fmla="*/ 9531 w 9988"/>
                <a:gd name="connsiteY51" fmla="*/ 6841 h 10000"/>
                <a:gd name="connsiteX52" fmla="*/ 9049 w 9988"/>
                <a:gd name="connsiteY52" fmla="*/ 5508 h 10000"/>
                <a:gd name="connsiteX53" fmla="*/ 8802 w 9988"/>
                <a:gd name="connsiteY53" fmla="*/ 4825 h 10000"/>
                <a:gd name="connsiteX54" fmla="*/ 8531 w 9988"/>
                <a:gd name="connsiteY54" fmla="*/ 4143 h 10000"/>
                <a:gd name="connsiteX55" fmla="*/ 8259 w 9988"/>
                <a:gd name="connsiteY55" fmla="*/ 3508 h 10000"/>
                <a:gd name="connsiteX56" fmla="*/ 7951 w 9988"/>
                <a:gd name="connsiteY56" fmla="*/ 2889 h 10000"/>
                <a:gd name="connsiteX57" fmla="*/ 7802 w 9988"/>
                <a:gd name="connsiteY57" fmla="*/ 2587 h 10000"/>
                <a:gd name="connsiteX58" fmla="*/ 7642 w 9988"/>
                <a:gd name="connsiteY58" fmla="*/ 2302 h 10000"/>
                <a:gd name="connsiteX59" fmla="*/ 7481 w 9988"/>
                <a:gd name="connsiteY59" fmla="*/ 2016 h 10000"/>
                <a:gd name="connsiteX60" fmla="*/ 7309 w 9988"/>
                <a:gd name="connsiteY60" fmla="*/ 1746 h 10000"/>
                <a:gd name="connsiteX61" fmla="*/ 7136 w 9988"/>
                <a:gd name="connsiteY61" fmla="*/ 1492 h 10000"/>
                <a:gd name="connsiteX62" fmla="*/ 6951 w 9988"/>
                <a:gd name="connsiteY62" fmla="*/ 1270 h 10000"/>
                <a:gd name="connsiteX63" fmla="*/ 6753 w 9988"/>
                <a:gd name="connsiteY63" fmla="*/ 1032 h 10000"/>
                <a:gd name="connsiteX64" fmla="*/ 6568 w 9988"/>
                <a:gd name="connsiteY64" fmla="*/ 841 h 10000"/>
                <a:gd name="connsiteX65" fmla="*/ 6358 w 9988"/>
                <a:gd name="connsiteY65" fmla="*/ 667 h 10000"/>
                <a:gd name="connsiteX66" fmla="*/ 6148 w 9988"/>
                <a:gd name="connsiteY66" fmla="*/ 508 h 10000"/>
                <a:gd name="connsiteX67" fmla="*/ 5926 w 9988"/>
                <a:gd name="connsiteY67" fmla="*/ 365 h 10000"/>
                <a:gd name="connsiteX68" fmla="*/ 5704 w 9988"/>
                <a:gd name="connsiteY68" fmla="*/ 238 h 10000"/>
                <a:gd name="connsiteX69" fmla="*/ 5469 w 9988"/>
                <a:gd name="connsiteY69" fmla="*/ 143 h 10000"/>
                <a:gd name="connsiteX70" fmla="*/ 5222 w 9988"/>
                <a:gd name="connsiteY70" fmla="*/ 79 h 10000"/>
                <a:gd name="connsiteX71" fmla="*/ 4963 w 9988"/>
                <a:gd name="connsiteY71" fmla="*/ 16 h 10000"/>
                <a:gd name="connsiteX72" fmla="*/ 4704 w 9988"/>
                <a:gd name="connsiteY72" fmla="*/ 0 h 10000"/>
                <a:gd name="connsiteX73" fmla="*/ 4481 w 9988"/>
                <a:gd name="connsiteY73" fmla="*/ 16 h 10000"/>
                <a:gd name="connsiteX74" fmla="*/ 4272 w 9988"/>
                <a:gd name="connsiteY74" fmla="*/ 48 h 10000"/>
                <a:gd name="connsiteX75" fmla="*/ 4062 w 9988"/>
                <a:gd name="connsiteY75" fmla="*/ 95 h 10000"/>
                <a:gd name="connsiteX76" fmla="*/ 3877 w 9988"/>
                <a:gd name="connsiteY76" fmla="*/ 143 h 10000"/>
                <a:gd name="connsiteX77" fmla="*/ 3679 w 9988"/>
                <a:gd name="connsiteY77" fmla="*/ 222 h 10000"/>
                <a:gd name="connsiteX78" fmla="*/ 3481 w 9988"/>
                <a:gd name="connsiteY78" fmla="*/ 302 h 10000"/>
                <a:gd name="connsiteX79" fmla="*/ 3309 w 9988"/>
                <a:gd name="connsiteY79" fmla="*/ 413 h 10000"/>
                <a:gd name="connsiteX80" fmla="*/ 3123 w 9988"/>
                <a:gd name="connsiteY80" fmla="*/ 540 h 10000"/>
                <a:gd name="connsiteX81" fmla="*/ 2963 w 9988"/>
                <a:gd name="connsiteY81" fmla="*/ 683 h 10000"/>
                <a:gd name="connsiteX82" fmla="*/ 2790 w 9988"/>
                <a:gd name="connsiteY82" fmla="*/ 825 h 10000"/>
                <a:gd name="connsiteX83" fmla="*/ 2630 w 9988"/>
                <a:gd name="connsiteY83" fmla="*/ 984 h 10000"/>
                <a:gd name="connsiteX84" fmla="*/ 2469 w 9988"/>
                <a:gd name="connsiteY84" fmla="*/ 1159 h 10000"/>
                <a:gd name="connsiteX85" fmla="*/ 2321 w 9988"/>
                <a:gd name="connsiteY85" fmla="*/ 1333 h 10000"/>
                <a:gd name="connsiteX86" fmla="*/ 2160 w 9988"/>
                <a:gd name="connsiteY86" fmla="*/ 1540 h 10000"/>
                <a:gd name="connsiteX87" fmla="*/ 1877 w 9988"/>
                <a:gd name="connsiteY87" fmla="*/ 1968 h 10000"/>
                <a:gd name="connsiteX88" fmla="*/ 1605 w 9988"/>
                <a:gd name="connsiteY88" fmla="*/ 2413 h 10000"/>
                <a:gd name="connsiteX89" fmla="*/ 1346 w 9988"/>
                <a:gd name="connsiteY89" fmla="*/ 2889 h 10000"/>
                <a:gd name="connsiteX90" fmla="*/ 1099 w 9988"/>
                <a:gd name="connsiteY90" fmla="*/ 3397 h 10000"/>
                <a:gd name="connsiteX91" fmla="*/ 864 w 9988"/>
                <a:gd name="connsiteY91" fmla="*/ 3921 h 10000"/>
                <a:gd name="connsiteX92" fmla="*/ 642 w 9988"/>
                <a:gd name="connsiteY92" fmla="*/ 4444 h 10000"/>
                <a:gd name="connsiteX93" fmla="*/ 420 w 9988"/>
                <a:gd name="connsiteY93" fmla="*/ 5000 h 10000"/>
                <a:gd name="connsiteX94" fmla="*/ 0 w 9988"/>
                <a:gd name="connsiteY94" fmla="*/ 6111 h 10000"/>
                <a:gd name="connsiteX0" fmla="*/ 0 w 9777"/>
                <a:gd name="connsiteY0" fmla="*/ 6111 h 9730"/>
                <a:gd name="connsiteX1" fmla="*/ 0 w 9777"/>
                <a:gd name="connsiteY1" fmla="*/ 6111 h 9730"/>
                <a:gd name="connsiteX2" fmla="*/ 309 w 9777"/>
                <a:gd name="connsiteY2" fmla="*/ 6937 h 9730"/>
                <a:gd name="connsiteX3" fmla="*/ 594 w 9777"/>
                <a:gd name="connsiteY3" fmla="*/ 7746 h 9730"/>
                <a:gd name="connsiteX4" fmla="*/ 878 w 9777"/>
                <a:gd name="connsiteY4" fmla="*/ 7143 h 9730"/>
                <a:gd name="connsiteX5" fmla="*/ 1137 w 9777"/>
                <a:gd name="connsiteY5" fmla="*/ 6508 h 9730"/>
                <a:gd name="connsiteX6" fmla="*/ 1409 w 9777"/>
                <a:gd name="connsiteY6" fmla="*/ 5889 h 9730"/>
                <a:gd name="connsiteX7" fmla="*/ 1644 w 9777"/>
                <a:gd name="connsiteY7" fmla="*/ 5254 h 9730"/>
                <a:gd name="connsiteX8" fmla="*/ 2114 w 9777"/>
                <a:gd name="connsiteY8" fmla="*/ 4000 h 9730"/>
                <a:gd name="connsiteX9" fmla="*/ 2349 w 9777"/>
                <a:gd name="connsiteY9" fmla="*/ 3397 h 9730"/>
                <a:gd name="connsiteX10" fmla="*/ 2571 w 9777"/>
                <a:gd name="connsiteY10" fmla="*/ 2825 h 9730"/>
                <a:gd name="connsiteX11" fmla="*/ 2805 w 9777"/>
                <a:gd name="connsiteY11" fmla="*/ 2302 h 9730"/>
                <a:gd name="connsiteX12" fmla="*/ 3041 w 9777"/>
                <a:gd name="connsiteY12" fmla="*/ 1825 h 9730"/>
                <a:gd name="connsiteX13" fmla="*/ 3164 w 9777"/>
                <a:gd name="connsiteY13" fmla="*/ 1587 h 9730"/>
                <a:gd name="connsiteX14" fmla="*/ 3288 w 9777"/>
                <a:gd name="connsiteY14" fmla="*/ 1397 h 9730"/>
                <a:gd name="connsiteX15" fmla="*/ 3424 w 9777"/>
                <a:gd name="connsiteY15" fmla="*/ 1190 h 9730"/>
                <a:gd name="connsiteX16" fmla="*/ 3547 w 9777"/>
                <a:gd name="connsiteY16" fmla="*/ 1016 h 9730"/>
                <a:gd name="connsiteX17" fmla="*/ 3683 w 9777"/>
                <a:gd name="connsiteY17" fmla="*/ 857 h 9730"/>
                <a:gd name="connsiteX18" fmla="*/ 3820 w 9777"/>
                <a:gd name="connsiteY18" fmla="*/ 714 h 9730"/>
                <a:gd name="connsiteX19" fmla="*/ 3956 w 9777"/>
                <a:gd name="connsiteY19" fmla="*/ 587 h 9730"/>
                <a:gd name="connsiteX20" fmla="*/ 4104 w 9777"/>
                <a:gd name="connsiteY20" fmla="*/ 492 h 9730"/>
                <a:gd name="connsiteX21" fmla="*/ 4240 w 9777"/>
                <a:gd name="connsiteY21" fmla="*/ 397 h 9730"/>
                <a:gd name="connsiteX22" fmla="*/ 4388 w 9777"/>
                <a:gd name="connsiteY22" fmla="*/ 349 h 9730"/>
                <a:gd name="connsiteX23" fmla="*/ 4548 w 9777"/>
                <a:gd name="connsiteY23" fmla="*/ 302 h 9730"/>
                <a:gd name="connsiteX24" fmla="*/ 4710 w 9777"/>
                <a:gd name="connsiteY24" fmla="*/ 302 h 9730"/>
                <a:gd name="connsiteX25" fmla="*/ 4907 w 9777"/>
                <a:gd name="connsiteY25" fmla="*/ 317 h 9730"/>
                <a:gd name="connsiteX26" fmla="*/ 5105 w 9777"/>
                <a:gd name="connsiteY26" fmla="*/ 381 h 9730"/>
                <a:gd name="connsiteX27" fmla="*/ 5278 w 9777"/>
                <a:gd name="connsiteY27" fmla="*/ 492 h 9730"/>
                <a:gd name="connsiteX28" fmla="*/ 5464 w 9777"/>
                <a:gd name="connsiteY28" fmla="*/ 603 h 9730"/>
                <a:gd name="connsiteX29" fmla="*/ 5624 w 9777"/>
                <a:gd name="connsiteY29" fmla="*/ 762 h 9730"/>
                <a:gd name="connsiteX30" fmla="*/ 5797 w 9777"/>
                <a:gd name="connsiteY30" fmla="*/ 968 h 9730"/>
                <a:gd name="connsiteX31" fmla="*/ 5945 w 9777"/>
                <a:gd name="connsiteY31" fmla="*/ 1190 h 9730"/>
                <a:gd name="connsiteX32" fmla="*/ 6118 w 9777"/>
                <a:gd name="connsiteY32" fmla="*/ 1444 h 9730"/>
                <a:gd name="connsiteX33" fmla="*/ 6255 w 9777"/>
                <a:gd name="connsiteY33" fmla="*/ 1714 h 9730"/>
                <a:gd name="connsiteX34" fmla="*/ 6403 w 9777"/>
                <a:gd name="connsiteY34" fmla="*/ 2016 h 9730"/>
                <a:gd name="connsiteX35" fmla="*/ 6539 w 9777"/>
                <a:gd name="connsiteY35" fmla="*/ 2317 h 9730"/>
                <a:gd name="connsiteX36" fmla="*/ 6699 w 9777"/>
                <a:gd name="connsiteY36" fmla="*/ 2651 h 9730"/>
                <a:gd name="connsiteX37" fmla="*/ 6971 w 9777"/>
                <a:gd name="connsiteY37" fmla="*/ 3365 h 9730"/>
                <a:gd name="connsiteX38" fmla="*/ 7256 w 9777"/>
                <a:gd name="connsiteY38" fmla="*/ 4127 h 9730"/>
                <a:gd name="connsiteX39" fmla="*/ 7824 w 9777"/>
                <a:gd name="connsiteY39" fmla="*/ 5730 h 9730"/>
                <a:gd name="connsiteX40" fmla="*/ 8133 w 9777"/>
                <a:gd name="connsiteY40" fmla="*/ 6556 h 9730"/>
                <a:gd name="connsiteX41" fmla="*/ 8442 w 9777"/>
                <a:gd name="connsiteY41" fmla="*/ 7333 h 9730"/>
                <a:gd name="connsiteX42" fmla="*/ 8615 w 9777"/>
                <a:gd name="connsiteY42" fmla="*/ 7730 h 9730"/>
                <a:gd name="connsiteX43" fmla="*/ 8801 w 9777"/>
                <a:gd name="connsiteY43" fmla="*/ 8095 h 9730"/>
                <a:gd name="connsiteX44" fmla="*/ 8974 w 9777"/>
                <a:gd name="connsiteY44" fmla="*/ 8444 h 9730"/>
                <a:gd name="connsiteX45" fmla="*/ 9159 w 9777"/>
                <a:gd name="connsiteY45" fmla="*/ 8794 h 9730"/>
                <a:gd name="connsiteX46" fmla="*/ 9357 w 9777"/>
                <a:gd name="connsiteY46" fmla="*/ 9127 h 9730"/>
                <a:gd name="connsiteX47" fmla="*/ 9554 w 9777"/>
                <a:gd name="connsiteY47" fmla="*/ 9444 h 9730"/>
                <a:gd name="connsiteX48" fmla="*/ 9765 w 9777"/>
                <a:gd name="connsiteY48" fmla="*/ 9730 h 9730"/>
                <a:gd name="connsiteX49" fmla="*/ 9777 w 9777"/>
                <a:gd name="connsiteY49" fmla="*/ 7492 h 9730"/>
                <a:gd name="connsiteX50" fmla="*/ 9542 w 9777"/>
                <a:gd name="connsiteY50" fmla="*/ 6841 h 9730"/>
                <a:gd name="connsiteX51" fmla="*/ 9060 w 9777"/>
                <a:gd name="connsiteY51" fmla="*/ 5508 h 9730"/>
                <a:gd name="connsiteX52" fmla="*/ 8813 w 9777"/>
                <a:gd name="connsiteY52" fmla="*/ 4825 h 9730"/>
                <a:gd name="connsiteX53" fmla="*/ 8541 w 9777"/>
                <a:gd name="connsiteY53" fmla="*/ 4143 h 9730"/>
                <a:gd name="connsiteX54" fmla="*/ 8269 w 9777"/>
                <a:gd name="connsiteY54" fmla="*/ 3508 h 9730"/>
                <a:gd name="connsiteX55" fmla="*/ 7961 w 9777"/>
                <a:gd name="connsiteY55" fmla="*/ 2889 h 9730"/>
                <a:gd name="connsiteX56" fmla="*/ 7811 w 9777"/>
                <a:gd name="connsiteY56" fmla="*/ 2587 h 9730"/>
                <a:gd name="connsiteX57" fmla="*/ 7651 w 9777"/>
                <a:gd name="connsiteY57" fmla="*/ 2302 h 9730"/>
                <a:gd name="connsiteX58" fmla="*/ 7490 w 9777"/>
                <a:gd name="connsiteY58" fmla="*/ 2016 h 9730"/>
                <a:gd name="connsiteX59" fmla="*/ 7318 w 9777"/>
                <a:gd name="connsiteY59" fmla="*/ 1746 h 9730"/>
                <a:gd name="connsiteX60" fmla="*/ 7145 w 9777"/>
                <a:gd name="connsiteY60" fmla="*/ 1492 h 9730"/>
                <a:gd name="connsiteX61" fmla="*/ 6959 w 9777"/>
                <a:gd name="connsiteY61" fmla="*/ 1270 h 9730"/>
                <a:gd name="connsiteX62" fmla="*/ 6761 w 9777"/>
                <a:gd name="connsiteY62" fmla="*/ 1032 h 9730"/>
                <a:gd name="connsiteX63" fmla="*/ 6576 w 9777"/>
                <a:gd name="connsiteY63" fmla="*/ 841 h 9730"/>
                <a:gd name="connsiteX64" fmla="*/ 6366 w 9777"/>
                <a:gd name="connsiteY64" fmla="*/ 667 h 9730"/>
                <a:gd name="connsiteX65" fmla="*/ 6155 w 9777"/>
                <a:gd name="connsiteY65" fmla="*/ 508 h 9730"/>
                <a:gd name="connsiteX66" fmla="*/ 5933 w 9777"/>
                <a:gd name="connsiteY66" fmla="*/ 365 h 9730"/>
                <a:gd name="connsiteX67" fmla="*/ 5711 w 9777"/>
                <a:gd name="connsiteY67" fmla="*/ 238 h 9730"/>
                <a:gd name="connsiteX68" fmla="*/ 5476 w 9777"/>
                <a:gd name="connsiteY68" fmla="*/ 143 h 9730"/>
                <a:gd name="connsiteX69" fmla="*/ 5228 w 9777"/>
                <a:gd name="connsiteY69" fmla="*/ 79 h 9730"/>
                <a:gd name="connsiteX70" fmla="*/ 4969 w 9777"/>
                <a:gd name="connsiteY70" fmla="*/ 16 h 9730"/>
                <a:gd name="connsiteX71" fmla="*/ 4710 w 9777"/>
                <a:gd name="connsiteY71" fmla="*/ 0 h 9730"/>
                <a:gd name="connsiteX72" fmla="*/ 4486 w 9777"/>
                <a:gd name="connsiteY72" fmla="*/ 16 h 9730"/>
                <a:gd name="connsiteX73" fmla="*/ 4277 w 9777"/>
                <a:gd name="connsiteY73" fmla="*/ 48 h 9730"/>
                <a:gd name="connsiteX74" fmla="*/ 4067 w 9777"/>
                <a:gd name="connsiteY74" fmla="*/ 95 h 9730"/>
                <a:gd name="connsiteX75" fmla="*/ 3882 w 9777"/>
                <a:gd name="connsiteY75" fmla="*/ 143 h 9730"/>
                <a:gd name="connsiteX76" fmla="*/ 3683 w 9777"/>
                <a:gd name="connsiteY76" fmla="*/ 222 h 9730"/>
                <a:gd name="connsiteX77" fmla="*/ 3485 w 9777"/>
                <a:gd name="connsiteY77" fmla="*/ 302 h 9730"/>
                <a:gd name="connsiteX78" fmla="*/ 3313 w 9777"/>
                <a:gd name="connsiteY78" fmla="*/ 413 h 9730"/>
                <a:gd name="connsiteX79" fmla="*/ 3127 w 9777"/>
                <a:gd name="connsiteY79" fmla="*/ 540 h 9730"/>
                <a:gd name="connsiteX80" fmla="*/ 2967 w 9777"/>
                <a:gd name="connsiteY80" fmla="*/ 683 h 9730"/>
                <a:gd name="connsiteX81" fmla="*/ 2793 w 9777"/>
                <a:gd name="connsiteY81" fmla="*/ 825 h 9730"/>
                <a:gd name="connsiteX82" fmla="*/ 2633 w 9777"/>
                <a:gd name="connsiteY82" fmla="*/ 984 h 9730"/>
                <a:gd name="connsiteX83" fmla="*/ 2472 w 9777"/>
                <a:gd name="connsiteY83" fmla="*/ 1159 h 9730"/>
                <a:gd name="connsiteX84" fmla="*/ 2324 w 9777"/>
                <a:gd name="connsiteY84" fmla="*/ 1333 h 9730"/>
                <a:gd name="connsiteX85" fmla="*/ 2163 w 9777"/>
                <a:gd name="connsiteY85" fmla="*/ 1540 h 9730"/>
                <a:gd name="connsiteX86" fmla="*/ 1879 w 9777"/>
                <a:gd name="connsiteY86" fmla="*/ 1968 h 9730"/>
                <a:gd name="connsiteX87" fmla="*/ 1607 w 9777"/>
                <a:gd name="connsiteY87" fmla="*/ 2413 h 9730"/>
                <a:gd name="connsiteX88" fmla="*/ 1348 w 9777"/>
                <a:gd name="connsiteY88" fmla="*/ 2889 h 9730"/>
                <a:gd name="connsiteX89" fmla="*/ 1100 w 9777"/>
                <a:gd name="connsiteY89" fmla="*/ 3397 h 9730"/>
                <a:gd name="connsiteX90" fmla="*/ 865 w 9777"/>
                <a:gd name="connsiteY90" fmla="*/ 3921 h 9730"/>
                <a:gd name="connsiteX91" fmla="*/ 643 w 9777"/>
                <a:gd name="connsiteY91" fmla="*/ 4444 h 9730"/>
                <a:gd name="connsiteX92" fmla="*/ 421 w 9777"/>
                <a:gd name="connsiteY92" fmla="*/ 5000 h 9730"/>
                <a:gd name="connsiteX93" fmla="*/ 0 w 9777"/>
                <a:gd name="connsiteY93" fmla="*/ 6111 h 9730"/>
                <a:gd name="connsiteX0" fmla="*/ 0 w 10000"/>
                <a:gd name="connsiteY0" fmla="*/ 6281 h 9706"/>
                <a:gd name="connsiteX1" fmla="*/ 0 w 10000"/>
                <a:gd name="connsiteY1" fmla="*/ 6281 h 9706"/>
                <a:gd name="connsiteX2" fmla="*/ 316 w 10000"/>
                <a:gd name="connsiteY2" fmla="*/ 7129 h 9706"/>
                <a:gd name="connsiteX3" fmla="*/ 608 w 10000"/>
                <a:gd name="connsiteY3" fmla="*/ 7961 h 9706"/>
                <a:gd name="connsiteX4" fmla="*/ 898 w 10000"/>
                <a:gd name="connsiteY4" fmla="*/ 7341 h 9706"/>
                <a:gd name="connsiteX5" fmla="*/ 1163 w 10000"/>
                <a:gd name="connsiteY5" fmla="*/ 6689 h 9706"/>
                <a:gd name="connsiteX6" fmla="*/ 1441 w 10000"/>
                <a:gd name="connsiteY6" fmla="*/ 6052 h 9706"/>
                <a:gd name="connsiteX7" fmla="*/ 1681 w 10000"/>
                <a:gd name="connsiteY7" fmla="*/ 5400 h 9706"/>
                <a:gd name="connsiteX8" fmla="*/ 2162 w 10000"/>
                <a:gd name="connsiteY8" fmla="*/ 4111 h 9706"/>
                <a:gd name="connsiteX9" fmla="*/ 2403 w 10000"/>
                <a:gd name="connsiteY9" fmla="*/ 3491 h 9706"/>
                <a:gd name="connsiteX10" fmla="*/ 2630 w 10000"/>
                <a:gd name="connsiteY10" fmla="*/ 2903 h 9706"/>
                <a:gd name="connsiteX11" fmla="*/ 2869 w 10000"/>
                <a:gd name="connsiteY11" fmla="*/ 2366 h 9706"/>
                <a:gd name="connsiteX12" fmla="*/ 3110 w 10000"/>
                <a:gd name="connsiteY12" fmla="*/ 1876 h 9706"/>
                <a:gd name="connsiteX13" fmla="*/ 3236 w 10000"/>
                <a:gd name="connsiteY13" fmla="*/ 1631 h 9706"/>
                <a:gd name="connsiteX14" fmla="*/ 3363 w 10000"/>
                <a:gd name="connsiteY14" fmla="*/ 1436 h 9706"/>
                <a:gd name="connsiteX15" fmla="*/ 3502 w 10000"/>
                <a:gd name="connsiteY15" fmla="*/ 1223 h 9706"/>
                <a:gd name="connsiteX16" fmla="*/ 3628 w 10000"/>
                <a:gd name="connsiteY16" fmla="*/ 1044 h 9706"/>
                <a:gd name="connsiteX17" fmla="*/ 3767 w 10000"/>
                <a:gd name="connsiteY17" fmla="*/ 881 h 9706"/>
                <a:gd name="connsiteX18" fmla="*/ 3907 w 10000"/>
                <a:gd name="connsiteY18" fmla="*/ 734 h 9706"/>
                <a:gd name="connsiteX19" fmla="*/ 4046 w 10000"/>
                <a:gd name="connsiteY19" fmla="*/ 603 h 9706"/>
                <a:gd name="connsiteX20" fmla="*/ 4198 w 10000"/>
                <a:gd name="connsiteY20" fmla="*/ 506 h 9706"/>
                <a:gd name="connsiteX21" fmla="*/ 4337 w 10000"/>
                <a:gd name="connsiteY21" fmla="*/ 408 h 9706"/>
                <a:gd name="connsiteX22" fmla="*/ 4488 w 10000"/>
                <a:gd name="connsiteY22" fmla="*/ 359 h 9706"/>
                <a:gd name="connsiteX23" fmla="*/ 4652 w 10000"/>
                <a:gd name="connsiteY23" fmla="*/ 310 h 9706"/>
                <a:gd name="connsiteX24" fmla="*/ 4817 w 10000"/>
                <a:gd name="connsiteY24" fmla="*/ 310 h 9706"/>
                <a:gd name="connsiteX25" fmla="*/ 5019 w 10000"/>
                <a:gd name="connsiteY25" fmla="*/ 326 h 9706"/>
                <a:gd name="connsiteX26" fmla="*/ 5221 w 10000"/>
                <a:gd name="connsiteY26" fmla="*/ 392 h 9706"/>
                <a:gd name="connsiteX27" fmla="*/ 5398 w 10000"/>
                <a:gd name="connsiteY27" fmla="*/ 506 h 9706"/>
                <a:gd name="connsiteX28" fmla="*/ 5589 w 10000"/>
                <a:gd name="connsiteY28" fmla="*/ 620 h 9706"/>
                <a:gd name="connsiteX29" fmla="*/ 5752 w 10000"/>
                <a:gd name="connsiteY29" fmla="*/ 783 h 9706"/>
                <a:gd name="connsiteX30" fmla="*/ 5929 w 10000"/>
                <a:gd name="connsiteY30" fmla="*/ 995 h 9706"/>
                <a:gd name="connsiteX31" fmla="*/ 6081 w 10000"/>
                <a:gd name="connsiteY31" fmla="*/ 1223 h 9706"/>
                <a:gd name="connsiteX32" fmla="*/ 6258 w 10000"/>
                <a:gd name="connsiteY32" fmla="*/ 1484 h 9706"/>
                <a:gd name="connsiteX33" fmla="*/ 6398 w 10000"/>
                <a:gd name="connsiteY33" fmla="*/ 1762 h 9706"/>
                <a:gd name="connsiteX34" fmla="*/ 6549 w 10000"/>
                <a:gd name="connsiteY34" fmla="*/ 2072 h 9706"/>
                <a:gd name="connsiteX35" fmla="*/ 6688 w 10000"/>
                <a:gd name="connsiteY35" fmla="*/ 2381 h 9706"/>
                <a:gd name="connsiteX36" fmla="*/ 6852 w 10000"/>
                <a:gd name="connsiteY36" fmla="*/ 2725 h 9706"/>
                <a:gd name="connsiteX37" fmla="*/ 7130 w 10000"/>
                <a:gd name="connsiteY37" fmla="*/ 3458 h 9706"/>
                <a:gd name="connsiteX38" fmla="*/ 7421 w 10000"/>
                <a:gd name="connsiteY38" fmla="*/ 4242 h 9706"/>
                <a:gd name="connsiteX39" fmla="*/ 8002 w 10000"/>
                <a:gd name="connsiteY39" fmla="*/ 5889 h 9706"/>
                <a:gd name="connsiteX40" fmla="*/ 8319 w 10000"/>
                <a:gd name="connsiteY40" fmla="*/ 6738 h 9706"/>
                <a:gd name="connsiteX41" fmla="*/ 8635 w 10000"/>
                <a:gd name="connsiteY41" fmla="*/ 7536 h 9706"/>
                <a:gd name="connsiteX42" fmla="*/ 8811 w 10000"/>
                <a:gd name="connsiteY42" fmla="*/ 7945 h 9706"/>
                <a:gd name="connsiteX43" fmla="*/ 9002 w 10000"/>
                <a:gd name="connsiteY43" fmla="*/ 8320 h 9706"/>
                <a:gd name="connsiteX44" fmla="*/ 9179 w 10000"/>
                <a:gd name="connsiteY44" fmla="*/ 8678 h 9706"/>
                <a:gd name="connsiteX45" fmla="*/ 9368 w 10000"/>
                <a:gd name="connsiteY45" fmla="*/ 9038 h 9706"/>
                <a:gd name="connsiteX46" fmla="*/ 9570 w 10000"/>
                <a:gd name="connsiteY46" fmla="*/ 9380 h 9706"/>
                <a:gd name="connsiteX47" fmla="*/ 9772 w 10000"/>
                <a:gd name="connsiteY47" fmla="*/ 9706 h 9706"/>
                <a:gd name="connsiteX48" fmla="*/ 10000 w 10000"/>
                <a:gd name="connsiteY48" fmla="*/ 7700 h 9706"/>
                <a:gd name="connsiteX49" fmla="*/ 9760 w 10000"/>
                <a:gd name="connsiteY49" fmla="*/ 7031 h 9706"/>
                <a:gd name="connsiteX50" fmla="*/ 9267 w 10000"/>
                <a:gd name="connsiteY50" fmla="*/ 5661 h 9706"/>
                <a:gd name="connsiteX51" fmla="*/ 9014 w 10000"/>
                <a:gd name="connsiteY51" fmla="*/ 4959 h 9706"/>
                <a:gd name="connsiteX52" fmla="*/ 8736 w 10000"/>
                <a:gd name="connsiteY52" fmla="*/ 4258 h 9706"/>
                <a:gd name="connsiteX53" fmla="*/ 8458 w 10000"/>
                <a:gd name="connsiteY53" fmla="*/ 3605 h 9706"/>
                <a:gd name="connsiteX54" fmla="*/ 8143 w 10000"/>
                <a:gd name="connsiteY54" fmla="*/ 2969 h 9706"/>
                <a:gd name="connsiteX55" fmla="*/ 7989 w 10000"/>
                <a:gd name="connsiteY55" fmla="*/ 2659 h 9706"/>
                <a:gd name="connsiteX56" fmla="*/ 7826 w 10000"/>
                <a:gd name="connsiteY56" fmla="*/ 2366 h 9706"/>
                <a:gd name="connsiteX57" fmla="*/ 7661 w 10000"/>
                <a:gd name="connsiteY57" fmla="*/ 2072 h 9706"/>
                <a:gd name="connsiteX58" fmla="*/ 7485 w 10000"/>
                <a:gd name="connsiteY58" fmla="*/ 1794 h 9706"/>
                <a:gd name="connsiteX59" fmla="*/ 7308 w 10000"/>
                <a:gd name="connsiteY59" fmla="*/ 1533 h 9706"/>
                <a:gd name="connsiteX60" fmla="*/ 7118 w 10000"/>
                <a:gd name="connsiteY60" fmla="*/ 1305 h 9706"/>
                <a:gd name="connsiteX61" fmla="*/ 6915 w 10000"/>
                <a:gd name="connsiteY61" fmla="*/ 1061 h 9706"/>
                <a:gd name="connsiteX62" fmla="*/ 6726 w 10000"/>
                <a:gd name="connsiteY62" fmla="*/ 864 h 9706"/>
                <a:gd name="connsiteX63" fmla="*/ 6511 w 10000"/>
                <a:gd name="connsiteY63" fmla="*/ 686 h 9706"/>
                <a:gd name="connsiteX64" fmla="*/ 6295 w 10000"/>
                <a:gd name="connsiteY64" fmla="*/ 522 h 9706"/>
                <a:gd name="connsiteX65" fmla="*/ 6068 w 10000"/>
                <a:gd name="connsiteY65" fmla="*/ 375 h 9706"/>
                <a:gd name="connsiteX66" fmla="*/ 5841 w 10000"/>
                <a:gd name="connsiteY66" fmla="*/ 245 h 9706"/>
                <a:gd name="connsiteX67" fmla="*/ 5601 w 10000"/>
                <a:gd name="connsiteY67" fmla="*/ 147 h 9706"/>
                <a:gd name="connsiteX68" fmla="*/ 5347 w 10000"/>
                <a:gd name="connsiteY68" fmla="*/ 81 h 9706"/>
                <a:gd name="connsiteX69" fmla="*/ 5082 w 10000"/>
                <a:gd name="connsiteY69" fmla="*/ 16 h 9706"/>
                <a:gd name="connsiteX70" fmla="*/ 4817 w 10000"/>
                <a:gd name="connsiteY70" fmla="*/ 0 h 9706"/>
                <a:gd name="connsiteX71" fmla="*/ 4588 w 10000"/>
                <a:gd name="connsiteY71" fmla="*/ 16 h 9706"/>
                <a:gd name="connsiteX72" fmla="*/ 4375 w 10000"/>
                <a:gd name="connsiteY72" fmla="*/ 49 h 9706"/>
                <a:gd name="connsiteX73" fmla="*/ 4160 w 10000"/>
                <a:gd name="connsiteY73" fmla="*/ 98 h 9706"/>
                <a:gd name="connsiteX74" fmla="*/ 3971 w 10000"/>
                <a:gd name="connsiteY74" fmla="*/ 147 h 9706"/>
                <a:gd name="connsiteX75" fmla="*/ 3767 w 10000"/>
                <a:gd name="connsiteY75" fmla="*/ 228 h 9706"/>
                <a:gd name="connsiteX76" fmla="*/ 3564 w 10000"/>
                <a:gd name="connsiteY76" fmla="*/ 310 h 9706"/>
                <a:gd name="connsiteX77" fmla="*/ 3389 w 10000"/>
                <a:gd name="connsiteY77" fmla="*/ 424 h 9706"/>
                <a:gd name="connsiteX78" fmla="*/ 3198 w 10000"/>
                <a:gd name="connsiteY78" fmla="*/ 555 h 9706"/>
                <a:gd name="connsiteX79" fmla="*/ 3035 w 10000"/>
                <a:gd name="connsiteY79" fmla="*/ 702 h 9706"/>
                <a:gd name="connsiteX80" fmla="*/ 2857 w 10000"/>
                <a:gd name="connsiteY80" fmla="*/ 848 h 9706"/>
                <a:gd name="connsiteX81" fmla="*/ 2693 w 10000"/>
                <a:gd name="connsiteY81" fmla="*/ 1011 h 9706"/>
                <a:gd name="connsiteX82" fmla="*/ 2528 w 10000"/>
                <a:gd name="connsiteY82" fmla="*/ 1191 h 9706"/>
                <a:gd name="connsiteX83" fmla="*/ 2377 w 10000"/>
                <a:gd name="connsiteY83" fmla="*/ 1370 h 9706"/>
                <a:gd name="connsiteX84" fmla="*/ 2212 w 10000"/>
                <a:gd name="connsiteY84" fmla="*/ 1583 h 9706"/>
                <a:gd name="connsiteX85" fmla="*/ 1922 w 10000"/>
                <a:gd name="connsiteY85" fmla="*/ 2023 h 9706"/>
                <a:gd name="connsiteX86" fmla="*/ 1644 w 10000"/>
                <a:gd name="connsiteY86" fmla="*/ 2480 h 9706"/>
                <a:gd name="connsiteX87" fmla="*/ 1379 w 10000"/>
                <a:gd name="connsiteY87" fmla="*/ 2969 h 9706"/>
                <a:gd name="connsiteX88" fmla="*/ 1125 w 10000"/>
                <a:gd name="connsiteY88" fmla="*/ 3491 h 9706"/>
                <a:gd name="connsiteX89" fmla="*/ 885 w 10000"/>
                <a:gd name="connsiteY89" fmla="*/ 4030 h 9706"/>
                <a:gd name="connsiteX90" fmla="*/ 658 w 10000"/>
                <a:gd name="connsiteY90" fmla="*/ 4567 h 9706"/>
                <a:gd name="connsiteX91" fmla="*/ 431 w 10000"/>
                <a:gd name="connsiteY91" fmla="*/ 5139 h 9706"/>
                <a:gd name="connsiteX92" fmla="*/ 0 w 10000"/>
                <a:gd name="connsiteY92" fmla="*/ 6281 h 9706"/>
                <a:gd name="connsiteX0" fmla="*/ 0 w 10000"/>
                <a:gd name="connsiteY0" fmla="*/ 6471 h 9664"/>
                <a:gd name="connsiteX1" fmla="*/ 0 w 10000"/>
                <a:gd name="connsiteY1" fmla="*/ 6471 h 9664"/>
                <a:gd name="connsiteX2" fmla="*/ 316 w 10000"/>
                <a:gd name="connsiteY2" fmla="*/ 7345 h 9664"/>
                <a:gd name="connsiteX3" fmla="*/ 608 w 10000"/>
                <a:gd name="connsiteY3" fmla="*/ 8202 h 9664"/>
                <a:gd name="connsiteX4" fmla="*/ 898 w 10000"/>
                <a:gd name="connsiteY4" fmla="*/ 7563 h 9664"/>
                <a:gd name="connsiteX5" fmla="*/ 1163 w 10000"/>
                <a:gd name="connsiteY5" fmla="*/ 6892 h 9664"/>
                <a:gd name="connsiteX6" fmla="*/ 1441 w 10000"/>
                <a:gd name="connsiteY6" fmla="*/ 6235 h 9664"/>
                <a:gd name="connsiteX7" fmla="*/ 1681 w 10000"/>
                <a:gd name="connsiteY7" fmla="*/ 5564 h 9664"/>
                <a:gd name="connsiteX8" fmla="*/ 2162 w 10000"/>
                <a:gd name="connsiteY8" fmla="*/ 4236 h 9664"/>
                <a:gd name="connsiteX9" fmla="*/ 2403 w 10000"/>
                <a:gd name="connsiteY9" fmla="*/ 3597 h 9664"/>
                <a:gd name="connsiteX10" fmla="*/ 2630 w 10000"/>
                <a:gd name="connsiteY10" fmla="*/ 2991 h 9664"/>
                <a:gd name="connsiteX11" fmla="*/ 2869 w 10000"/>
                <a:gd name="connsiteY11" fmla="*/ 2438 h 9664"/>
                <a:gd name="connsiteX12" fmla="*/ 3110 w 10000"/>
                <a:gd name="connsiteY12" fmla="*/ 1933 h 9664"/>
                <a:gd name="connsiteX13" fmla="*/ 3236 w 10000"/>
                <a:gd name="connsiteY13" fmla="*/ 1680 h 9664"/>
                <a:gd name="connsiteX14" fmla="*/ 3363 w 10000"/>
                <a:gd name="connsiteY14" fmla="*/ 1479 h 9664"/>
                <a:gd name="connsiteX15" fmla="*/ 3502 w 10000"/>
                <a:gd name="connsiteY15" fmla="*/ 1260 h 9664"/>
                <a:gd name="connsiteX16" fmla="*/ 3628 w 10000"/>
                <a:gd name="connsiteY16" fmla="*/ 1076 h 9664"/>
                <a:gd name="connsiteX17" fmla="*/ 3767 w 10000"/>
                <a:gd name="connsiteY17" fmla="*/ 908 h 9664"/>
                <a:gd name="connsiteX18" fmla="*/ 3907 w 10000"/>
                <a:gd name="connsiteY18" fmla="*/ 756 h 9664"/>
                <a:gd name="connsiteX19" fmla="*/ 4046 w 10000"/>
                <a:gd name="connsiteY19" fmla="*/ 621 h 9664"/>
                <a:gd name="connsiteX20" fmla="*/ 4198 w 10000"/>
                <a:gd name="connsiteY20" fmla="*/ 521 h 9664"/>
                <a:gd name="connsiteX21" fmla="*/ 4337 w 10000"/>
                <a:gd name="connsiteY21" fmla="*/ 420 h 9664"/>
                <a:gd name="connsiteX22" fmla="*/ 4488 w 10000"/>
                <a:gd name="connsiteY22" fmla="*/ 370 h 9664"/>
                <a:gd name="connsiteX23" fmla="*/ 4652 w 10000"/>
                <a:gd name="connsiteY23" fmla="*/ 319 h 9664"/>
                <a:gd name="connsiteX24" fmla="*/ 4817 w 10000"/>
                <a:gd name="connsiteY24" fmla="*/ 319 h 9664"/>
                <a:gd name="connsiteX25" fmla="*/ 5019 w 10000"/>
                <a:gd name="connsiteY25" fmla="*/ 336 h 9664"/>
                <a:gd name="connsiteX26" fmla="*/ 5221 w 10000"/>
                <a:gd name="connsiteY26" fmla="*/ 404 h 9664"/>
                <a:gd name="connsiteX27" fmla="*/ 5398 w 10000"/>
                <a:gd name="connsiteY27" fmla="*/ 521 h 9664"/>
                <a:gd name="connsiteX28" fmla="*/ 5589 w 10000"/>
                <a:gd name="connsiteY28" fmla="*/ 639 h 9664"/>
                <a:gd name="connsiteX29" fmla="*/ 5752 w 10000"/>
                <a:gd name="connsiteY29" fmla="*/ 807 h 9664"/>
                <a:gd name="connsiteX30" fmla="*/ 5929 w 10000"/>
                <a:gd name="connsiteY30" fmla="*/ 1025 h 9664"/>
                <a:gd name="connsiteX31" fmla="*/ 6081 w 10000"/>
                <a:gd name="connsiteY31" fmla="*/ 1260 h 9664"/>
                <a:gd name="connsiteX32" fmla="*/ 6258 w 10000"/>
                <a:gd name="connsiteY32" fmla="*/ 1529 h 9664"/>
                <a:gd name="connsiteX33" fmla="*/ 6398 w 10000"/>
                <a:gd name="connsiteY33" fmla="*/ 1815 h 9664"/>
                <a:gd name="connsiteX34" fmla="*/ 6549 w 10000"/>
                <a:gd name="connsiteY34" fmla="*/ 2135 h 9664"/>
                <a:gd name="connsiteX35" fmla="*/ 6688 w 10000"/>
                <a:gd name="connsiteY35" fmla="*/ 2453 h 9664"/>
                <a:gd name="connsiteX36" fmla="*/ 6852 w 10000"/>
                <a:gd name="connsiteY36" fmla="*/ 2808 h 9664"/>
                <a:gd name="connsiteX37" fmla="*/ 7130 w 10000"/>
                <a:gd name="connsiteY37" fmla="*/ 3563 h 9664"/>
                <a:gd name="connsiteX38" fmla="*/ 7421 w 10000"/>
                <a:gd name="connsiteY38" fmla="*/ 4370 h 9664"/>
                <a:gd name="connsiteX39" fmla="*/ 8002 w 10000"/>
                <a:gd name="connsiteY39" fmla="*/ 6067 h 9664"/>
                <a:gd name="connsiteX40" fmla="*/ 8319 w 10000"/>
                <a:gd name="connsiteY40" fmla="*/ 6942 h 9664"/>
                <a:gd name="connsiteX41" fmla="*/ 8635 w 10000"/>
                <a:gd name="connsiteY41" fmla="*/ 7764 h 9664"/>
                <a:gd name="connsiteX42" fmla="*/ 8811 w 10000"/>
                <a:gd name="connsiteY42" fmla="*/ 8186 h 9664"/>
                <a:gd name="connsiteX43" fmla="*/ 9002 w 10000"/>
                <a:gd name="connsiteY43" fmla="*/ 8572 h 9664"/>
                <a:gd name="connsiteX44" fmla="*/ 9179 w 10000"/>
                <a:gd name="connsiteY44" fmla="*/ 8941 h 9664"/>
                <a:gd name="connsiteX45" fmla="*/ 9368 w 10000"/>
                <a:gd name="connsiteY45" fmla="*/ 9312 h 9664"/>
                <a:gd name="connsiteX46" fmla="*/ 9570 w 10000"/>
                <a:gd name="connsiteY46" fmla="*/ 9664 h 9664"/>
                <a:gd name="connsiteX47" fmla="*/ 10000 w 10000"/>
                <a:gd name="connsiteY47" fmla="*/ 7933 h 9664"/>
                <a:gd name="connsiteX48" fmla="*/ 9760 w 10000"/>
                <a:gd name="connsiteY48" fmla="*/ 7244 h 9664"/>
                <a:gd name="connsiteX49" fmla="*/ 9267 w 10000"/>
                <a:gd name="connsiteY49" fmla="*/ 5832 h 9664"/>
                <a:gd name="connsiteX50" fmla="*/ 9014 w 10000"/>
                <a:gd name="connsiteY50" fmla="*/ 5109 h 9664"/>
                <a:gd name="connsiteX51" fmla="*/ 8736 w 10000"/>
                <a:gd name="connsiteY51" fmla="*/ 4387 h 9664"/>
                <a:gd name="connsiteX52" fmla="*/ 8458 w 10000"/>
                <a:gd name="connsiteY52" fmla="*/ 3714 h 9664"/>
                <a:gd name="connsiteX53" fmla="*/ 8143 w 10000"/>
                <a:gd name="connsiteY53" fmla="*/ 3059 h 9664"/>
                <a:gd name="connsiteX54" fmla="*/ 7989 w 10000"/>
                <a:gd name="connsiteY54" fmla="*/ 2740 h 9664"/>
                <a:gd name="connsiteX55" fmla="*/ 7826 w 10000"/>
                <a:gd name="connsiteY55" fmla="*/ 2438 h 9664"/>
                <a:gd name="connsiteX56" fmla="*/ 7661 w 10000"/>
                <a:gd name="connsiteY56" fmla="*/ 2135 h 9664"/>
                <a:gd name="connsiteX57" fmla="*/ 7485 w 10000"/>
                <a:gd name="connsiteY57" fmla="*/ 1848 h 9664"/>
                <a:gd name="connsiteX58" fmla="*/ 7308 w 10000"/>
                <a:gd name="connsiteY58" fmla="*/ 1579 h 9664"/>
                <a:gd name="connsiteX59" fmla="*/ 7118 w 10000"/>
                <a:gd name="connsiteY59" fmla="*/ 1345 h 9664"/>
                <a:gd name="connsiteX60" fmla="*/ 6915 w 10000"/>
                <a:gd name="connsiteY60" fmla="*/ 1093 h 9664"/>
                <a:gd name="connsiteX61" fmla="*/ 6726 w 10000"/>
                <a:gd name="connsiteY61" fmla="*/ 890 h 9664"/>
                <a:gd name="connsiteX62" fmla="*/ 6511 w 10000"/>
                <a:gd name="connsiteY62" fmla="*/ 707 h 9664"/>
                <a:gd name="connsiteX63" fmla="*/ 6295 w 10000"/>
                <a:gd name="connsiteY63" fmla="*/ 538 h 9664"/>
                <a:gd name="connsiteX64" fmla="*/ 6068 w 10000"/>
                <a:gd name="connsiteY64" fmla="*/ 386 h 9664"/>
                <a:gd name="connsiteX65" fmla="*/ 5841 w 10000"/>
                <a:gd name="connsiteY65" fmla="*/ 252 h 9664"/>
                <a:gd name="connsiteX66" fmla="*/ 5601 w 10000"/>
                <a:gd name="connsiteY66" fmla="*/ 151 h 9664"/>
                <a:gd name="connsiteX67" fmla="*/ 5347 w 10000"/>
                <a:gd name="connsiteY67" fmla="*/ 83 h 9664"/>
                <a:gd name="connsiteX68" fmla="*/ 5082 w 10000"/>
                <a:gd name="connsiteY68" fmla="*/ 16 h 9664"/>
                <a:gd name="connsiteX69" fmla="*/ 4817 w 10000"/>
                <a:gd name="connsiteY69" fmla="*/ 0 h 9664"/>
                <a:gd name="connsiteX70" fmla="*/ 4588 w 10000"/>
                <a:gd name="connsiteY70" fmla="*/ 16 h 9664"/>
                <a:gd name="connsiteX71" fmla="*/ 4375 w 10000"/>
                <a:gd name="connsiteY71" fmla="*/ 50 h 9664"/>
                <a:gd name="connsiteX72" fmla="*/ 4160 w 10000"/>
                <a:gd name="connsiteY72" fmla="*/ 101 h 9664"/>
                <a:gd name="connsiteX73" fmla="*/ 3971 w 10000"/>
                <a:gd name="connsiteY73" fmla="*/ 151 h 9664"/>
                <a:gd name="connsiteX74" fmla="*/ 3767 w 10000"/>
                <a:gd name="connsiteY74" fmla="*/ 235 h 9664"/>
                <a:gd name="connsiteX75" fmla="*/ 3564 w 10000"/>
                <a:gd name="connsiteY75" fmla="*/ 319 h 9664"/>
                <a:gd name="connsiteX76" fmla="*/ 3389 w 10000"/>
                <a:gd name="connsiteY76" fmla="*/ 437 h 9664"/>
                <a:gd name="connsiteX77" fmla="*/ 3198 w 10000"/>
                <a:gd name="connsiteY77" fmla="*/ 572 h 9664"/>
                <a:gd name="connsiteX78" fmla="*/ 3035 w 10000"/>
                <a:gd name="connsiteY78" fmla="*/ 723 h 9664"/>
                <a:gd name="connsiteX79" fmla="*/ 2857 w 10000"/>
                <a:gd name="connsiteY79" fmla="*/ 874 h 9664"/>
                <a:gd name="connsiteX80" fmla="*/ 2693 w 10000"/>
                <a:gd name="connsiteY80" fmla="*/ 1042 h 9664"/>
                <a:gd name="connsiteX81" fmla="*/ 2528 w 10000"/>
                <a:gd name="connsiteY81" fmla="*/ 1227 h 9664"/>
                <a:gd name="connsiteX82" fmla="*/ 2377 w 10000"/>
                <a:gd name="connsiteY82" fmla="*/ 1411 h 9664"/>
                <a:gd name="connsiteX83" fmla="*/ 2212 w 10000"/>
                <a:gd name="connsiteY83" fmla="*/ 1631 h 9664"/>
                <a:gd name="connsiteX84" fmla="*/ 1922 w 10000"/>
                <a:gd name="connsiteY84" fmla="*/ 2084 h 9664"/>
                <a:gd name="connsiteX85" fmla="*/ 1644 w 10000"/>
                <a:gd name="connsiteY85" fmla="*/ 2555 h 9664"/>
                <a:gd name="connsiteX86" fmla="*/ 1379 w 10000"/>
                <a:gd name="connsiteY86" fmla="*/ 3059 h 9664"/>
                <a:gd name="connsiteX87" fmla="*/ 1125 w 10000"/>
                <a:gd name="connsiteY87" fmla="*/ 3597 h 9664"/>
                <a:gd name="connsiteX88" fmla="*/ 885 w 10000"/>
                <a:gd name="connsiteY88" fmla="*/ 4152 h 9664"/>
                <a:gd name="connsiteX89" fmla="*/ 658 w 10000"/>
                <a:gd name="connsiteY89" fmla="*/ 4705 h 9664"/>
                <a:gd name="connsiteX90" fmla="*/ 431 w 10000"/>
                <a:gd name="connsiteY90" fmla="*/ 5295 h 9664"/>
                <a:gd name="connsiteX91" fmla="*/ 0 w 10000"/>
                <a:gd name="connsiteY91" fmla="*/ 6471 h 9664"/>
                <a:gd name="connsiteX0" fmla="*/ 0 w 10000"/>
                <a:gd name="connsiteY0" fmla="*/ 6696 h 9636"/>
                <a:gd name="connsiteX1" fmla="*/ 0 w 10000"/>
                <a:gd name="connsiteY1" fmla="*/ 6696 h 9636"/>
                <a:gd name="connsiteX2" fmla="*/ 316 w 10000"/>
                <a:gd name="connsiteY2" fmla="*/ 7600 h 9636"/>
                <a:gd name="connsiteX3" fmla="*/ 608 w 10000"/>
                <a:gd name="connsiteY3" fmla="*/ 8487 h 9636"/>
                <a:gd name="connsiteX4" fmla="*/ 898 w 10000"/>
                <a:gd name="connsiteY4" fmla="*/ 7826 h 9636"/>
                <a:gd name="connsiteX5" fmla="*/ 1163 w 10000"/>
                <a:gd name="connsiteY5" fmla="*/ 7132 h 9636"/>
                <a:gd name="connsiteX6" fmla="*/ 1441 w 10000"/>
                <a:gd name="connsiteY6" fmla="*/ 6452 h 9636"/>
                <a:gd name="connsiteX7" fmla="*/ 1681 w 10000"/>
                <a:gd name="connsiteY7" fmla="*/ 5757 h 9636"/>
                <a:gd name="connsiteX8" fmla="*/ 2162 w 10000"/>
                <a:gd name="connsiteY8" fmla="*/ 4383 h 9636"/>
                <a:gd name="connsiteX9" fmla="*/ 2403 w 10000"/>
                <a:gd name="connsiteY9" fmla="*/ 3722 h 9636"/>
                <a:gd name="connsiteX10" fmla="*/ 2630 w 10000"/>
                <a:gd name="connsiteY10" fmla="*/ 3095 h 9636"/>
                <a:gd name="connsiteX11" fmla="*/ 2869 w 10000"/>
                <a:gd name="connsiteY11" fmla="*/ 2523 h 9636"/>
                <a:gd name="connsiteX12" fmla="*/ 3110 w 10000"/>
                <a:gd name="connsiteY12" fmla="*/ 2000 h 9636"/>
                <a:gd name="connsiteX13" fmla="*/ 3236 w 10000"/>
                <a:gd name="connsiteY13" fmla="*/ 1738 h 9636"/>
                <a:gd name="connsiteX14" fmla="*/ 3363 w 10000"/>
                <a:gd name="connsiteY14" fmla="*/ 1530 h 9636"/>
                <a:gd name="connsiteX15" fmla="*/ 3502 w 10000"/>
                <a:gd name="connsiteY15" fmla="*/ 1304 h 9636"/>
                <a:gd name="connsiteX16" fmla="*/ 3628 w 10000"/>
                <a:gd name="connsiteY16" fmla="*/ 1113 h 9636"/>
                <a:gd name="connsiteX17" fmla="*/ 3767 w 10000"/>
                <a:gd name="connsiteY17" fmla="*/ 940 h 9636"/>
                <a:gd name="connsiteX18" fmla="*/ 3907 w 10000"/>
                <a:gd name="connsiteY18" fmla="*/ 782 h 9636"/>
                <a:gd name="connsiteX19" fmla="*/ 4046 w 10000"/>
                <a:gd name="connsiteY19" fmla="*/ 643 h 9636"/>
                <a:gd name="connsiteX20" fmla="*/ 4198 w 10000"/>
                <a:gd name="connsiteY20" fmla="*/ 539 h 9636"/>
                <a:gd name="connsiteX21" fmla="*/ 4337 w 10000"/>
                <a:gd name="connsiteY21" fmla="*/ 435 h 9636"/>
                <a:gd name="connsiteX22" fmla="*/ 4488 w 10000"/>
                <a:gd name="connsiteY22" fmla="*/ 383 h 9636"/>
                <a:gd name="connsiteX23" fmla="*/ 4652 w 10000"/>
                <a:gd name="connsiteY23" fmla="*/ 330 h 9636"/>
                <a:gd name="connsiteX24" fmla="*/ 4817 w 10000"/>
                <a:gd name="connsiteY24" fmla="*/ 330 h 9636"/>
                <a:gd name="connsiteX25" fmla="*/ 5019 w 10000"/>
                <a:gd name="connsiteY25" fmla="*/ 348 h 9636"/>
                <a:gd name="connsiteX26" fmla="*/ 5221 w 10000"/>
                <a:gd name="connsiteY26" fmla="*/ 418 h 9636"/>
                <a:gd name="connsiteX27" fmla="*/ 5398 w 10000"/>
                <a:gd name="connsiteY27" fmla="*/ 539 h 9636"/>
                <a:gd name="connsiteX28" fmla="*/ 5589 w 10000"/>
                <a:gd name="connsiteY28" fmla="*/ 661 h 9636"/>
                <a:gd name="connsiteX29" fmla="*/ 5752 w 10000"/>
                <a:gd name="connsiteY29" fmla="*/ 835 h 9636"/>
                <a:gd name="connsiteX30" fmla="*/ 5929 w 10000"/>
                <a:gd name="connsiteY30" fmla="*/ 1061 h 9636"/>
                <a:gd name="connsiteX31" fmla="*/ 6081 w 10000"/>
                <a:gd name="connsiteY31" fmla="*/ 1304 h 9636"/>
                <a:gd name="connsiteX32" fmla="*/ 6258 w 10000"/>
                <a:gd name="connsiteY32" fmla="*/ 1582 h 9636"/>
                <a:gd name="connsiteX33" fmla="*/ 6398 w 10000"/>
                <a:gd name="connsiteY33" fmla="*/ 1878 h 9636"/>
                <a:gd name="connsiteX34" fmla="*/ 6549 w 10000"/>
                <a:gd name="connsiteY34" fmla="*/ 2209 h 9636"/>
                <a:gd name="connsiteX35" fmla="*/ 6688 w 10000"/>
                <a:gd name="connsiteY35" fmla="*/ 2538 h 9636"/>
                <a:gd name="connsiteX36" fmla="*/ 6852 w 10000"/>
                <a:gd name="connsiteY36" fmla="*/ 2906 h 9636"/>
                <a:gd name="connsiteX37" fmla="*/ 7130 w 10000"/>
                <a:gd name="connsiteY37" fmla="*/ 3687 h 9636"/>
                <a:gd name="connsiteX38" fmla="*/ 7421 w 10000"/>
                <a:gd name="connsiteY38" fmla="*/ 4522 h 9636"/>
                <a:gd name="connsiteX39" fmla="*/ 8002 w 10000"/>
                <a:gd name="connsiteY39" fmla="*/ 6278 h 9636"/>
                <a:gd name="connsiteX40" fmla="*/ 8319 w 10000"/>
                <a:gd name="connsiteY40" fmla="*/ 7183 h 9636"/>
                <a:gd name="connsiteX41" fmla="*/ 8635 w 10000"/>
                <a:gd name="connsiteY41" fmla="*/ 8034 h 9636"/>
                <a:gd name="connsiteX42" fmla="*/ 8811 w 10000"/>
                <a:gd name="connsiteY42" fmla="*/ 8471 h 9636"/>
                <a:gd name="connsiteX43" fmla="*/ 9002 w 10000"/>
                <a:gd name="connsiteY43" fmla="*/ 8870 h 9636"/>
                <a:gd name="connsiteX44" fmla="*/ 9179 w 10000"/>
                <a:gd name="connsiteY44" fmla="*/ 9252 h 9636"/>
                <a:gd name="connsiteX45" fmla="*/ 9368 w 10000"/>
                <a:gd name="connsiteY45" fmla="*/ 9636 h 9636"/>
                <a:gd name="connsiteX46" fmla="*/ 10000 w 10000"/>
                <a:gd name="connsiteY46" fmla="*/ 8209 h 9636"/>
                <a:gd name="connsiteX47" fmla="*/ 9760 w 10000"/>
                <a:gd name="connsiteY47" fmla="*/ 7496 h 9636"/>
                <a:gd name="connsiteX48" fmla="*/ 9267 w 10000"/>
                <a:gd name="connsiteY48" fmla="*/ 6035 h 9636"/>
                <a:gd name="connsiteX49" fmla="*/ 9014 w 10000"/>
                <a:gd name="connsiteY49" fmla="*/ 5287 h 9636"/>
                <a:gd name="connsiteX50" fmla="*/ 8736 w 10000"/>
                <a:gd name="connsiteY50" fmla="*/ 4540 h 9636"/>
                <a:gd name="connsiteX51" fmla="*/ 8458 w 10000"/>
                <a:gd name="connsiteY51" fmla="*/ 3843 h 9636"/>
                <a:gd name="connsiteX52" fmla="*/ 8143 w 10000"/>
                <a:gd name="connsiteY52" fmla="*/ 3165 h 9636"/>
                <a:gd name="connsiteX53" fmla="*/ 7989 w 10000"/>
                <a:gd name="connsiteY53" fmla="*/ 2835 h 9636"/>
                <a:gd name="connsiteX54" fmla="*/ 7826 w 10000"/>
                <a:gd name="connsiteY54" fmla="*/ 2523 h 9636"/>
                <a:gd name="connsiteX55" fmla="*/ 7661 w 10000"/>
                <a:gd name="connsiteY55" fmla="*/ 2209 h 9636"/>
                <a:gd name="connsiteX56" fmla="*/ 7485 w 10000"/>
                <a:gd name="connsiteY56" fmla="*/ 1912 h 9636"/>
                <a:gd name="connsiteX57" fmla="*/ 7308 w 10000"/>
                <a:gd name="connsiteY57" fmla="*/ 1634 h 9636"/>
                <a:gd name="connsiteX58" fmla="*/ 7118 w 10000"/>
                <a:gd name="connsiteY58" fmla="*/ 1392 h 9636"/>
                <a:gd name="connsiteX59" fmla="*/ 6915 w 10000"/>
                <a:gd name="connsiteY59" fmla="*/ 1131 h 9636"/>
                <a:gd name="connsiteX60" fmla="*/ 6726 w 10000"/>
                <a:gd name="connsiteY60" fmla="*/ 921 h 9636"/>
                <a:gd name="connsiteX61" fmla="*/ 6511 w 10000"/>
                <a:gd name="connsiteY61" fmla="*/ 732 h 9636"/>
                <a:gd name="connsiteX62" fmla="*/ 6295 w 10000"/>
                <a:gd name="connsiteY62" fmla="*/ 557 h 9636"/>
                <a:gd name="connsiteX63" fmla="*/ 6068 w 10000"/>
                <a:gd name="connsiteY63" fmla="*/ 399 h 9636"/>
                <a:gd name="connsiteX64" fmla="*/ 5841 w 10000"/>
                <a:gd name="connsiteY64" fmla="*/ 261 h 9636"/>
                <a:gd name="connsiteX65" fmla="*/ 5601 w 10000"/>
                <a:gd name="connsiteY65" fmla="*/ 156 h 9636"/>
                <a:gd name="connsiteX66" fmla="*/ 5347 w 10000"/>
                <a:gd name="connsiteY66" fmla="*/ 86 h 9636"/>
                <a:gd name="connsiteX67" fmla="*/ 5082 w 10000"/>
                <a:gd name="connsiteY67" fmla="*/ 17 h 9636"/>
                <a:gd name="connsiteX68" fmla="*/ 4817 w 10000"/>
                <a:gd name="connsiteY68" fmla="*/ 0 h 9636"/>
                <a:gd name="connsiteX69" fmla="*/ 4588 w 10000"/>
                <a:gd name="connsiteY69" fmla="*/ 17 h 9636"/>
                <a:gd name="connsiteX70" fmla="*/ 4375 w 10000"/>
                <a:gd name="connsiteY70" fmla="*/ 52 h 9636"/>
                <a:gd name="connsiteX71" fmla="*/ 4160 w 10000"/>
                <a:gd name="connsiteY71" fmla="*/ 105 h 9636"/>
                <a:gd name="connsiteX72" fmla="*/ 3971 w 10000"/>
                <a:gd name="connsiteY72" fmla="*/ 156 h 9636"/>
                <a:gd name="connsiteX73" fmla="*/ 3767 w 10000"/>
                <a:gd name="connsiteY73" fmla="*/ 243 h 9636"/>
                <a:gd name="connsiteX74" fmla="*/ 3564 w 10000"/>
                <a:gd name="connsiteY74" fmla="*/ 330 h 9636"/>
                <a:gd name="connsiteX75" fmla="*/ 3389 w 10000"/>
                <a:gd name="connsiteY75" fmla="*/ 452 h 9636"/>
                <a:gd name="connsiteX76" fmla="*/ 3198 w 10000"/>
                <a:gd name="connsiteY76" fmla="*/ 592 h 9636"/>
                <a:gd name="connsiteX77" fmla="*/ 3035 w 10000"/>
                <a:gd name="connsiteY77" fmla="*/ 748 h 9636"/>
                <a:gd name="connsiteX78" fmla="*/ 2857 w 10000"/>
                <a:gd name="connsiteY78" fmla="*/ 904 h 9636"/>
                <a:gd name="connsiteX79" fmla="*/ 2693 w 10000"/>
                <a:gd name="connsiteY79" fmla="*/ 1078 h 9636"/>
                <a:gd name="connsiteX80" fmla="*/ 2528 w 10000"/>
                <a:gd name="connsiteY80" fmla="*/ 1270 h 9636"/>
                <a:gd name="connsiteX81" fmla="*/ 2377 w 10000"/>
                <a:gd name="connsiteY81" fmla="*/ 1460 h 9636"/>
                <a:gd name="connsiteX82" fmla="*/ 2212 w 10000"/>
                <a:gd name="connsiteY82" fmla="*/ 1688 h 9636"/>
                <a:gd name="connsiteX83" fmla="*/ 1922 w 10000"/>
                <a:gd name="connsiteY83" fmla="*/ 2156 h 9636"/>
                <a:gd name="connsiteX84" fmla="*/ 1644 w 10000"/>
                <a:gd name="connsiteY84" fmla="*/ 2644 h 9636"/>
                <a:gd name="connsiteX85" fmla="*/ 1379 w 10000"/>
                <a:gd name="connsiteY85" fmla="*/ 3165 h 9636"/>
                <a:gd name="connsiteX86" fmla="*/ 1125 w 10000"/>
                <a:gd name="connsiteY86" fmla="*/ 3722 h 9636"/>
                <a:gd name="connsiteX87" fmla="*/ 885 w 10000"/>
                <a:gd name="connsiteY87" fmla="*/ 4296 h 9636"/>
                <a:gd name="connsiteX88" fmla="*/ 658 w 10000"/>
                <a:gd name="connsiteY88" fmla="*/ 4869 h 9636"/>
                <a:gd name="connsiteX89" fmla="*/ 431 w 10000"/>
                <a:gd name="connsiteY89" fmla="*/ 5479 h 9636"/>
                <a:gd name="connsiteX90" fmla="*/ 0 w 10000"/>
                <a:gd name="connsiteY90" fmla="*/ 6696 h 9636"/>
                <a:gd name="connsiteX0" fmla="*/ 0 w 10000"/>
                <a:gd name="connsiteY0" fmla="*/ 6949 h 9601"/>
                <a:gd name="connsiteX1" fmla="*/ 0 w 10000"/>
                <a:gd name="connsiteY1" fmla="*/ 6949 h 9601"/>
                <a:gd name="connsiteX2" fmla="*/ 316 w 10000"/>
                <a:gd name="connsiteY2" fmla="*/ 7887 h 9601"/>
                <a:gd name="connsiteX3" fmla="*/ 608 w 10000"/>
                <a:gd name="connsiteY3" fmla="*/ 8808 h 9601"/>
                <a:gd name="connsiteX4" fmla="*/ 898 w 10000"/>
                <a:gd name="connsiteY4" fmla="*/ 8122 h 9601"/>
                <a:gd name="connsiteX5" fmla="*/ 1163 w 10000"/>
                <a:gd name="connsiteY5" fmla="*/ 7401 h 9601"/>
                <a:gd name="connsiteX6" fmla="*/ 1441 w 10000"/>
                <a:gd name="connsiteY6" fmla="*/ 6696 h 9601"/>
                <a:gd name="connsiteX7" fmla="*/ 1681 w 10000"/>
                <a:gd name="connsiteY7" fmla="*/ 5974 h 9601"/>
                <a:gd name="connsiteX8" fmla="*/ 2162 w 10000"/>
                <a:gd name="connsiteY8" fmla="*/ 4549 h 9601"/>
                <a:gd name="connsiteX9" fmla="*/ 2403 w 10000"/>
                <a:gd name="connsiteY9" fmla="*/ 3863 h 9601"/>
                <a:gd name="connsiteX10" fmla="*/ 2630 w 10000"/>
                <a:gd name="connsiteY10" fmla="*/ 3212 h 9601"/>
                <a:gd name="connsiteX11" fmla="*/ 2869 w 10000"/>
                <a:gd name="connsiteY11" fmla="*/ 2618 h 9601"/>
                <a:gd name="connsiteX12" fmla="*/ 3110 w 10000"/>
                <a:gd name="connsiteY12" fmla="*/ 2076 h 9601"/>
                <a:gd name="connsiteX13" fmla="*/ 3236 w 10000"/>
                <a:gd name="connsiteY13" fmla="*/ 1804 h 9601"/>
                <a:gd name="connsiteX14" fmla="*/ 3363 w 10000"/>
                <a:gd name="connsiteY14" fmla="*/ 1588 h 9601"/>
                <a:gd name="connsiteX15" fmla="*/ 3502 w 10000"/>
                <a:gd name="connsiteY15" fmla="*/ 1353 h 9601"/>
                <a:gd name="connsiteX16" fmla="*/ 3628 w 10000"/>
                <a:gd name="connsiteY16" fmla="*/ 1155 h 9601"/>
                <a:gd name="connsiteX17" fmla="*/ 3767 w 10000"/>
                <a:gd name="connsiteY17" fmla="*/ 976 h 9601"/>
                <a:gd name="connsiteX18" fmla="*/ 3907 w 10000"/>
                <a:gd name="connsiteY18" fmla="*/ 812 h 9601"/>
                <a:gd name="connsiteX19" fmla="*/ 4046 w 10000"/>
                <a:gd name="connsiteY19" fmla="*/ 667 h 9601"/>
                <a:gd name="connsiteX20" fmla="*/ 4198 w 10000"/>
                <a:gd name="connsiteY20" fmla="*/ 559 h 9601"/>
                <a:gd name="connsiteX21" fmla="*/ 4337 w 10000"/>
                <a:gd name="connsiteY21" fmla="*/ 451 h 9601"/>
                <a:gd name="connsiteX22" fmla="*/ 4488 w 10000"/>
                <a:gd name="connsiteY22" fmla="*/ 397 h 9601"/>
                <a:gd name="connsiteX23" fmla="*/ 4652 w 10000"/>
                <a:gd name="connsiteY23" fmla="*/ 342 h 9601"/>
                <a:gd name="connsiteX24" fmla="*/ 4817 w 10000"/>
                <a:gd name="connsiteY24" fmla="*/ 342 h 9601"/>
                <a:gd name="connsiteX25" fmla="*/ 5019 w 10000"/>
                <a:gd name="connsiteY25" fmla="*/ 361 h 9601"/>
                <a:gd name="connsiteX26" fmla="*/ 5221 w 10000"/>
                <a:gd name="connsiteY26" fmla="*/ 434 h 9601"/>
                <a:gd name="connsiteX27" fmla="*/ 5398 w 10000"/>
                <a:gd name="connsiteY27" fmla="*/ 559 h 9601"/>
                <a:gd name="connsiteX28" fmla="*/ 5589 w 10000"/>
                <a:gd name="connsiteY28" fmla="*/ 686 h 9601"/>
                <a:gd name="connsiteX29" fmla="*/ 5752 w 10000"/>
                <a:gd name="connsiteY29" fmla="*/ 867 h 9601"/>
                <a:gd name="connsiteX30" fmla="*/ 5929 w 10000"/>
                <a:gd name="connsiteY30" fmla="*/ 1101 h 9601"/>
                <a:gd name="connsiteX31" fmla="*/ 6081 w 10000"/>
                <a:gd name="connsiteY31" fmla="*/ 1353 h 9601"/>
                <a:gd name="connsiteX32" fmla="*/ 6258 w 10000"/>
                <a:gd name="connsiteY32" fmla="*/ 1642 h 9601"/>
                <a:gd name="connsiteX33" fmla="*/ 6398 w 10000"/>
                <a:gd name="connsiteY33" fmla="*/ 1949 h 9601"/>
                <a:gd name="connsiteX34" fmla="*/ 6549 w 10000"/>
                <a:gd name="connsiteY34" fmla="*/ 2292 h 9601"/>
                <a:gd name="connsiteX35" fmla="*/ 6688 w 10000"/>
                <a:gd name="connsiteY35" fmla="*/ 2634 h 9601"/>
                <a:gd name="connsiteX36" fmla="*/ 6852 w 10000"/>
                <a:gd name="connsiteY36" fmla="*/ 3016 h 9601"/>
                <a:gd name="connsiteX37" fmla="*/ 7130 w 10000"/>
                <a:gd name="connsiteY37" fmla="*/ 3826 h 9601"/>
                <a:gd name="connsiteX38" fmla="*/ 7421 w 10000"/>
                <a:gd name="connsiteY38" fmla="*/ 4693 h 9601"/>
                <a:gd name="connsiteX39" fmla="*/ 8002 w 10000"/>
                <a:gd name="connsiteY39" fmla="*/ 6515 h 9601"/>
                <a:gd name="connsiteX40" fmla="*/ 8319 w 10000"/>
                <a:gd name="connsiteY40" fmla="*/ 7454 h 9601"/>
                <a:gd name="connsiteX41" fmla="*/ 8635 w 10000"/>
                <a:gd name="connsiteY41" fmla="*/ 8337 h 9601"/>
                <a:gd name="connsiteX42" fmla="*/ 8811 w 10000"/>
                <a:gd name="connsiteY42" fmla="*/ 8791 h 9601"/>
                <a:gd name="connsiteX43" fmla="*/ 9002 w 10000"/>
                <a:gd name="connsiteY43" fmla="*/ 9205 h 9601"/>
                <a:gd name="connsiteX44" fmla="*/ 9179 w 10000"/>
                <a:gd name="connsiteY44" fmla="*/ 9601 h 9601"/>
                <a:gd name="connsiteX45" fmla="*/ 10000 w 10000"/>
                <a:gd name="connsiteY45" fmla="*/ 8519 h 9601"/>
                <a:gd name="connsiteX46" fmla="*/ 9760 w 10000"/>
                <a:gd name="connsiteY46" fmla="*/ 7779 h 9601"/>
                <a:gd name="connsiteX47" fmla="*/ 9267 w 10000"/>
                <a:gd name="connsiteY47" fmla="*/ 6263 h 9601"/>
                <a:gd name="connsiteX48" fmla="*/ 9014 w 10000"/>
                <a:gd name="connsiteY48" fmla="*/ 5487 h 9601"/>
                <a:gd name="connsiteX49" fmla="*/ 8736 w 10000"/>
                <a:gd name="connsiteY49" fmla="*/ 4711 h 9601"/>
                <a:gd name="connsiteX50" fmla="*/ 8458 w 10000"/>
                <a:gd name="connsiteY50" fmla="*/ 3988 h 9601"/>
                <a:gd name="connsiteX51" fmla="*/ 8143 w 10000"/>
                <a:gd name="connsiteY51" fmla="*/ 3285 h 9601"/>
                <a:gd name="connsiteX52" fmla="*/ 7989 w 10000"/>
                <a:gd name="connsiteY52" fmla="*/ 2942 h 9601"/>
                <a:gd name="connsiteX53" fmla="*/ 7826 w 10000"/>
                <a:gd name="connsiteY53" fmla="*/ 2618 h 9601"/>
                <a:gd name="connsiteX54" fmla="*/ 7661 w 10000"/>
                <a:gd name="connsiteY54" fmla="*/ 2292 h 9601"/>
                <a:gd name="connsiteX55" fmla="*/ 7485 w 10000"/>
                <a:gd name="connsiteY55" fmla="*/ 1984 h 9601"/>
                <a:gd name="connsiteX56" fmla="*/ 7308 w 10000"/>
                <a:gd name="connsiteY56" fmla="*/ 1696 h 9601"/>
                <a:gd name="connsiteX57" fmla="*/ 7118 w 10000"/>
                <a:gd name="connsiteY57" fmla="*/ 1445 h 9601"/>
                <a:gd name="connsiteX58" fmla="*/ 6915 w 10000"/>
                <a:gd name="connsiteY58" fmla="*/ 1174 h 9601"/>
                <a:gd name="connsiteX59" fmla="*/ 6726 w 10000"/>
                <a:gd name="connsiteY59" fmla="*/ 956 h 9601"/>
                <a:gd name="connsiteX60" fmla="*/ 6511 w 10000"/>
                <a:gd name="connsiteY60" fmla="*/ 760 h 9601"/>
                <a:gd name="connsiteX61" fmla="*/ 6295 w 10000"/>
                <a:gd name="connsiteY61" fmla="*/ 578 h 9601"/>
                <a:gd name="connsiteX62" fmla="*/ 6068 w 10000"/>
                <a:gd name="connsiteY62" fmla="*/ 414 h 9601"/>
                <a:gd name="connsiteX63" fmla="*/ 5841 w 10000"/>
                <a:gd name="connsiteY63" fmla="*/ 271 h 9601"/>
                <a:gd name="connsiteX64" fmla="*/ 5601 w 10000"/>
                <a:gd name="connsiteY64" fmla="*/ 162 h 9601"/>
                <a:gd name="connsiteX65" fmla="*/ 5347 w 10000"/>
                <a:gd name="connsiteY65" fmla="*/ 89 h 9601"/>
                <a:gd name="connsiteX66" fmla="*/ 5082 w 10000"/>
                <a:gd name="connsiteY66" fmla="*/ 18 h 9601"/>
                <a:gd name="connsiteX67" fmla="*/ 4817 w 10000"/>
                <a:gd name="connsiteY67" fmla="*/ 0 h 9601"/>
                <a:gd name="connsiteX68" fmla="*/ 4588 w 10000"/>
                <a:gd name="connsiteY68" fmla="*/ 18 h 9601"/>
                <a:gd name="connsiteX69" fmla="*/ 4375 w 10000"/>
                <a:gd name="connsiteY69" fmla="*/ 54 h 9601"/>
                <a:gd name="connsiteX70" fmla="*/ 4160 w 10000"/>
                <a:gd name="connsiteY70" fmla="*/ 109 h 9601"/>
                <a:gd name="connsiteX71" fmla="*/ 3971 w 10000"/>
                <a:gd name="connsiteY71" fmla="*/ 162 h 9601"/>
                <a:gd name="connsiteX72" fmla="*/ 3767 w 10000"/>
                <a:gd name="connsiteY72" fmla="*/ 252 h 9601"/>
                <a:gd name="connsiteX73" fmla="*/ 3564 w 10000"/>
                <a:gd name="connsiteY73" fmla="*/ 342 h 9601"/>
                <a:gd name="connsiteX74" fmla="*/ 3389 w 10000"/>
                <a:gd name="connsiteY74" fmla="*/ 469 h 9601"/>
                <a:gd name="connsiteX75" fmla="*/ 3198 w 10000"/>
                <a:gd name="connsiteY75" fmla="*/ 614 h 9601"/>
                <a:gd name="connsiteX76" fmla="*/ 3035 w 10000"/>
                <a:gd name="connsiteY76" fmla="*/ 776 h 9601"/>
                <a:gd name="connsiteX77" fmla="*/ 2857 w 10000"/>
                <a:gd name="connsiteY77" fmla="*/ 938 h 9601"/>
                <a:gd name="connsiteX78" fmla="*/ 2693 w 10000"/>
                <a:gd name="connsiteY78" fmla="*/ 1119 h 9601"/>
                <a:gd name="connsiteX79" fmla="*/ 2528 w 10000"/>
                <a:gd name="connsiteY79" fmla="*/ 1318 h 9601"/>
                <a:gd name="connsiteX80" fmla="*/ 2377 w 10000"/>
                <a:gd name="connsiteY80" fmla="*/ 1515 h 9601"/>
                <a:gd name="connsiteX81" fmla="*/ 2212 w 10000"/>
                <a:gd name="connsiteY81" fmla="*/ 1752 h 9601"/>
                <a:gd name="connsiteX82" fmla="*/ 1922 w 10000"/>
                <a:gd name="connsiteY82" fmla="*/ 2237 h 9601"/>
                <a:gd name="connsiteX83" fmla="*/ 1644 w 10000"/>
                <a:gd name="connsiteY83" fmla="*/ 2744 h 9601"/>
                <a:gd name="connsiteX84" fmla="*/ 1379 w 10000"/>
                <a:gd name="connsiteY84" fmla="*/ 3285 h 9601"/>
                <a:gd name="connsiteX85" fmla="*/ 1125 w 10000"/>
                <a:gd name="connsiteY85" fmla="*/ 3863 h 9601"/>
                <a:gd name="connsiteX86" fmla="*/ 885 w 10000"/>
                <a:gd name="connsiteY86" fmla="*/ 4458 h 9601"/>
                <a:gd name="connsiteX87" fmla="*/ 658 w 10000"/>
                <a:gd name="connsiteY87" fmla="*/ 5053 h 9601"/>
                <a:gd name="connsiteX88" fmla="*/ 431 w 10000"/>
                <a:gd name="connsiteY88" fmla="*/ 5686 h 9601"/>
                <a:gd name="connsiteX89" fmla="*/ 0 w 10000"/>
                <a:gd name="connsiteY89" fmla="*/ 6949 h 9601"/>
                <a:gd name="connsiteX0" fmla="*/ 0 w 10000"/>
                <a:gd name="connsiteY0" fmla="*/ 7238 h 9588"/>
                <a:gd name="connsiteX1" fmla="*/ 0 w 10000"/>
                <a:gd name="connsiteY1" fmla="*/ 7238 h 9588"/>
                <a:gd name="connsiteX2" fmla="*/ 316 w 10000"/>
                <a:gd name="connsiteY2" fmla="*/ 8215 h 9588"/>
                <a:gd name="connsiteX3" fmla="*/ 608 w 10000"/>
                <a:gd name="connsiteY3" fmla="*/ 9174 h 9588"/>
                <a:gd name="connsiteX4" fmla="*/ 898 w 10000"/>
                <a:gd name="connsiteY4" fmla="*/ 8460 h 9588"/>
                <a:gd name="connsiteX5" fmla="*/ 1163 w 10000"/>
                <a:gd name="connsiteY5" fmla="*/ 7709 h 9588"/>
                <a:gd name="connsiteX6" fmla="*/ 1441 w 10000"/>
                <a:gd name="connsiteY6" fmla="*/ 6974 h 9588"/>
                <a:gd name="connsiteX7" fmla="*/ 1681 w 10000"/>
                <a:gd name="connsiteY7" fmla="*/ 6222 h 9588"/>
                <a:gd name="connsiteX8" fmla="*/ 2162 w 10000"/>
                <a:gd name="connsiteY8" fmla="*/ 4738 h 9588"/>
                <a:gd name="connsiteX9" fmla="*/ 2403 w 10000"/>
                <a:gd name="connsiteY9" fmla="*/ 4024 h 9588"/>
                <a:gd name="connsiteX10" fmla="*/ 2630 w 10000"/>
                <a:gd name="connsiteY10" fmla="*/ 3345 h 9588"/>
                <a:gd name="connsiteX11" fmla="*/ 2869 w 10000"/>
                <a:gd name="connsiteY11" fmla="*/ 2727 h 9588"/>
                <a:gd name="connsiteX12" fmla="*/ 3110 w 10000"/>
                <a:gd name="connsiteY12" fmla="*/ 2162 h 9588"/>
                <a:gd name="connsiteX13" fmla="*/ 3236 w 10000"/>
                <a:gd name="connsiteY13" fmla="*/ 1879 h 9588"/>
                <a:gd name="connsiteX14" fmla="*/ 3363 w 10000"/>
                <a:gd name="connsiteY14" fmla="*/ 1654 h 9588"/>
                <a:gd name="connsiteX15" fmla="*/ 3502 w 10000"/>
                <a:gd name="connsiteY15" fmla="*/ 1409 h 9588"/>
                <a:gd name="connsiteX16" fmla="*/ 3628 w 10000"/>
                <a:gd name="connsiteY16" fmla="*/ 1203 h 9588"/>
                <a:gd name="connsiteX17" fmla="*/ 3767 w 10000"/>
                <a:gd name="connsiteY17" fmla="*/ 1017 h 9588"/>
                <a:gd name="connsiteX18" fmla="*/ 3907 w 10000"/>
                <a:gd name="connsiteY18" fmla="*/ 846 h 9588"/>
                <a:gd name="connsiteX19" fmla="*/ 4046 w 10000"/>
                <a:gd name="connsiteY19" fmla="*/ 695 h 9588"/>
                <a:gd name="connsiteX20" fmla="*/ 4198 w 10000"/>
                <a:gd name="connsiteY20" fmla="*/ 582 h 9588"/>
                <a:gd name="connsiteX21" fmla="*/ 4337 w 10000"/>
                <a:gd name="connsiteY21" fmla="*/ 470 h 9588"/>
                <a:gd name="connsiteX22" fmla="*/ 4488 w 10000"/>
                <a:gd name="connsiteY22" fmla="*/ 413 h 9588"/>
                <a:gd name="connsiteX23" fmla="*/ 4652 w 10000"/>
                <a:gd name="connsiteY23" fmla="*/ 356 h 9588"/>
                <a:gd name="connsiteX24" fmla="*/ 4817 w 10000"/>
                <a:gd name="connsiteY24" fmla="*/ 356 h 9588"/>
                <a:gd name="connsiteX25" fmla="*/ 5019 w 10000"/>
                <a:gd name="connsiteY25" fmla="*/ 376 h 9588"/>
                <a:gd name="connsiteX26" fmla="*/ 5221 w 10000"/>
                <a:gd name="connsiteY26" fmla="*/ 452 h 9588"/>
                <a:gd name="connsiteX27" fmla="*/ 5398 w 10000"/>
                <a:gd name="connsiteY27" fmla="*/ 582 h 9588"/>
                <a:gd name="connsiteX28" fmla="*/ 5589 w 10000"/>
                <a:gd name="connsiteY28" fmla="*/ 715 h 9588"/>
                <a:gd name="connsiteX29" fmla="*/ 5752 w 10000"/>
                <a:gd name="connsiteY29" fmla="*/ 903 h 9588"/>
                <a:gd name="connsiteX30" fmla="*/ 5929 w 10000"/>
                <a:gd name="connsiteY30" fmla="*/ 1147 h 9588"/>
                <a:gd name="connsiteX31" fmla="*/ 6081 w 10000"/>
                <a:gd name="connsiteY31" fmla="*/ 1409 h 9588"/>
                <a:gd name="connsiteX32" fmla="*/ 6258 w 10000"/>
                <a:gd name="connsiteY32" fmla="*/ 1710 h 9588"/>
                <a:gd name="connsiteX33" fmla="*/ 6398 w 10000"/>
                <a:gd name="connsiteY33" fmla="*/ 2030 h 9588"/>
                <a:gd name="connsiteX34" fmla="*/ 6549 w 10000"/>
                <a:gd name="connsiteY34" fmla="*/ 2387 h 9588"/>
                <a:gd name="connsiteX35" fmla="*/ 6688 w 10000"/>
                <a:gd name="connsiteY35" fmla="*/ 2743 h 9588"/>
                <a:gd name="connsiteX36" fmla="*/ 6852 w 10000"/>
                <a:gd name="connsiteY36" fmla="*/ 3141 h 9588"/>
                <a:gd name="connsiteX37" fmla="*/ 7130 w 10000"/>
                <a:gd name="connsiteY37" fmla="*/ 3985 h 9588"/>
                <a:gd name="connsiteX38" fmla="*/ 7421 w 10000"/>
                <a:gd name="connsiteY38" fmla="*/ 4888 h 9588"/>
                <a:gd name="connsiteX39" fmla="*/ 8002 w 10000"/>
                <a:gd name="connsiteY39" fmla="*/ 6786 h 9588"/>
                <a:gd name="connsiteX40" fmla="*/ 8319 w 10000"/>
                <a:gd name="connsiteY40" fmla="*/ 7764 h 9588"/>
                <a:gd name="connsiteX41" fmla="*/ 8635 w 10000"/>
                <a:gd name="connsiteY41" fmla="*/ 8683 h 9588"/>
                <a:gd name="connsiteX42" fmla="*/ 8811 w 10000"/>
                <a:gd name="connsiteY42" fmla="*/ 9156 h 9588"/>
                <a:gd name="connsiteX43" fmla="*/ 9002 w 10000"/>
                <a:gd name="connsiteY43" fmla="*/ 9588 h 9588"/>
                <a:gd name="connsiteX44" fmla="*/ 10000 w 10000"/>
                <a:gd name="connsiteY44" fmla="*/ 8873 h 9588"/>
                <a:gd name="connsiteX45" fmla="*/ 9760 w 10000"/>
                <a:gd name="connsiteY45" fmla="*/ 8102 h 9588"/>
                <a:gd name="connsiteX46" fmla="*/ 9267 w 10000"/>
                <a:gd name="connsiteY46" fmla="*/ 6523 h 9588"/>
                <a:gd name="connsiteX47" fmla="*/ 9014 w 10000"/>
                <a:gd name="connsiteY47" fmla="*/ 5715 h 9588"/>
                <a:gd name="connsiteX48" fmla="*/ 8736 w 10000"/>
                <a:gd name="connsiteY48" fmla="*/ 4907 h 9588"/>
                <a:gd name="connsiteX49" fmla="*/ 8458 w 10000"/>
                <a:gd name="connsiteY49" fmla="*/ 4154 h 9588"/>
                <a:gd name="connsiteX50" fmla="*/ 8143 w 10000"/>
                <a:gd name="connsiteY50" fmla="*/ 3422 h 9588"/>
                <a:gd name="connsiteX51" fmla="*/ 7989 w 10000"/>
                <a:gd name="connsiteY51" fmla="*/ 3064 h 9588"/>
                <a:gd name="connsiteX52" fmla="*/ 7826 w 10000"/>
                <a:gd name="connsiteY52" fmla="*/ 2727 h 9588"/>
                <a:gd name="connsiteX53" fmla="*/ 7661 w 10000"/>
                <a:gd name="connsiteY53" fmla="*/ 2387 h 9588"/>
                <a:gd name="connsiteX54" fmla="*/ 7485 w 10000"/>
                <a:gd name="connsiteY54" fmla="*/ 2066 h 9588"/>
                <a:gd name="connsiteX55" fmla="*/ 7308 w 10000"/>
                <a:gd name="connsiteY55" fmla="*/ 1766 h 9588"/>
                <a:gd name="connsiteX56" fmla="*/ 7118 w 10000"/>
                <a:gd name="connsiteY56" fmla="*/ 1505 h 9588"/>
                <a:gd name="connsiteX57" fmla="*/ 6915 w 10000"/>
                <a:gd name="connsiteY57" fmla="*/ 1223 h 9588"/>
                <a:gd name="connsiteX58" fmla="*/ 6726 w 10000"/>
                <a:gd name="connsiteY58" fmla="*/ 996 h 9588"/>
                <a:gd name="connsiteX59" fmla="*/ 6511 w 10000"/>
                <a:gd name="connsiteY59" fmla="*/ 792 h 9588"/>
                <a:gd name="connsiteX60" fmla="*/ 6295 w 10000"/>
                <a:gd name="connsiteY60" fmla="*/ 602 h 9588"/>
                <a:gd name="connsiteX61" fmla="*/ 6068 w 10000"/>
                <a:gd name="connsiteY61" fmla="*/ 431 h 9588"/>
                <a:gd name="connsiteX62" fmla="*/ 5841 w 10000"/>
                <a:gd name="connsiteY62" fmla="*/ 282 h 9588"/>
                <a:gd name="connsiteX63" fmla="*/ 5601 w 10000"/>
                <a:gd name="connsiteY63" fmla="*/ 169 h 9588"/>
                <a:gd name="connsiteX64" fmla="*/ 5347 w 10000"/>
                <a:gd name="connsiteY64" fmla="*/ 93 h 9588"/>
                <a:gd name="connsiteX65" fmla="*/ 5082 w 10000"/>
                <a:gd name="connsiteY65" fmla="*/ 19 h 9588"/>
                <a:gd name="connsiteX66" fmla="*/ 4817 w 10000"/>
                <a:gd name="connsiteY66" fmla="*/ 0 h 9588"/>
                <a:gd name="connsiteX67" fmla="*/ 4588 w 10000"/>
                <a:gd name="connsiteY67" fmla="*/ 19 h 9588"/>
                <a:gd name="connsiteX68" fmla="*/ 4375 w 10000"/>
                <a:gd name="connsiteY68" fmla="*/ 56 h 9588"/>
                <a:gd name="connsiteX69" fmla="*/ 4160 w 10000"/>
                <a:gd name="connsiteY69" fmla="*/ 114 h 9588"/>
                <a:gd name="connsiteX70" fmla="*/ 3971 w 10000"/>
                <a:gd name="connsiteY70" fmla="*/ 169 h 9588"/>
                <a:gd name="connsiteX71" fmla="*/ 3767 w 10000"/>
                <a:gd name="connsiteY71" fmla="*/ 262 h 9588"/>
                <a:gd name="connsiteX72" fmla="*/ 3564 w 10000"/>
                <a:gd name="connsiteY72" fmla="*/ 356 h 9588"/>
                <a:gd name="connsiteX73" fmla="*/ 3389 w 10000"/>
                <a:gd name="connsiteY73" fmla="*/ 488 h 9588"/>
                <a:gd name="connsiteX74" fmla="*/ 3198 w 10000"/>
                <a:gd name="connsiteY74" fmla="*/ 640 h 9588"/>
                <a:gd name="connsiteX75" fmla="*/ 3035 w 10000"/>
                <a:gd name="connsiteY75" fmla="*/ 808 h 9588"/>
                <a:gd name="connsiteX76" fmla="*/ 2857 w 10000"/>
                <a:gd name="connsiteY76" fmla="*/ 977 h 9588"/>
                <a:gd name="connsiteX77" fmla="*/ 2693 w 10000"/>
                <a:gd name="connsiteY77" fmla="*/ 1166 h 9588"/>
                <a:gd name="connsiteX78" fmla="*/ 2528 w 10000"/>
                <a:gd name="connsiteY78" fmla="*/ 1373 h 9588"/>
                <a:gd name="connsiteX79" fmla="*/ 2377 w 10000"/>
                <a:gd name="connsiteY79" fmla="*/ 1578 h 9588"/>
                <a:gd name="connsiteX80" fmla="*/ 2212 w 10000"/>
                <a:gd name="connsiteY80" fmla="*/ 1825 h 9588"/>
                <a:gd name="connsiteX81" fmla="*/ 1922 w 10000"/>
                <a:gd name="connsiteY81" fmla="*/ 2330 h 9588"/>
                <a:gd name="connsiteX82" fmla="*/ 1644 w 10000"/>
                <a:gd name="connsiteY82" fmla="*/ 2858 h 9588"/>
                <a:gd name="connsiteX83" fmla="*/ 1379 w 10000"/>
                <a:gd name="connsiteY83" fmla="*/ 3422 h 9588"/>
                <a:gd name="connsiteX84" fmla="*/ 1125 w 10000"/>
                <a:gd name="connsiteY84" fmla="*/ 4024 h 9588"/>
                <a:gd name="connsiteX85" fmla="*/ 885 w 10000"/>
                <a:gd name="connsiteY85" fmla="*/ 4643 h 9588"/>
                <a:gd name="connsiteX86" fmla="*/ 658 w 10000"/>
                <a:gd name="connsiteY86" fmla="*/ 5263 h 9588"/>
                <a:gd name="connsiteX87" fmla="*/ 431 w 10000"/>
                <a:gd name="connsiteY87" fmla="*/ 5922 h 9588"/>
                <a:gd name="connsiteX88" fmla="*/ 0 w 10000"/>
                <a:gd name="connsiteY88" fmla="*/ 7238 h 9588"/>
                <a:gd name="connsiteX0" fmla="*/ 0 w 10000"/>
                <a:gd name="connsiteY0" fmla="*/ 7549 h 9568"/>
                <a:gd name="connsiteX1" fmla="*/ 0 w 10000"/>
                <a:gd name="connsiteY1" fmla="*/ 7549 h 9568"/>
                <a:gd name="connsiteX2" fmla="*/ 316 w 10000"/>
                <a:gd name="connsiteY2" fmla="*/ 8568 h 9568"/>
                <a:gd name="connsiteX3" fmla="*/ 608 w 10000"/>
                <a:gd name="connsiteY3" fmla="*/ 9568 h 9568"/>
                <a:gd name="connsiteX4" fmla="*/ 898 w 10000"/>
                <a:gd name="connsiteY4" fmla="*/ 8824 h 9568"/>
                <a:gd name="connsiteX5" fmla="*/ 1163 w 10000"/>
                <a:gd name="connsiteY5" fmla="*/ 8040 h 9568"/>
                <a:gd name="connsiteX6" fmla="*/ 1441 w 10000"/>
                <a:gd name="connsiteY6" fmla="*/ 7274 h 9568"/>
                <a:gd name="connsiteX7" fmla="*/ 1681 w 10000"/>
                <a:gd name="connsiteY7" fmla="*/ 6489 h 9568"/>
                <a:gd name="connsiteX8" fmla="*/ 2162 w 10000"/>
                <a:gd name="connsiteY8" fmla="*/ 4942 h 9568"/>
                <a:gd name="connsiteX9" fmla="*/ 2403 w 10000"/>
                <a:gd name="connsiteY9" fmla="*/ 4197 h 9568"/>
                <a:gd name="connsiteX10" fmla="*/ 2630 w 10000"/>
                <a:gd name="connsiteY10" fmla="*/ 3489 h 9568"/>
                <a:gd name="connsiteX11" fmla="*/ 2869 w 10000"/>
                <a:gd name="connsiteY11" fmla="*/ 2844 h 9568"/>
                <a:gd name="connsiteX12" fmla="*/ 3110 w 10000"/>
                <a:gd name="connsiteY12" fmla="*/ 2255 h 9568"/>
                <a:gd name="connsiteX13" fmla="*/ 3236 w 10000"/>
                <a:gd name="connsiteY13" fmla="*/ 1960 h 9568"/>
                <a:gd name="connsiteX14" fmla="*/ 3363 w 10000"/>
                <a:gd name="connsiteY14" fmla="*/ 1725 h 9568"/>
                <a:gd name="connsiteX15" fmla="*/ 3502 w 10000"/>
                <a:gd name="connsiteY15" fmla="*/ 1470 h 9568"/>
                <a:gd name="connsiteX16" fmla="*/ 3628 w 10000"/>
                <a:gd name="connsiteY16" fmla="*/ 1255 h 9568"/>
                <a:gd name="connsiteX17" fmla="*/ 3767 w 10000"/>
                <a:gd name="connsiteY17" fmla="*/ 1061 h 9568"/>
                <a:gd name="connsiteX18" fmla="*/ 3907 w 10000"/>
                <a:gd name="connsiteY18" fmla="*/ 882 h 9568"/>
                <a:gd name="connsiteX19" fmla="*/ 4046 w 10000"/>
                <a:gd name="connsiteY19" fmla="*/ 725 h 9568"/>
                <a:gd name="connsiteX20" fmla="*/ 4198 w 10000"/>
                <a:gd name="connsiteY20" fmla="*/ 607 h 9568"/>
                <a:gd name="connsiteX21" fmla="*/ 4337 w 10000"/>
                <a:gd name="connsiteY21" fmla="*/ 490 h 9568"/>
                <a:gd name="connsiteX22" fmla="*/ 4488 w 10000"/>
                <a:gd name="connsiteY22" fmla="*/ 431 h 9568"/>
                <a:gd name="connsiteX23" fmla="*/ 4652 w 10000"/>
                <a:gd name="connsiteY23" fmla="*/ 371 h 9568"/>
                <a:gd name="connsiteX24" fmla="*/ 4817 w 10000"/>
                <a:gd name="connsiteY24" fmla="*/ 371 h 9568"/>
                <a:gd name="connsiteX25" fmla="*/ 5019 w 10000"/>
                <a:gd name="connsiteY25" fmla="*/ 392 h 9568"/>
                <a:gd name="connsiteX26" fmla="*/ 5221 w 10000"/>
                <a:gd name="connsiteY26" fmla="*/ 471 h 9568"/>
                <a:gd name="connsiteX27" fmla="*/ 5398 w 10000"/>
                <a:gd name="connsiteY27" fmla="*/ 607 h 9568"/>
                <a:gd name="connsiteX28" fmla="*/ 5589 w 10000"/>
                <a:gd name="connsiteY28" fmla="*/ 746 h 9568"/>
                <a:gd name="connsiteX29" fmla="*/ 5752 w 10000"/>
                <a:gd name="connsiteY29" fmla="*/ 942 h 9568"/>
                <a:gd name="connsiteX30" fmla="*/ 5929 w 10000"/>
                <a:gd name="connsiteY30" fmla="*/ 1196 h 9568"/>
                <a:gd name="connsiteX31" fmla="*/ 6081 w 10000"/>
                <a:gd name="connsiteY31" fmla="*/ 1470 h 9568"/>
                <a:gd name="connsiteX32" fmla="*/ 6258 w 10000"/>
                <a:gd name="connsiteY32" fmla="*/ 1783 h 9568"/>
                <a:gd name="connsiteX33" fmla="*/ 6398 w 10000"/>
                <a:gd name="connsiteY33" fmla="*/ 2117 h 9568"/>
                <a:gd name="connsiteX34" fmla="*/ 6549 w 10000"/>
                <a:gd name="connsiteY34" fmla="*/ 2490 h 9568"/>
                <a:gd name="connsiteX35" fmla="*/ 6688 w 10000"/>
                <a:gd name="connsiteY35" fmla="*/ 2861 h 9568"/>
                <a:gd name="connsiteX36" fmla="*/ 6852 w 10000"/>
                <a:gd name="connsiteY36" fmla="*/ 3276 h 9568"/>
                <a:gd name="connsiteX37" fmla="*/ 7130 w 10000"/>
                <a:gd name="connsiteY37" fmla="*/ 4156 h 9568"/>
                <a:gd name="connsiteX38" fmla="*/ 7421 w 10000"/>
                <a:gd name="connsiteY38" fmla="*/ 5098 h 9568"/>
                <a:gd name="connsiteX39" fmla="*/ 8002 w 10000"/>
                <a:gd name="connsiteY39" fmla="*/ 7078 h 9568"/>
                <a:gd name="connsiteX40" fmla="*/ 8319 w 10000"/>
                <a:gd name="connsiteY40" fmla="*/ 8098 h 9568"/>
                <a:gd name="connsiteX41" fmla="*/ 8635 w 10000"/>
                <a:gd name="connsiteY41" fmla="*/ 9056 h 9568"/>
                <a:gd name="connsiteX42" fmla="*/ 8811 w 10000"/>
                <a:gd name="connsiteY42" fmla="*/ 9549 h 9568"/>
                <a:gd name="connsiteX43" fmla="*/ 10000 w 10000"/>
                <a:gd name="connsiteY43" fmla="*/ 9254 h 9568"/>
                <a:gd name="connsiteX44" fmla="*/ 9760 w 10000"/>
                <a:gd name="connsiteY44" fmla="*/ 8450 h 9568"/>
                <a:gd name="connsiteX45" fmla="*/ 9267 w 10000"/>
                <a:gd name="connsiteY45" fmla="*/ 6803 h 9568"/>
                <a:gd name="connsiteX46" fmla="*/ 9014 w 10000"/>
                <a:gd name="connsiteY46" fmla="*/ 5961 h 9568"/>
                <a:gd name="connsiteX47" fmla="*/ 8736 w 10000"/>
                <a:gd name="connsiteY47" fmla="*/ 5118 h 9568"/>
                <a:gd name="connsiteX48" fmla="*/ 8458 w 10000"/>
                <a:gd name="connsiteY48" fmla="*/ 4332 h 9568"/>
                <a:gd name="connsiteX49" fmla="*/ 8143 w 10000"/>
                <a:gd name="connsiteY49" fmla="*/ 3569 h 9568"/>
                <a:gd name="connsiteX50" fmla="*/ 7989 w 10000"/>
                <a:gd name="connsiteY50" fmla="*/ 3196 h 9568"/>
                <a:gd name="connsiteX51" fmla="*/ 7826 w 10000"/>
                <a:gd name="connsiteY51" fmla="*/ 2844 h 9568"/>
                <a:gd name="connsiteX52" fmla="*/ 7661 w 10000"/>
                <a:gd name="connsiteY52" fmla="*/ 2490 h 9568"/>
                <a:gd name="connsiteX53" fmla="*/ 7485 w 10000"/>
                <a:gd name="connsiteY53" fmla="*/ 2155 h 9568"/>
                <a:gd name="connsiteX54" fmla="*/ 7308 w 10000"/>
                <a:gd name="connsiteY54" fmla="*/ 1842 h 9568"/>
                <a:gd name="connsiteX55" fmla="*/ 7118 w 10000"/>
                <a:gd name="connsiteY55" fmla="*/ 1570 h 9568"/>
                <a:gd name="connsiteX56" fmla="*/ 6915 w 10000"/>
                <a:gd name="connsiteY56" fmla="*/ 1276 h 9568"/>
                <a:gd name="connsiteX57" fmla="*/ 6726 w 10000"/>
                <a:gd name="connsiteY57" fmla="*/ 1039 h 9568"/>
                <a:gd name="connsiteX58" fmla="*/ 6511 w 10000"/>
                <a:gd name="connsiteY58" fmla="*/ 826 h 9568"/>
                <a:gd name="connsiteX59" fmla="*/ 6295 w 10000"/>
                <a:gd name="connsiteY59" fmla="*/ 628 h 9568"/>
                <a:gd name="connsiteX60" fmla="*/ 6068 w 10000"/>
                <a:gd name="connsiteY60" fmla="*/ 450 h 9568"/>
                <a:gd name="connsiteX61" fmla="*/ 5841 w 10000"/>
                <a:gd name="connsiteY61" fmla="*/ 294 h 9568"/>
                <a:gd name="connsiteX62" fmla="*/ 5601 w 10000"/>
                <a:gd name="connsiteY62" fmla="*/ 176 h 9568"/>
                <a:gd name="connsiteX63" fmla="*/ 5347 w 10000"/>
                <a:gd name="connsiteY63" fmla="*/ 97 h 9568"/>
                <a:gd name="connsiteX64" fmla="*/ 5082 w 10000"/>
                <a:gd name="connsiteY64" fmla="*/ 20 h 9568"/>
                <a:gd name="connsiteX65" fmla="*/ 4817 w 10000"/>
                <a:gd name="connsiteY65" fmla="*/ 0 h 9568"/>
                <a:gd name="connsiteX66" fmla="*/ 4588 w 10000"/>
                <a:gd name="connsiteY66" fmla="*/ 20 h 9568"/>
                <a:gd name="connsiteX67" fmla="*/ 4375 w 10000"/>
                <a:gd name="connsiteY67" fmla="*/ 58 h 9568"/>
                <a:gd name="connsiteX68" fmla="*/ 4160 w 10000"/>
                <a:gd name="connsiteY68" fmla="*/ 119 h 9568"/>
                <a:gd name="connsiteX69" fmla="*/ 3971 w 10000"/>
                <a:gd name="connsiteY69" fmla="*/ 176 h 9568"/>
                <a:gd name="connsiteX70" fmla="*/ 3767 w 10000"/>
                <a:gd name="connsiteY70" fmla="*/ 273 h 9568"/>
                <a:gd name="connsiteX71" fmla="*/ 3564 w 10000"/>
                <a:gd name="connsiteY71" fmla="*/ 371 h 9568"/>
                <a:gd name="connsiteX72" fmla="*/ 3389 w 10000"/>
                <a:gd name="connsiteY72" fmla="*/ 509 h 9568"/>
                <a:gd name="connsiteX73" fmla="*/ 3198 w 10000"/>
                <a:gd name="connsiteY73" fmla="*/ 668 h 9568"/>
                <a:gd name="connsiteX74" fmla="*/ 3035 w 10000"/>
                <a:gd name="connsiteY74" fmla="*/ 843 h 9568"/>
                <a:gd name="connsiteX75" fmla="*/ 2857 w 10000"/>
                <a:gd name="connsiteY75" fmla="*/ 1019 h 9568"/>
                <a:gd name="connsiteX76" fmla="*/ 2693 w 10000"/>
                <a:gd name="connsiteY76" fmla="*/ 1216 h 9568"/>
                <a:gd name="connsiteX77" fmla="*/ 2528 w 10000"/>
                <a:gd name="connsiteY77" fmla="*/ 1432 h 9568"/>
                <a:gd name="connsiteX78" fmla="*/ 2377 w 10000"/>
                <a:gd name="connsiteY78" fmla="*/ 1646 h 9568"/>
                <a:gd name="connsiteX79" fmla="*/ 2212 w 10000"/>
                <a:gd name="connsiteY79" fmla="*/ 1903 h 9568"/>
                <a:gd name="connsiteX80" fmla="*/ 1922 w 10000"/>
                <a:gd name="connsiteY80" fmla="*/ 2430 h 9568"/>
                <a:gd name="connsiteX81" fmla="*/ 1644 w 10000"/>
                <a:gd name="connsiteY81" fmla="*/ 2981 h 9568"/>
                <a:gd name="connsiteX82" fmla="*/ 1379 w 10000"/>
                <a:gd name="connsiteY82" fmla="*/ 3569 h 9568"/>
                <a:gd name="connsiteX83" fmla="*/ 1125 w 10000"/>
                <a:gd name="connsiteY83" fmla="*/ 4197 h 9568"/>
                <a:gd name="connsiteX84" fmla="*/ 885 w 10000"/>
                <a:gd name="connsiteY84" fmla="*/ 4843 h 9568"/>
                <a:gd name="connsiteX85" fmla="*/ 658 w 10000"/>
                <a:gd name="connsiteY85" fmla="*/ 5489 h 9568"/>
                <a:gd name="connsiteX86" fmla="*/ 431 w 10000"/>
                <a:gd name="connsiteY86" fmla="*/ 6176 h 9568"/>
                <a:gd name="connsiteX87" fmla="*/ 0 w 10000"/>
                <a:gd name="connsiteY87" fmla="*/ 7549 h 9568"/>
                <a:gd name="connsiteX0" fmla="*/ 0 w 9760"/>
                <a:gd name="connsiteY0" fmla="*/ 7890 h 10000"/>
                <a:gd name="connsiteX1" fmla="*/ 0 w 9760"/>
                <a:gd name="connsiteY1" fmla="*/ 7890 h 10000"/>
                <a:gd name="connsiteX2" fmla="*/ 316 w 9760"/>
                <a:gd name="connsiteY2" fmla="*/ 8955 h 10000"/>
                <a:gd name="connsiteX3" fmla="*/ 608 w 9760"/>
                <a:gd name="connsiteY3" fmla="*/ 10000 h 10000"/>
                <a:gd name="connsiteX4" fmla="*/ 898 w 9760"/>
                <a:gd name="connsiteY4" fmla="*/ 9222 h 10000"/>
                <a:gd name="connsiteX5" fmla="*/ 1163 w 9760"/>
                <a:gd name="connsiteY5" fmla="*/ 8403 h 10000"/>
                <a:gd name="connsiteX6" fmla="*/ 1441 w 9760"/>
                <a:gd name="connsiteY6" fmla="*/ 7602 h 10000"/>
                <a:gd name="connsiteX7" fmla="*/ 1681 w 9760"/>
                <a:gd name="connsiteY7" fmla="*/ 6782 h 10000"/>
                <a:gd name="connsiteX8" fmla="*/ 2162 w 9760"/>
                <a:gd name="connsiteY8" fmla="*/ 5165 h 10000"/>
                <a:gd name="connsiteX9" fmla="*/ 2403 w 9760"/>
                <a:gd name="connsiteY9" fmla="*/ 4386 h 10000"/>
                <a:gd name="connsiteX10" fmla="*/ 2630 w 9760"/>
                <a:gd name="connsiteY10" fmla="*/ 3647 h 10000"/>
                <a:gd name="connsiteX11" fmla="*/ 2869 w 9760"/>
                <a:gd name="connsiteY11" fmla="*/ 2972 h 10000"/>
                <a:gd name="connsiteX12" fmla="*/ 3110 w 9760"/>
                <a:gd name="connsiteY12" fmla="*/ 2357 h 10000"/>
                <a:gd name="connsiteX13" fmla="*/ 3236 w 9760"/>
                <a:gd name="connsiteY13" fmla="*/ 2048 h 10000"/>
                <a:gd name="connsiteX14" fmla="*/ 3363 w 9760"/>
                <a:gd name="connsiteY14" fmla="*/ 1803 h 10000"/>
                <a:gd name="connsiteX15" fmla="*/ 3502 w 9760"/>
                <a:gd name="connsiteY15" fmla="*/ 1536 h 10000"/>
                <a:gd name="connsiteX16" fmla="*/ 3628 w 9760"/>
                <a:gd name="connsiteY16" fmla="*/ 1312 h 10000"/>
                <a:gd name="connsiteX17" fmla="*/ 3767 w 9760"/>
                <a:gd name="connsiteY17" fmla="*/ 1109 h 10000"/>
                <a:gd name="connsiteX18" fmla="*/ 3907 w 9760"/>
                <a:gd name="connsiteY18" fmla="*/ 922 h 10000"/>
                <a:gd name="connsiteX19" fmla="*/ 4046 w 9760"/>
                <a:gd name="connsiteY19" fmla="*/ 758 h 10000"/>
                <a:gd name="connsiteX20" fmla="*/ 4198 w 9760"/>
                <a:gd name="connsiteY20" fmla="*/ 634 h 10000"/>
                <a:gd name="connsiteX21" fmla="*/ 4337 w 9760"/>
                <a:gd name="connsiteY21" fmla="*/ 512 h 10000"/>
                <a:gd name="connsiteX22" fmla="*/ 4488 w 9760"/>
                <a:gd name="connsiteY22" fmla="*/ 450 h 10000"/>
                <a:gd name="connsiteX23" fmla="*/ 4652 w 9760"/>
                <a:gd name="connsiteY23" fmla="*/ 388 h 10000"/>
                <a:gd name="connsiteX24" fmla="*/ 4817 w 9760"/>
                <a:gd name="connsiteY24" fmla="*/ 388 h 10000"/>
                <a:gd name="connsiteX25" fmla="*/ 5019 w 9760"/>
                <a:gd name="connsiteY25" fmla="*/ 410 h 10000"/>
                <a:gd name="connsiteX26" fmla="*/ 5221 w 9760"/>
                <a:gd name="connsiteY26" fmla="*/ 492 h 10000"/>
                <a:gd name="connsiteX27" fmla="*/ 5398 w 9760"/>
                <a:gd name="connsiteY27" fmla="*/ 634 h 10000"/>
                <a:gd name="connsiteX28" fmla="*/ 5589 w 9760"/>
                <a:gd name="connsiteY28" fmla="*/ 780 h 10000"/>
                <a:gd name="connsiteX29" fmla="*/ 5752 w 9760"/>
                <a:gd name="connsiteY29" fmla="*/ 985 h 10000"/>
                <a:gd name="connsiteX30" fmla="*/ 5929 w 9760"/>
                <a:gd name="connsiteY30" fmla="*/ 1250 h 10000"/>
                <a:gd name="connsiteX31" fmla="*/ 6081 w 9760"/>
                <a:gd name="connsiteY31" fmla="*/ 1536 h 10000"/>
                <a:gd name="connsiteX32" fmla="*/ 6258 w 9760"/>
                <a:gd name="connsiteY32" fmla="*/ 1864 h 10000"/>
                <a:gd name="connsiteX33" fmla="*/ 6398 w 9760"/>
                <a:gd name="connsiteY33" fmla="*/ 2213 h 10000"/>
                <a:gd name="connsiteX34" fmla="*/ 6549 w 9760"/>
                <a:gd name="connsiteY34" fmla="*/ 2602 h 10000"/>
                <a:gd name="connsiteX35" fmla="*/ 6688 w 9760"/>
                <a:gd name="connsiteY35" fmla="*/ 2990 h 10000"/>
                <a:gd name="connsiteX36" fmla="*/ 6852 w 9760"/>
                <a:gd name="connsiteY36" fmla="*/ 3424 h 10000"/>
                <a:gd name="connsiteX37" fmla="*/ 7130 w 9760"/>
                <a:gd name="connsiteY37" fmla="*/ 4344 h 10000"/>
                <a:gd name="connsiteX38" fmla="*/ 7421 w 9760"/>
                <a:gd name="connsiteY38" fmla="*/ 5328 h 10000"/>
                <a:gd name="connsiteX39" fmla="*/ 8002 w 9760"/>
                <a:gd name="connsiteY39" fmla="*/ 7398 h 10000"/>
                <a:gd name="connsiteX40" fmla="*/ 8319 w 9760"/>
                <a:gd name="connsiteY40" fmla="*/ 8464 h 10000"/>
                <a:gd name="connsiteX41" fmla="*/ 8635 w 9760"/>
                <a:gd name="connsiteY41" fmla="*/ 9465 h 10000"/>
                <a:gd name="connsiteX42" fmla="*/ 8811 w 9760"/>
                <a:gd name="connsiteY42" fmla="*/ 9980 h 10000"/>
                <a:gd name="connsiteX43" fmla="*/ 9760 w 9760"/>
                <a:gd name="connsiteY43" fmla="*/ 8832 h 10000"/>
                <a:gd name="connsiteX44" fmla="*/ 9267 w 9760"/>
                <a:gd name="connsiteY44" fmla="*/ 7110 h 10000"/>
                <a:gd name="connsiteX45" fmla="*/ 9014 w 9760"/>
                <a:gd name="connsiteY45" fmla="*/ 6230 h 10000"/>
                <a:gd name="connsiteX46" fmla="*/ 8736 w 9760"/>
                <a:gd name="connsiteY46" fmla="*/ 5349 h 10000"/>
                <a:gd name="connsiteX47" fmla="*/ 8458 w 9760"/>
                <a:gd name="connsiteY47" fmla="*/ 4528 h 10000"/>
                <a:gd name="connsiteX48" fmla="*/ 8143 w 9760"/>
                <a:gd name="connsiteY48" fmla="*/ 3730 h 10000"/>
                <a:gd name="connsiteX49" fmla="*/ 7989 w 9760"/>
                <a:gd name="connsiteY49" fmla="*/ 3340 h 10000"/>
                <a:gd name="connsiteX50" fmla="*/ 7826 w 9760"/>
                <a:gd name="connsiteY50" fmla="*/ 2972 h 10000"/>
                <a:gd name="connsiteX51" fmla="*/ 7661 w 9760"/>
                <a:gd name="connsiteY51" fmla="*/ 2602 h 10000"/>
                <a:gd name="connsiteX52" fmla="*/ 7485 w 9760"/>
                <a:gd name="connsiteY52" fmla="*/ 2252 h 10000"/>
                <a:gd name="connsiteX53" fmla="*/ 7308 w 9760"/>
                <a:gd name="connsiteY53" fmla="*/ 1925 h 10000"/>
                <a:gd name="connsiteX54" fmla="*/ 7118 w 9760"/>
                <a:gd name="connsiteY54" fmla="*/ 1641 h 10000"/>
                <a:gd name="connsiteX55" fmla="*/ 6915 w 9760"/>
                <a:gd name="connsiteY55" fmla="*/ 1334 h 10000"/>
                <a:gd name="connsiteX56" fmla="*/ 6726 w 9760"/>
                <a:gd name="connsiteY56" fmla="*/ 1086 h 10000"/>
                <a:gd name="connsiteX57" fmla="*/ 6511 w 9760"/>
                <a:gd name="connsiteY57" fmla="*/ 863 h 10000"/>
                <a:gd name="connsiteX58" fmla="*/ 6295 w 9760"/>
                <a:gd name="connsiteY58" fmla="*/ 656 h 10000"/>
                <a:gd name="connsiteX59" fmla="*/ 6068 w 9760"/>
                <a:gd name="connsiteY59" fmla="*/ 470 h 10000"/>
                <a:gd name="connsiteX60" fmla="*/ 5841 w 9760"/>
                <a:gd name="connsiteY60" fmla="*/ 307 h 10000"/>
                <a:gd name="connsiteX61" fmla="*/ 5601 w 9760"/>
                <a:gd name="connsiteY61" fmla="*/ 184 h 10000"/>
                <a:gd name="connsiteX62" fmla="*/ 5347 w 9760"/>
                <a:gd name="connsiteY62" fmla="*/ 101 h 10000"/>
                <a:gd name="connsiteX63" fmla="*/ 5082 w 9760"/>
                <a:gd name="connsiteY63" fmla="*/ 21 h 10000"/>
                <a:gd name="connsiteX64" fmla="*/ 4817 w 9760"/>
                <a:gd name="connsiteY64" fmla="*/ 0 h 10000"/>
                <a:gd name="connsiteX65" fmla="*/ 4588 w 9760"/>
                <a:gd name="connsiteY65" fmla="*/ 21 h 10000"/>
                <a:gd name="connsiteX66" fmla="*/ 4375 w 9760"/>
                <a:gd name="connsiteY66" fmla="*/ 61 h 10000"/>
                <a:gd name="connsiteX67" fmla="*/ 4160 w 9760"/>
                <a:gd name="connsiteY67" fmla="*/ 124 h 10000"/>
                <a:gd name="connsiteX68" fmla="*/ 3971 w 9760"/>
                <a:gd name="connsiteY68" fmla="*/ 184 h 10000"/>
                <a:gd name="connsiteX69" fmla="*/ 3767 w 9760"/>
                <a:gd name="connsiteY69" fmla="*/ 285 h 10000"/>
                <a:gd name="connsiteX70" fmla="*/ 3564 w 9760"/>
                <a:gd name="connsiteY70" fmla="*/ 388 h 10000"/>
                <a:gd name="connsiteX71" fmla="*/ 3389 w 9760"/>
                <a:gd name="connsiteY71" fmla="*/ 532 h 10000"/>
                <a:gd name="connsiteX72" fmla="*/ 3198 w 9760"/>
                <a:gd name="connsiteY72" fmla="*/ 698 h 10000"/>
                <a:gd name="connsiteX73" fmla="*/ 3035 w 9760"/>
                <a:gd name="connsiteY73" fmla="*/ 881 h 10000"/>
                <a:gd name="connsiteX74" fmla="*/ 2857 w 9760"/>
                <a:gd name="connsiteY74" fmla="*/ 1065 h 10000"/>
                <a:gd name="connsiteX75" fmla="*/ 2693 w 9760"/>
                <a:gd name="connsiteY75" fmla="*/ 1271 h 10000"/>
                <a:gd name="connsiteX76" fmla="*/ 2528 w 9760"/>
                <a:gd name="connsiteY76" fmla="*/ 1497 h 10000"/>
                <a:gd name="connsiteX77" fmla="*/ 2377 w 9760"/>
                <a:gd name="connsiteY77" fmla="*/ 1720 h 10000"/>
                <a:gd name="connsiteX78" fmla="*/ 2212 w 9760"/>
                <a:gd name="connsiteY78" fmla="*/ 1989 h 10000"/>
                <a:gd name="connsiteX79" fmla="*/ 1922 w 9760"/>
                <a:gd name="connsiteY79" fmla="*/ 2540 h 10000"/>
                <a:gd name="connsiteX80" fmla="*/ 1644 w 9760"/>
                <a:gd name="connsiteY80" fmla="*/ 3116 h 10000"/>
                <a:gd name="connsiteX81" fmla="*/ 1379 w 9760"/>
                <a:gd name="connsiteY81" fmla="*/ 3730 h 10000"/>
                <a:gd name="connsiteX82" fmla="*/ 1125 w 9760"/>
                <a:gd name="connsiteY82" fmla="*/ 4386 h 10000"/>
                <a:gd name="connsiteX83" fmla="*/ 885 w 9760"/>
                <a:gd name="connsiteY83" fmla="*/ 5062 h 10000"/>
                <a:gd name="connsiteX84" fmla="*/ 658 w 9760"/>
                <a:gd name="connsiteY84" fmla="*/ 5737 h 10000"/>
                <a:gd name="connsiteX85" fmla="*/ 431 w 9760"/>
                <a:gd name="connsiteY85" fmla="*/ 6455 h 10000"/>
                <a:gd name="connsiteX86" fmla="*/ 0 w 9760"/>
                <a:gd name="connsiteY86" fmla="*/ 7890 h 10000"/>
                <a:gd name="connsiteX0" fmla="*/ 0 w 9495"/>
                <a:gd name="connsiteY0" fmla="*/ 7890 h 10000"/>
                <a:gd name="connsiteX1" fmla="*/ 0 w 9495"/>
                <a:gd name="connsiteY1" fmla="*/ 7890 h 10000"/>
                <a:gd name="connsiteX2" fmla="*/ 324 w 9495"/>
                <a:gd name="connsiteY2" fmla="*/ 8955 h 10000"/>
                <a:gd name="connsiteX3" fmla="*/ 623 w 9495"/>
                <a:gd name="connsiteY3" fmla="*/ 10000 h 10000"/>
                <a:gd name="connsiteX4" fmla="*/ 920 w 9495"/>
                <a:gd name="connsiteY4" fmla="*/ 9222 h 10000"/>
                <a:gd name="connsiteX5" fmla="*/ 1192 w 9495"/>
                <a:gd name="connsiteY5" fmla="*/ 8403 h 10000"/>
                <a:gd name="connsiteX6" fmla="*/ 1476 w 9495"/>
                <a:gd name="connsiteY6" fmla="*/ 7602 h 10000"/>
                <a:gd name="connsiteX7" fmla="*/ 1722 w 9495"/>
                <a:gd name="connsiteY7" fmla="*/ 6782 h 10000"/>
                <a:gd name="connsiteX8" fmla="*/ 2215 w 9495"/>
                <a:gd name="connsiteY8" fmla="*/ 5165 h 10000"/>
                <a:gd name="connsiteX9" fmla="*/ 2462 w 9495"/>
                <a:gd name="connsiteY9" fmla="*/ 4386 h 10000"/>
                <a:gd name="connsiteX10" fmla="*/ 2695 w 9495"/>
                <a:gd name="connsiteY10" fmla="*/ 3647 h 10000"/>
                <a:gd name="connsiteX11" fmla="*/ 2940 w 9495"/>
                <a:gd name="connsiteY11" fmla="*/ 2972 h 10000"/>
                <a:gd name="connsiteX12" fmla="*/ 3186 w 9495"/>
                <a:gd name="connsiteY12" fmla="*/ 2357 h 10000"/>
                <a:gd name="connsiteX13" fmla="*/ 3316 w 9495"/>
                <a:gd name="connsiteY13" fmla="*/ 2048 h 10000"/>
                <a:gd name="connsiteX14" fmla="*/ 3446 w 9495"/>
                <a:gd name="connsiteY14" fmla="*/ 1803 h 10000"/>
                <a:gd name="connsiteX15" fmla="*/ 3588 w 9495"/>
                <a:gd name="connsiteY15" fmla="*/ 1536 h 10000"/>
                <a:gd name="connsiteX16" fmla="*/ 3717 w 9495"/>
                <a:gd name="connsiteY16" fmla="*/ 1312 h 10000"/>
                <a:gd name="connsiteX17" fmla="*/ 3860 w 9495"/>
                <a:gd name="connsiteY17" fmla="*/ 1109 h 10000"/>
                <a:gd name="connsiteX18" fmla="*/ 4003 w 9495"/>
                <a:gd name="connsiteY18" fmla="*/ 922 h 10000"/>
                <a:gd name="connsiteX19" fmla="*/ 4145 w 9495"/>
                <a:gd name="connsiteY19" fmla="*/ 758 h 10000"/>
                <a:gd name="connsiteX20" fmla="*/ 4301 w 9495"/>
                <a:gd name="connsiteY20" fmla="*/ 634 h 10000"/>
                <a:gd name="connsiteX21" fmla="*/ 4444 w 9495"/>
                <a:gd name="connsiteY21" fmla="*/ 512 h 10000"/>
                <a:gd name="connsiteX22" fmla="*/ 4598 w 9495"/>
                <a:gd name="connsiteY22" fmla="*/ 450 h 10000"/>
                <a:gd name="connsiteX23" fmla="*/ 4766 w 9495"/>
                <a:gd name="connsiteY23" fmla="*/ 388 h 10000"/>
                <a:gd name="connsiteX24" fmla="*/ 4935 w 9495"/>
                <a:gd name="connsiteY24" fmla="*/ 388 h 10000"/>
                <a:gd name="connsiteX25" fmla="*/ 5142 w 9495"/>
                <a:gd name="connsiteY25" fmla="*/ 410 h 10000"/>
                <a:gd name="connsiteX26" fmla="*/ 5349 w 9495"/>
                <a:gd name="connsiteY26" fmla="*/ 492 h 10000"/>
                <a:gd name="connsiteX27" fmla="*/ 5531 w 9495"/>
                <a:gd name="connsiteY27" fmla="*/ 634 h 10000"/>
                <a:gd name="connsiteX28" fmla="*/ 5726 w 9495"/>
                <a:gd name="connsiteY28" fmla="*/ 780 h 10000"/>
                <a:gd name="connsiteX29" fmla="*/ 5893 w 9495"/>
                <a:gd name="connsiteY29" fmla="*/ 985 h 10000"/>
                <a:gd name="connsiteX30" fmla="*/ 6075 w 9495"/>
                <a:gd name="connsiteY30" fmla="*/ 1250 h 10000"/>
                <a:gd name="connsiteX31" fmla="*/ 6231 w 9495"/>
                <a:gd name="connsiteY31" fmla="*/ 1536 h 10000"/>
                <a:gd name="connsiteX32" fmla="*/ 6412 w 9495"/>
                <a:gd name="connsiteY32" fmla="*/ 1864 h 10000"/>
                <a:gd name="connsiteX33" fmla="*/ 6555 w 9495"/>
                <a:gd name="connsiteY33" fmla="*/ 2213 h 10000"/>
                <a:gd name="connsiteX34" fmla="*/ 6710 w 9495"/>
                <a:gd name="connsiteY34" fmla="*/ 2602 h 10000"/>
                <a:gd name="connsiteX35" fmla="*/ 6852 w 9495"/>
                <a:gd name="connsiteY35" fmla="*/ 2990 h 10000"/>
                <a:gd name="connsiteX36" fmla="*/ 7020 w 9495"/>
                <a:gd name="connsiteY36" fmla="*/ 3424 h 10000"/>
                <a:gd name="connsiteX37" fmla="*/ 7305 w 9495"/>
                <a:gd name="connsiteY37" fmla="*/ 4344 h 10000"/>
                <a:gd name="connsiteX38" fmla="*/ 7603 w 9495"/>
                <a:gd name="connsiteY38" fmla="*/ 5328 h 10000"/>
                <a:gd name="connsiteX39" fmla="*/ 8199 w 9495"/>
                <a:gd name="connsiteY39" fmla="*/ 7398 h 10000"/>
                <a:gd name="connsiteX40" fmla="*/ 8524 w 9495"/>
                <a:gd name="connsiteY40" fmla="*/ 8464 h 10000"/>
                <a:gd name="connsiteX41" fmla="*/ 8847 w 9495"/>
                <a:gd name="connsiteY41" fmla="*/ 9465 h 10000"/>
                <a:gd name="connsiteX42" fmla="*/ 9028 w 9495"/>
                <a:gd name="connsiteY42" fmla="*/ 9980 h 10000"/>
                <a:gd name="connsiteX43" fmla="*/ 9495 w 9495"/>
                <a:gd name="connsiteY43" fmla="*/ 7110 h 10000"/>
                <a:gd name="connsiteX44" fmla="*/ 9236 w 9495"/>
                <a:gd name="connsiteY44" fmla="*/ 6230 h 10000"/>
                <a:gd name="connsiteX45" fmla="*/ 8951 w 9495"/>
                <a:gd name="connsiteY45" fmla="*/ 5349 h 10000"/>
                <a:gd name="connsiteX46" fmla="*/ 8666 w 9495"/>
                <a:gd name="connsiteY46" fmla="*/ 4528 h 10000"/>
                <a:gd name="connsiteX47" fmla="*/ 8343 w 9495"/>
                <a:gd name="connsiteY47" fmla="*/ 3730 h 10000"/>
                <a:gd name="connsiteX48" fmla="*/ 8185 w 9495"/>
                <a:gd name="connsiteY48" fmla="*/ 3340 h 10000"/>
                <a:gd name="connsiteX49" fmla="*/ 8018 w 9495"/>
                <a:gd name="connsiteY49" fmla="*/ 2972 h 10000"/>
                <a:gd name="connsiteX50" fmla="*/ 7849 w 9495"/>
                <a:gd name="connsiteY50" fmla="*/ 2602 h 10000"/>
                <a:gd name="connsiteX51" fmla="*/ 7669 w 9495"/>
                <a:gd name="connsiteY51" fmla="*/ 2252 h 10000"/>
                <a:gd name="connsiteX52" fmla="*/ 7488 w 9495"/>
                <a:gd name="connsiteY52" fmla="*/ 1925 h 10000"/>
                <a:gd name="connsiteX53" fmla="*/ 7293 w 9495"/>
                <a:gd name="connsiteY53" fmla="*/ 1641 h 10000"/>
                <a:gd name="connsiteX54" fmla="*/ 7085 w 9495"/>
                <a:gd name="connsiteY54" fmla="*/ 1334 h 10000"/>
                <a:gd name="connsiteX55" fmla="*/ 6891 w 9495"/>
                <a:gd name="connsiteY55" fmla="*/ 1086 h 10000"/>
                <a:gd name="connsiteX56" fmla="*/ 6671 w 9495"/>
                <a:gd name="connsiteY56" fmla="*/ 863 h 10000"/>
                <a:gd name="connsiteX57" fmla="*/ 6450 w 9495"/>
                <a:gd name="connsiteY57" fmla="*/ 656 h 10000"/>
                <a:gd name="connsiteX58" fmla="*/ 6217 w 9495"/>
                <a:gd name="connsiteY58" fmla="*/ 470 h 10000"/>
                <a:gd name="connsiteX59" fmla="*/ 5985 w 9495"/>
                <a:gd name="connsiteY59" fmla="*/ 307 h 10000"/>
                <a:gd name="connsiteX60" fmla="*/ 5739 w 9495"/>
                <a:gd name="connsiteY60" fmla="*/ 184 h 10000"/>
                <a:gd name="connsiteX61" fmla="*/ 5478 w 9495"/>
                <a:gd name="connsiteY61" fmla="*/ 101 h 10000"/>
                <a:gd name="connsiteX62" fmla="*/ 5207 w 9495"/>
                <a:gd name="connsiteY62" fmla="*/ 21 h 10000"/>
                <a:gd name="connsiteX63" fmla="*/ 4935 w 9495"/>
                <a:gd name="connsiteY63" fmla="*/ 0 h 10000"/>
                <a:gd name="connsiteX64" fmla="*/ 4701 w 9495"/>
                <a:gd name="connsiteY64" fmla="*/ 21 h 10000"/>
                <a:gd name="connsiteX65" fmla="*/ 4483 w 9495"/>
                <a:gd name="connsiteY65" fmla="*/ 61 h 10000"/>
                <a:gd name="connsiteX66" fmla="*/ 4262 w 9495"/>
                <a:gd name="connsiteY66" fmla="*/ 124 h 10000"/>
                <a:gd name="connsiteX67" fmla="*/ 4069 w 9495"/>
                <a:gd name="connsiteY67" fmla="*/ 184 h 10000"/>
                <a:gd name="connsiteX68" fmla="*/ 3860 w 9495"/>
                <a:gd name="connsiteY68" fmla="*/ 285 h 10000"/>
                <a:gd name="connsiteX69" fmla="*/ 3652 w 9495"/>
                <a:gd name="connsiteY69" fmla="*/ 388 h 10000"/>
                <a:gd name="connsiteX70" fmla="*/ 3472 w 9495"/>
                <a:gd name="connsiteY70" fmla="*/ 532 h 10000"/>
                <a:gd name="connsiteX71" fmla="*/ 3277 w 9495"/>
                <a:gd name="connsiteY71" fmla="*/ 698 h 10000"/>
                <a:gd name="connsiteX72" fmla="*/ 3110 w 9495"/>
                <a:gd name="connsiteY72" fmla="*/ 881 h 10000"/>
                <a:gd name="connsiteX73" fmla="*/ 2927 w 9495"/>
                <a:gd name="connsiteY73" fmla="*/ 1065 h 10000"/>
                <a:gd name="connsiteX74" fmla="*/ 2759 w 9495"/>
                <a:gd name="connsiteY74" fmla="*/ 1271 h 10000"/>
                <a:gd name="connsiteX75" fmla="*/ 2590 w 9495"/>
                <a:gd name="connsiteY75" fmla="*/ 1497 h 10000"/>
                <a:gd name="connsiteX76" fmla="*/ 2435 w 9495"/>
                <a:gd name="connsiteY76" fmla="*/ 1720 h 10000"/>
                <a:gd name="connsiteX77" fmla="*/ 2266 w 9495"/>
                <a:gd name="connsiteY77" fmla="*/ 1989 h 10000"/>
                <a:gd name="connsiteX78" fmla="*/ 1969 w 9495"/>
                <a:gd name="connsiteY78" fmla="*/ 2540 h 10000"/>
                <a:gd name="connsiteX79" fmla="*/ 1684 w 9495"/>
                <a:gd name="connsiteY79" fmla="*/ 3116 h 10000"/>
                <a:gd name="connsiteX80" fmla="*/ 1413 w 9495"/>
                <a:gd name="connsiteY80" fmla="*/ 3730 h 10000"/>
                <a:gd name="connsiteX81" fmla="*/ 1153 w 9495"/>
                <a:gd name="connsiteY81" fmla="*/ 4386 h 10000"/>
                <a:gd name="connsiteX82" fmla="*/ 907 w 9495"/>
                <a:gd name="connsiteY82" fmla="*/ 5062 h 10000"/>
                <a:gd name="connsiteX83" fmla="*/ 674 w 9495"/>
                <a:gd name="connsiteY83" fmla="*/ 5737 h 10000"/>
                <a:gd name="connsiteX84" fmla="*/ 442 w 9495"/>
                <a:gd name="connsiteY84" fmla="*/ 6455 h 10000"/>
                <a:gd name="connsiteX85" fmla="*/ 0 w 9495"/>
                <a:gd name="connsiteY8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9318 w 10000"/>
                <a:gd name="connsiteY41" fmla="*/ 9465 h 10000"/>
                <a:gd name="connsiteX42" fmla="*/ 10000 w 10000"/>
                <a:gd name="connsiteY42" fmla="*/ 7110 h 10000"/>
                <a:gd name="connsiteX43" fmla="*/ 9727 w 10000"/>
                <a:gd name="connsiteY43" fmla="*/ 6230 h 10000"/>
                <a:gd name="connsiteX44" fmla="*/ 9427 w 10000"/>
                <a:gd name="connsiteY44" fmla="*/ 5349 h 10000"/>
                <a:gd name="connsiteX45" fmla="*/ 9127 w 10000"/>
                <a:gd name="connsiteY45" fmla="*/ 4528 h 10000"/>
                <a:gd name="connsiteX46" fmla="*/ 8787 w 10000"/>
                <a:gd name="connsiteY46" fmla="*/ 3730 h 10000"/>
                <a:gd name="connsiteX47" fmla="*/ 8620 w 10000"/>
                <a:gd name="connsiteY47" fmla="*/ 3340 h 10000"/>
                <a:gd name="connsiteX48" fmla="*/ 8444 w 10000"/>
                <a:gd name="connsiteY48" fmla="*/ 2972 h 10000"/>
                <a:gd name="connsiteX49" fmla="*/ 8266 w 10000"/>
                <a:gd name="connsiteY49" fmla="*/ 2602 h 10000"/>
                <a:gd name="connsiteX50" fmla="*/ 8077 w 10000"/>
                <a:gd name="connsiteY50" fmla="*/ 2252 h 10000"/>
                <a:gd name="connsiteX51" fmla="*/ 7886 w 10000"/>
                <a:gd name="connsiteY51" fmla="*/ 1925 h 10000"/>
                <a:gd name="connsiteX52" fmla="*/ 7681 w 10000"/>
                <a:gd name="connsiteY52" fmla="*/ 1641 h 10000"/>
                <a:gd name="connsiteX53" fmla="*/ 7462 w 10000"/>
                <a:gd name="connsiteY53" fmla="*/ 1334 h 10000"/>
                <a:gd name="connsiteX54" fmla="*/ 7258 w 10000"/>
                <a:gd name="connsiteY54" fmla="*/ 1086 h 10000"/>
                <a:gd name="connsiteX55" fmla="*/ 7026 w 10000"/>
                <a:gd name="connsiteY55" fmla="*/ 863 h 10000"/>
                <a:gd name="connsiteX56" fmla="*/ 6793 w 10000"/>
                <a:gd name="connsiteY56" fmla="*/ 656 h 10000"/>
                <a:gd name="connsiteX57" fmla="*/ 6548 w 10000"/>
                <a:gd name="connsiteY57" fmla="*/ 470 h 10000"/>
                <a:gd name="connsiteX58" fmla="*/ 6303 w 10000"/>
                <a:gd name="connsiteY58" fmla="*/ 307 h 10000"/>
                <a:gd name="connsiteX59" fmla="*/ 6044 w 10000"/>
                <a:gd name="connsiteY59" fmla="*/ 184 h 10000"/>
                <a:gd name="connsiteX60" fmla="*/ 5769 w 10000"/>
                <a:gd name="connsiteY60" fmla="*/ 101 h 10000"/>
                <a:gd name="connsiteX61" fmla="*/ 5484 w 10000"/>
                <a:gd name="connsiteY61" fmla="*/ 21 h 10000"/>
                <a:gd name="connsiteX62" fmla="*/ 5197 w 10000"/>
                <a:gd name="connsiteY62" fmla="*/ 0 h 10000"/>
                <a:gd name="connsiteX63" fmla="*/ 4951 w 10000"/>
                <a:gd name="connsiteY63" fmla="*/ 21 h 10000"/>
                <a:gd name="connsiteX64" fmla="*/ 4721 w 10000"/>
                <a:gd name="connsiteY64" fmla="*/ 61 h 10000"/>
                <a:gd name="connsiteX65" fmla="*/ 4489 w 10000"/>
                <a:gd name="connsiteY65" fmla="*/ 124 h 10000"/>
                <a:gd name="connsiteX66" fmla="*/ 4285 w 10000"/>
                <a:gd name="connsiteY66" fmla="*/ 184 h 10000"/>
                <a:gd name="connsiteX67" fmla="*/ 4065 w 10000"/>
                <a:gd name="connsiteY67" fmla="*/ 285 h 10000"/>
                <a:gd name="connsiteX68" fmla="*/ 3846 w 10000"/>
                <a:gd name="connsiteY68" fmla="*/ 388 h 10000"/>
                <a:gd name="connsiteX69" fmla="*/ 3657 w 10000"/>
                <a:gd name="connsiteY69" fmla="*/ 532 h 10000"/>
                <a:gd name="connsiteX70" fmla="*/ 3451 w 10000"/>
                <a:gd name="connsiteY70" fmla="*/ 698 h 10000"/>
                <a:gd name="connsiteX71" fmla="*/ 3275 w 10000"/>
                <a:gd name="connsiteY71" fmla="*/ 881 h 10000"/>
                <a:gd name="connsiteX72" fmla="*/ 3083 w 10000"/>
                <a:gd name="connsiteY72" fmla="*/ 1065 h 10000"/>
                <a:gd name="connsiteX73" fmla="*/ 2906 w 10000"/>
                <a:gd name="connsiteY73" fmla="*/ 1271 h 10000"/>
                <a:gd name="connsiteX74" fmla="*/ 2728 w 10000"/>
                <a:gd name="connsiteY74" fmla="*/ 1497 h 10000"/>
                <a:gd name="connsiteX75" fmla="*/ 2565 w 10000"/>
                <a:gd name="connsiteY75" fmla="*/ 1720 h 10000"/>
                <a:gd name="connsiteX76" fmla="*/ 2387 w 10000"/>
                <a:gd name="connsiteY76" fmla="*/ 1989 h 10000"/>
                <a:gd name="connsiteX77" fmla="*/ 2074 w 10000"/>
                <a:gd name="connsiteY77" fmla="*/ 2540 h 10000"/>
                <a:gd name="connsiteX78" fmla="*/ 1774 w 10000"/>
                <a:gd name="connsiteY78" fmla="*/ 3116 h 10000"/>
                <a:gd name="connsiteX79" fmla="*/ 1488 w 10000"/>
                <a:gd name="connsiteY79" fmla="*/ 3730 h 10000"/>
                <a:gd name="connsiteX80" fmla="*/ 1214 w 10000"/>
                <a:gd name="connsiteY80" fmla="*/ 4386 h 10000"/>
                <a:gd name="connsiteX81" fmla="*/ 955 w 10000"/>
                <a:gd name="connsiteY81" fmla="*/ 5062 h 10000"/>
                <a:gd name="connsiteX82" fmla="*/ 710 w 10000"/>
                <a:gd name="connsiteY82" fmla="*/ 5737 h 10000"/>
                <a:gd name="connsiteX83" fmla="*/ 466 w 10000"/>
                <a:gd name="connsiteY83" fmla="*/ 6455 h 10000"/>
                <a:gd name="connsiteX84" fmla="*/ 0 w 10000"/>
                <a:gd name="connsiteY8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10000 w 10000"/>
                <a:gd name="connsiteY41" fmla="*/ 7110 h 10000"/>
                <a:gd name="connsiteX42" fmla="*/ 9727 w 10000"/>
                <a:gd name="connsiteY42" fmla="*/ 6230 h 10000"/>
                <a:gd name="connsiteX43" fmla="*/ 9427 w 10000"/>
                <a:gd name="connsiteY43" fmla="*/ 5349 h 10000"/>
                <a:gd name="connsiteX44" fmla="*/ 9127 w 10000"/>
                <a:gd name="connsiteY44" fmla="*/ 4528 h 10000"/>
                <a:gd name="connsiteX45" fmla="*/ 8787 w 10000"/>
                <a:gd name="connsiteY45" fmla="*/ 3730 h 10000"/>
                <a:gd name="connsiteX46" fmla="*/ 8620 w 10000"/>
                <a:gd name="connsiteY46" fmla="*/ 3340 h 10000"/>
                <a:gd name="connsiteX47" fmla="*/ 8444 w 10000"/>
                <a:gd name="connsiteY47" fmla="*/ 2972 h 10000"/>
                <a:gd name="connsiteX48" fmla="*/ 8266 w 10000"/>
                <a:gd name="connsiteY48" fmla="*/ 2602 h 10000"/>
                <a:gd name="connsiteX49" fmla="*/ 8077 w 10000"/>
                <a:gd name="connsiteY49" fmla="*/ 2252 h 10000"/>
                <a:gd name="connsiteX50" fmla="*/ 7886 w 10000"/>
                <a:gd name="connsiteY50" fmla="*/ 1925 h 10000"/>
                <a:gd name="connsiteX51" fmla="*/ 7681 w 10000"/>
                <a:gd name="connsiteY51" fmla="*/ 1641 h 10000"/>
                <a:gd name="connsiteX52" fmla="*/ 7462 w 10000"/>
                <a:gd name="connsiteY52" fmla="*/ 1334 h 10000"/>
                <a:gd name="connsiteX53" fmla="*/ 7258 w 10000"/>
                <a:gd name="connsiteY53" fmla="*/ 1086 h 10000"/>
                <a:gd name="connsiteX54" fmla="*/ 7026 w 10000"/>
                <a:gd name="connsiteY54" fmla="*/ 863 h 10000"/>
                <a:gd name="connsiteX55" fmla="*/ 6793 w 10000"/>
                <a:gd name="connsiteY55" fmla="*/ 656 h 10000"/>
                <a:gd name="connsiteX56" fmla="*/ 6548 w 10000"/>
                <a:gd name="connsiteY56" fmla="*/ 470 h 10000"/>
                <a:gd name="connsiteX57" fmla="*/ 6303 w 10000"/>
                <a:gd name="connsiteY57" fmla="*/ 307 h 10000"/>
                <a:gd name="connsiteX58" fmla="*/ 6044 w 10000"/>
                <a:gd name="connsiteY58" fmla="*/ 184 h 10000"/>
                <a:gd name="connsiteX59" fmla="*/ 5769 w 10000"/>
                <a:gd name="connsiteY59" fmla="*/ 101 h 10000"/>
                <a:gd name="connsiteX60" fmla="*/ 5484 w 10000"/>
                <a:gd name="connsiteY60" fmla="*/ 21 h 10000"/>
                <a:gd name="connsiteX61" fmla="*/ 5197 w 10000"/>
                <a:gd name="connsiteY61" fmla="*/ 0 h 10000"/>
                <a:gd name="connsiteX62" fmla="*/ 4951 w 10000"/>
                <a:gd name="connsiteY62" fmla="*/ 21 h 10000"/>
                <a:gd name="connsiteX63" fmla="*/ 4721 w 10000"/>
                <a:gd name="connsiteY63" fmla="*/ 61 h 10000"/>
                <a:gd name="connsiteX64" fmla="*/ 4489 w 10000"/>
                <a:gd name="connsiteY64" fmla="*/ 124 h 10000"/>
                <a:gd name="connsiteX65" fmla="*/ 4285 w 10000"/>
                <a:gd name="connsiteY65" fmla="*/ 184 h 10000"/>
                <a:gd name="connsiteX66" fmla="*/ 4065 w 10000"/>
                <a:gd name="connsiteY66" fmla="*/ 285 h 10000"/>
                <a:gd name="connsiteX67" fmla="*/ 3846 w 10000"/>
                <a:gd name="connsiteY67" fmla="*/ 388 h 10000"/>
                <a:gd name="connsiteX68" fmla="*/ 3657 w 10000"/>
                <a:gd name="connsiteY68" fmla="*/ 532 h 10000"/>
                <a:gd name="connsiteX69" fmla="*/ 3451 w 10000"/>
                <a:gd name="connsiteY69" fmla="*/ 698 h 10000"/>
                <a:gd name="connsiteX70" fmla="*/ 3275 w 10000"/>
                <a:gd name="connsiteY70" fmla="*/ 881 h 10000"/>
                <a:gd name="connsiteX71" fmla="*/ 3083 w 10000"/>
                <a:gd name="connsiteY71" fmla="*/ 1065 h 10000"/>
                <a:gd name="connsiteX72" fmla="*/ 2906 w 10000"/>
                <a:gd name="connsiteY72" fmla="*/ 1271 h 10000"/>
                <a:gd name="connsiteX73" fmla="*/ 2728 w 10000"/>
                <a:gd name="connsiteY73" fmla="*/ 1497 h 10000"/>
                <a:gd name="connsiteX74" fmla="*/ 2565 w 10000"/>
                <a:gd name="connsiteY74" fmla="*/ 1720 h 10000"/>
                <a:gd name="connsiteX75" fmla="*/ 2387 w 10000"/>
                <a:gd name="connsiteY75" fmla="*/ 1989 h 10000"/>
                <a:gd name="connsiteX76" fmla="*/ 2074 w 10000"/>
                <a:gd name="connsiteY76" fmla="*/ 2540 h 10000"/>
                <a:gd name="connsiteX77" fmla="*/ 1774 w 10000"/>
                <a:gd name="connsiteY77" fmla="*/ 3116 h 10000"/>
                <a:gd name="connsiteX78" fmla="*/ 1488 w 10000"/>
                <a:gd name="connsiteY78" fmla="*/ 3730 h 10000"/>
                <a:gd name="connsiteX79" fmla="*/ 1214 w 10000"/>
                <a:gd name="connsiteY79" fmla="*/ 4386 h 10000"/>
                <a:gd name="connsiteX80" fmla="*/ 955 w 10000"/>
                <a:gd name="connsiteY80" fmla="*/ 5062 h 10000"/>
                <a:gd name="connsiteX81" fmla="*/ 710 w 10000"/>
                <a:gd name="connsiteY81" fmla="*/ 5737 h 10000"/>
                <a:gd name="connsiteX82" fmla="*/ 466 w 10000"/>
                <a:gd name="connsiteY82" fmla="*/ 6455 h 10000"/>
                <a:gd name="connsiteX83" fmla="*/ 0 w 10000"/>
                <a:gd name="connsiteY83" fmla="*/ 7890 h 10000"/>
                <a:gd name="connsiteX0" fmla="*/ 0 w 9727"/>
                <a:gd name="connsiteY0" fmla="*/ 7890 h 10000"/>
                <a:gd name="connsiteX1" fmla="*/ 0 w 9727"/>
                <a:gd name="connsiteY1" fmla="*/ 7890 h 10000"/>
                <a:gd name="connsiteX2" fmla="*/ 341 w 9727"/>
                <a:gd name="connsiteY2" fmla="*/ 8955 h 10000"/>
                <a:gd name="connsiteX3" fmla="*/ 656 w 9727"/>
                <a:gd name="connsiteY3" fmla="*/ 10000 h 10000"/>
                <a:gd name="connsiteX4" fmla="*/ 969 w 9727"/>
                <a:gd name="connsiteY4" fmla="*/ 9222 h 10000"/>
                <a:gd name="connsiteX5" fmla="*/ 1255 w 9727"/>
                <a:gd name="connsiteY5" fmla="*/ 8403 h 10000"/>
                <a:gd name="connsiteX6" fmla="*/ 1555 w 9727"/>
                <a:gd name="connsiteY6" fmla="*/ 7602 h 10000"/>
                <a:gd name="connsiteX7" fmla="*/ 1814 w 9727"/>
                <a:gd name="connsiteY7" fmla="*/ 6782 h 10000"/>
                <a:gd name="connsiteX8" fmla="*/ 2333 w 9727"/>
                <a:gd name="connsiteY8" fmla="*/ 5165 h 10000"/>
                <a:gd name="connsiteX9" fmla="*/ 2593 w 9727"/>
                <a:gd name="connsiteY9" fmla="*/ 4386 h 10000"/>
                <a:gd name="connsiteX10" fmla="*/ 2838 w 9727"/>
                <a:gd name="connsiteY10" fmla="*/ 3647 h 10000"/>
                <a:gd name="connsiteX11" fmla="*/ 3096 w 9727"/>
                <a:gd name="connsiteY11" fmla="*/ 2972 h 10000"/>
                <a:gd name="connsiteX12" fmla="*/ 3355 w 9727"/>
                <a:gd name="connsiteY12" fmla="*/ 2357 h 10000"/>
                <a:gd name="connsiteX13" fmla="*/ 3492 w 9727"/>
                <a:gd name="connsiteY13" fmla="*/ 2048 h 10000"/>
                <a:gd name="connsiteX14" fmla="*/ 3629 w 9727"/>
                <a:gd name="connsiteY14" fmla="*/ 1803 h 10000"/>
                <a:gd name="connsiteX15" fmla="*/ 3779 w 9727"/>
                <a:gd name="connsiteY15" fmla="*/ 1536 h 10000"/>
                <a:gd name="connsiteX16" fmla="*/ 3915 w 9727"/>
                <a:gd name="connsiteY16" fmla="*/ 1312 h 10000"/>
                <a:gd name="connsiteX17" fmla="*/ 4065 w 9727"/>
                <a:gd name="connsiteY17" fmla="*/ 1109 h 10000"/>
                <a:gd name="connsiteX18" fmla="*/ 4216 w 9727"/>
                <a:gd name="connsiteY18" fmla="*/ 922 h 10000"/>
                <a:gd name="connsiteX19" fmla="*/ 4365 w 9727"/>
                <a:gd name="connsiteY19" fmla="*/ 758 h 10000"/>
                <a:gd name="connsiteX20" fmla="*/ 4530 w 9727"/>
                <a:gd name="connsiteY20" fmla="*/ 634 h 10000"/>
                <a:gd name="connsiteX21" fmla="*/ 4680 w 9727"/>
                <a:gd name="connsiteY21" fmla="*/ 512 h 10000"/>
                <a:gd name="connsiteX22" fmla="*/ 4843 w 9727"/>
                <a:gd name="connsiteY22" fmla="*/ 450 h 10000"/>
                <a:gd name="connsiteX23" fmla="*/ 5019 w 9727"/>
                <a:gd name="connsiteY23" fmla="*/ 388 h 10000"/>
                <a:gd name="connsiteX24" fmla="*/ 5197 w 9727"/>
                <a:gd name="connsiteY24" fmla="*/ 388 h 10000"/>
                <a:gd name="connsiteX25" fmla="*/ 5415 w 9727"/>
                <a:gd name="connsiteY25" fmla="*/ 410 h 10000"/>
                <a:gd name="connsiteX26" fmla="*/ 5633 w 9727"/>
                <a:gd name="connsiteY26" fmla="*/ 492 h 10000"/>
                <a:gd name="connsiteX27" fmla="*/ 5825 w 9727"/>
                <a:gd name="connsiteY27" fmla="*/ 634 h 10000"/>
                <a:gd name="connsiteX28" fmla="*/ 6031 w 9727"/>
                <a:gd name="connsiteY28" fmla="*/ 780 h 10000"/>
                <a:gd name="connsiteX29" fmla="*/ 6206 w 9727"/>
                <a:gd name="connsiteY29" fmla="*/ 985 h 10000"/>
                <a:gd name="connsiteX30" fmla="*/ 6398 w 9727"/>
                <a:gd name="connsiteY30" fmla="*/ 1250 h 10000"/>
                <a:gd name="connsiteX31" fmla="*/ 6562 w 9727"/>
                <a:gd name="connsiteY31" fmla="*/ 1536 h 10000"/>
                <a:gd name="connsiteX32" fmla="*/ 6753 w 9727"/>
                <a:gd name="connsiteY32" fmla="*/ 1864 h 10000"/>
                <a:gd name="connsiteX33" fmla="*/ 6904 w 9727"/>
                <a:gd name="connsiteY33" fmla="*/ 2213 h 10000"/>
                <a:gd name="connsiteX34" fmla="*/ 7067 w 9727"/>
                <a:gd name="connsiteY34" fmla="*/ 2602 h 10000"/>
                <a:gd name="connsiteX35" fmla="*/ 7216 w 9727"/>
                <a:gd name="connsiteY35" fmla="*/ 2990 h 10000"/>
                <a:gd name="connsiteX36" fmla="*/ 7393 w 9727"/>
                <a:gd name="connsiteY36" fmla="*/ 3424 h 10000"/>
                <a:gd name="connsiteX37" fmla="*/ 7694 w 9727"/>
                <a:gd name="connsiteY37" fmla="*/ 4344 h 10000"/>
                <a:gd name="connsiteX38" fmla="*/ 8007 w 9727"/>
                <a:gd name="connsiteY38" fmla="*/ 5328 h 10000"/>
                <a:gd name="connsiteX39" fmla="*/ 8635 w 9727"/>
                <a:gd name="connsiteY39" fmla="*/ 7398 h 10000"/>
                <a:gd name="connsiteX40" fmla="*/ 8977 w 9727"/>
                <a:gd name="connsiteY40" fmla="*/ 8464 h 10000"/>
                <a:gd name="connsiteX41" fmla="*/ 9727 w 9727"/>
                <a:gd name="connsiteY41" fmla="*/ 6230 h 10000"/>
                <a:gd name="connsiteX42" fmla="*/ 9427 w 9727"/>
                <a:gd name="connsiteY42" fmla="*/ 5349 h 10000"/>
                <a:gd name="connsiteX43" fmla="*/ 9127 w 9727"/>
                <a:gd name="connsiteY43" fmla="*/ 4528 h 10000"/>
                <a:gd name="connsiteX44" fmla="*/ 8787 w 9727"/>
                <a:gd name="connsiteY44" fmla="*/ 3730 h 10000"/>
                <a:gd name="connsiteX45" fmla="*/ 8620 w 9727"/>
                <a:gd name="connsiteY45" fmla="*/ 3340 h 10000"/>
                <a:gd name="connsiteX46" fmla="*/ 8444 w 9727"/>
                <a:gd name="connsiteY46" fmla="*/ 2972 h 10000"/>
                <a:gd name="connsiteX47" fmla="*/ 8266 w 9727"/>
                <a:gd name="connsiteY47" fmla="*/ 2602 h 10000"/>
                <a:gd name="connsiteX48" fmla="*/ 8077 w 9727"/>
                <a:gd name="connsiteY48" fmla="*/ 2252 h 10000"/>
                <a:gd name="connsiteX49" fmla="*/ 7886 w 9727"/>
                <a:gd name="connsiteY49" fmla="*/ 1925 h 10000"/>
                <a:gd name="connsiteX50" fmla="*/ 7681 w 9727"/>
                <a:gd name="connsiteY50" fmla="*/ 1641 h 10000"/>
                <a:gd name="connsiteX51" fmla="*/ 7462 w 9727"/>
                <a:gd name="connsiteY51" fmla="*/ 1334 h 10000"/>
                <a:gd name="connsiteX52" fmla="*/ 7258 w 9727"/>
                <a:gd name="connsiteY52" fmla="*/ 1086 h 10000"/>
                <a:gd name="connsiteX53" fmla="*/ 7026 w 9727"/>
                <a:gd name="connsiteY53" fmla="*/ 863 h 10000"/>
                <a:gd name="connsiteX54" fmla="*/ 6793 w 9727"/>
                <a:gd name="connsiteY54" fmla="*/ 656 h 10000"/>
                <a:gd name="connsiteX55" fmla="*/ 6548 w 9727"/>
                <a:gd name="connsiteY55" fmla="*/ 470 h 10000"/>
                <a:gd name="connsiteX56" fmla="*/ 6303 w 9727"/>
                <a:gd name="connsiteY56" fmla="*/ 307 h 10000"/>
                <a:gd name="connsiteX57" fmla="*/ 6044 w 9727"/>
                <a:gd name="connsiteY57" fmla="*/ 184 h 10000"/>
                <a:gd name="connsiteX58" fmla="*/ 5769 w 9727"/>
                <a:gd name="connsiteY58" fmla="*/ 101 h 10000"/>
                <a:gd name="connsiteX59" fmla="*/ 5484 w 9727"/>
                <a:gd name="connsiteY59" fmla="*/ 21 h 10000"/>
                <a:gd name="connsiteX60" fmla="*/ 5197 w 9727"/>
                <a:gd name="connsiteY60" fmla="*/ 0 h 10000"/>
                <a:gd name="connsiteX61" fmla="*/ 4951 w 9727"/>
                <a:gd name="connsiteY61" fmla="*/ 21 h 10000"/>
                <a:gd name="connsiteX62" fmla="*/ 4721 w 9727"/>
                <a:gd name="connsiteY62" fmla="*/ 61 h 10000"/>
                <a:gd name="connsiteX63" fmla="*/ 4489 w 9727"/>
                <a:gd name="connsiteY63" fmla="*/ 124 h 10000"/>
                <a:gd name="connsiteX64" fmla="*/ 4285 w 9727"/>
                <a:gd name="connsiteY64" fmla="*/ 184 h 10000"/>
                <a:gd name="connsiteX65" fmla="*/ 4065 w 9727"/>
                <a:gd name="connsiteY65" fmla="*/ 285 h 10000"/>
                <a:gd name="connsiteX66" fmla="*/ 3846 w 9727"/>
                <a:gd name="connsiteY66" fmla="*/ 388 h 10000"/>
                <a:gd name="connsiteX67" fmla="*/ 3657 w 9727"/>
                <a:gd name="connsiteY67" fmla="*/ 532 h 10000"/>
                <a:gd name="connsiteX68" fmla="*/ 3451 w 9727"/>
                <a:gd name="connsiteY68" fmla="*/ 698 h 10000"/>
                <a:gd name="connsiteX69" fmla="*/ 3275 w 9727"/>
                <a:gd name="connsiteY69" fmla="*/ 881 h 10000"/>
                <a:gd name="connsiteX70" fmla="*/ 3083 w 9727"/>
                <a:gd name="connsiteY70" fmla="*/ 1065 h 10000"/>
                <a:gd name="connsiteX71" fmla="*/ 2906 w 9727"/>
                <a:gd name="connsiteY71" fmla="*/ 1271 h 10000"/>
                <a:gd name="connsiteX72" fmla="*/ 2728 w 9727"/>
                <a:gd name="connsiteY72" fmla="*/ 1497 h 10000"/>
                <a:gd name="connsiteX73" fmla="*/ 2565 w 9727"/>
                <a:gd name="connsiteY73" fmla="*/ 1720 h 10000"/>
                <a:gd name="connsiteX74" fmla="*/ 2387 w 9727"/>
                <a:gd name="connsiteY74" fmla="*/ 1989 h 10000"/>
                <a:gd name="connsiteX75" fmla="*/ 2074 w 9727"/>
                <a:gd name="connsiteY75" fmla="*/ 2540 h 10000"/>
                <a:gd name="connsiteX76" fmla="*/ 1774 w 9727"/>
                <a:gd name="connsiteY76" fmla="*/ 3116 h 10000"/>
                <a:gd name="connsiteX77" fmla="*/ 1488 w 9727"/>
                <a:gd name="connsiteY77" fmla="*/ 3730 h 10000"/>
                <a:gd name="connsiteX78" fmla="*/ 1214 w 9727"/>
                <a:gd name="connsiteY78" fmla="*/ 4386 h 10000"/>
                <a:gd name="connsiteX79" fmla="*/ 955 w 9727"/>
                <a:gd name="connsiteY79" fmla="*/ 5062 h 10000"/>
                <a:gd name="connsiteX80" fmla="*/ 710 w 9727"/>
                <a:gd name="connsiteY80" fmla="*/ 5737 h 10000"/>
                <a:gd name="connsiteX81" fmla="*/ 466 w 9727"/>
                <a:gd name="connsiteY81" fmla="*/ 6455 h 10000"/>
                <a:gd name="connsiteX82" fmla="*/ 0 w 9727"/>
                <a:gd name="connsiteY82" fmla="*/ 7890 h 10000"/>
                <a:gd name="connsiteX0" fmla="*/ 0 w 9692"/>
                <a:gd name="connsiteY0" fmla="*/ 7890 h 10000"/>
                <a:gd name="connsiteX1" fmla="*/ 0 w 9692"/>
                <a:gd name="connsiteY1" fmla="*/ 7890 h 10000"/>
                <a:gd name="connsiteX2" fmla="*/ 351 w 9692"/>
                <a:gd name="connsiteY2" fmla="*/ 8955 h 10000"/>
                <a:gd name="connsiteX3" fmla="*/ 674 w 9692"/>
                <a:gd name="connsiteY3" fmla="*/ 10000 h 10000"/>
                <a:gd name="connsiteX4" fmla="*/ 996 w 9692"/>
                <a:gd name="connsiteY4" fmla="*/ 9222 h 10000"/>
                <a:gd name="connsiteX5" fmla="*/ 1290 w 9692"/>
                <a:gd name="connsiteY5" fmla="*/ 8403 h 10000"/>
                <a:gd name="connsiteX6" fmla="*/ 1599 w 9692"/>
                <a:gd name="connsiteY6" fmla="*/ 7602 h 10000"/>
                <a:gd name="connsiteX7" fmla="*/ 1865 w 9692"/>
                <a:gd name="connsiteY7" fmla="*/ 6782 h 10000"/>
                <a:gd name="connsiteX8" fmla="*/ 2398 w 9692"/>
                <a:gd name="connsiteY8" fmla="*/ 5165 h 10000"/>
                <a:gd name="connsiteX9" fmla="*/ 2666 w 9692"/>
                <a:gd name="connsiteY9" fmla="*/ 4386 h 10000"/>
                <a:gd name="connsiteX10" fmla="*/ 2918 w 9692"/>
                <a:gd name="connsiteY10" fmla="*/ 3647 h 10000"/>
                <a:gd name="connsiteX11" fmla="*/ 3183 w 9692"/>
                <a:gd name="connsiteY11" fmla="*/ 2972 h 10000"/>
                <a:gd name="connsiteX12" fmla="*/ 3449 w 9692"/>
                <a:gd name="connsiteY12" fmla="*/ 2357 h 10000"/>
                <a:gd name="connsiteX13" fmla="*/ 3590 w 9692"/>
                <a:gd name="connsiteY13" fmla="*/ 2048 h 10000"/>
                <a:gd name="connsiteX14" fmla="*/ 3731 w 9692"/>
                <a:gd name="connsiteY14" fmla="*/ 1803 h 10000"/>
                <a:gd name="connsiteX15" fmla="*/ 3885 w 9692"/>
                <a:gd name="connsiteY15" fmla="*/ 1536 h 10000"/>
                <a:gd name="connsiteX16" fmla="*/ 4025 w 9692"/>
                <a:gd name="connsiteY16" fmla="*/ 1312 h 10000"/>
                <a:gd name="connsiteX17" fmla="*/ 4179 w 9692"/>
                <a:gd name="connsiteY17" fmla="*/ 1109 h 10000"/>
                <a:gd name="connsiteX18" fmla="*/ 4334 w 9692"/>
                <a:gd name="connsiteY18" fmla="*/ 922 h 10000"/>
                <a:gd name="connsiteX19" fmla="*/ 4488 w 9692"/>
                <a:gd name="connsiteY19" fmla="*/ 758 h 10000"/>
                <a:gd name="connsiteX20" fmla="*/ 4657 w 9692"/>
                <a:gd name="connsiteY20" fmla="*/ 634 h 10000"/>
                <a:gd name="connsiteX21" fmla="*/ 4811 w 9692"/>
                <a:gd name="connsiteY21" fmla="*/ 512 h 10000"/>
                <a:gd name="connsiteX22" fmla="*/ 4979 w 9692"/>
                <a:gd name="connsiteY22" fmla="*/ 450 h 10000"/>
                <a:gd name="connsiteX23" fmla="*/ 5160 w 9692"/>
                <a:gd name="connsiteY23" fmla="*/ 388 h 10000"/>
                <a:gd name="connsiteX24" fmla="*/ 5343 w 9692"/>
                <a:gd name="connsiteY24" fmla="*/ 388 h 10000"/>
                <a:gd name="connsiteX25" fmla="*/ 5567 w 9692"/>
                <a:gd name="connsiteY25" fmla="*/ 410 h 10000"/>
                <a:gd name="connsiteX26" fmla="*/ 5791 w 9692"/>
                <a:gd name="connsiteY26" fmla="*/ 492 h 10000"/>
                <a:gd name="connsiteX27" fmla="*/ 5988 w 9692"/>
                <a:gd name="connsiteY27" fmla="*/ 634 h 10000"/>
                <a:gd name="connsiteX28" fmla="*/ 6200 w 9692"/>
                <a:gd name="connsiteY28" fmla="*/ 780 h 10000"/>
                <a:gd name="connsiteX29" fmla="*/ 6380 w 9692"/>
                <a:gd name="connsiteY29" fmla="*/ 985 h 10000"/>
                <a:gd name="connsiteX30" fmla="*/ 6578 w 9692"/>
                <a:gd name="connsiteY30" fmla="*/ 1250 h 10000"/>
                <a:gd name="connsiteX31" fmla="*/ 6746 w 9692"/>
                <a:gd name="connsiteY31" fmla="*/ 1536 h 10000"/>
                <a:gd name="connsiteX32" fmla="*/ 6943 w 9692"/>
                <a:gd name="connsiteY32" fmla="*/ 1864 h 10000"/>
                <a:gd name="connsiteX33" fmla="*/ 7098 w 9692"/>
                <a:gd name="connsiteY33" fmla="*/ 2213 h 10000"/>
                <a:gd name="connsiteX34" fmla="*/ 7265 w 9692"/>
                <a:gd name="connsiteY34" fmla="*/ 2602 h 10000"/>
                <a:gd name="connsiteX35" fmla="*/ 7419 w 9692"/>
                <a:gd name="connsiteY35" fmla="*/ 2990 h 10000"/>
                <a:gd name="connsiteX36" fmla="*/ 7600 w 9692"/>
                <a:gd name="connsiteY36" fmla="*/ 3424 h 10000"/>
                <a:gd name="connsiteX37" fmla="*/ 7910 w 9692"/>
                <a:gd name="connsiteY37" fmla="*/ 4344 h 10000"/>
                <a:gd name="connsiteX38" fmla="*/ 8232 w 9692"/>
                <a:gd name="connsiteY38" fmla="*/ 5328 h 10000"/>
                <a:gd name="connsiteX39" fmla="*/ 8877 w 9692"/>
                <a:gd name="connsiteY39" fmla="*/ 7398 h 10000"/>
                <a:gd name="connsiteX40" fmla="*/ 9229 w 9692"/>
                <a:gd name="connsiteY40" fmla="*/ 8464 h 10000"/>
                <a:gd name="connsiteX41" fmla="*/ 9692 w 9692"/>
                <a:gd name="connsiteY41" fmla="*/ 5349 h 10000"/>
                <a:gd name="connsiteX42" fmla="*/ 9383 w 9692"/>
                <a:gd name="connsiteY42" fmla="*/ 4528 h 10000"/>
                <a:gd name="connsiteX43" fmla="*/ 9034 w 9692"/>
                <a:gd name="connsiteY43" fmla="*/ 3730 h 10000"/>
                <a:gd name="connsiteX44" fmla="*/ 8862 w 9692"/>
                <a:gd name="connsiteY44" fmla="*/ 3340 h 10000"/>
                <a:gd name="connsiteX45" fmla="*/ 8681 w 9692"/>
                <a:gd name="connsiteY45" fmla="*/ 2972 h 10000"/>
                <a:gd name="connsiteX46" fmla="*/ 8498 w 9692"/>
                <a:gd name="connsiteY46" fmla="*/ 2602 h 10000"/>
                <a:gd name="connsiteX47" fmla="*/ 8304 w 9692"/>
                <a:gd name="connsiteY47" fmla="*/ 2252 h 10000"/>
                <a:gd name="connsiteX48" fmla="*/ 8107 w 9692"/>
                <a:gd name="connsiteY48" fmla="*/ 1925 h 10000"/>
                <a:gd name="connsiteX49" fmla="*/ 7897 w 9692"/>
                <a:gd name="connsiteY49" fmla="*/ 1641 h 10000"/>
                <a:gd name="connsiteX50" fmla="*/ 7671 w 9692"/>
                <a:gd name="connsiteY50" fmla="*/ 1334 h 10000"/>
                <a:gd name="connsiteX51" fmla="*/ 7462 w 9692"/>
                <a:gd name="connsiteY51" fmla="*/ 1086 h 10000"/>
                <a:gd name="connsiteX52" fmla="*/ 7223 w 9692"/>
                <a:gd name="connsiteY52" fmla="*/ 863 h 10000"/>
                <a:gd name="connsiteX53" fmla="*/ 6984 w 9692"/>
                <a:gd name="connsiteY53" fmla="*/ 656 h 10000"/>
                <a:gd name="connsiteX54" fmla="*/ 6732 w 9692"/>
                <a:gd name="connsiteY54" fmla="*/ 470 h 10000"/>
                <a:gd name="connsiteX55" fmla="*/ 6480 w 9692"/>
                <a:gd name="connsiteY55" fmla="*/ 307 h 10000"/>
                <a:gd name="connsiteX56" fmla="*/ 6214 w 9692"/>
                <a:gd name="connsiteY56" fmla="*/ 184 h 10000"/>
                <a:gd name="connsiteX57" fmla="*/ 5931 w 9692"/>
                <a:gd name="connsiteY57" fmla="*/ 101 h 10000"/>
                <a:gd name="connsiteX58" fmla="*/ 5638 w 9692"/>
                <a:gd name="connsiteY58" fmla="*/ 21 h 10000"/>
                <a:gd name="connsiteX59" fmla="*/ 5343 w 9692"/>
                <a:gd name="connsiteY59" fmla="*/ 0 h 10000"/>
                <a:gd name="connsiteX60" fmla="*/ 5090 w 9692"/>
                <a:gd name="connsiteY60" fmla="*/ 21 h 10000"/>
                <a:gd name="connsiteX61" fmla="*/ 4854 w 9692"/>
                <a:gd name="connsiteY61" fmla="*/ 61 h 10000"/>
                <a:gd name="connsiteX62" fmla="*/ 4615 w 9692"/>
                <a:gd name="connsiteY62" fmla="*/ 124 h 10000"/>
                <a:gd name="connsiteX63" fmla="*/ 4405 w 9692"/>
                <a:gd name="connsiteY63" fmla="*/ 184 h 10000"/>
                <a:gd name="connsiteX64" fmla="*/ 4179 w 9692"/>
                <a:gd name="connsiteY64" fmla="*/ 285 h 10000"/>
                <a:gd name="connsiteX65" fmla="*/ 3954 w 9692"/>
                <a:gd name="connsiteY65" fmla="*/ 388 h 10000"/>
                <a:gd name="connsiteX66" fmla="*/ 3760 w 9692"/>
                <a:gd name="connsiteY66" fmla="*/ 532 h 10000"/>
                <a:gd name="connsiteX67" fmla="*/ 3548 w 9692"/>
                <a:gd name="connsiteY67" fmla="*/ 698 h 10000"/>
                <a:gd name="connsiteX68" fmla="*/ 3367 w 9692"/>
                <a:gd name="connsiteY68" fmla="*/ 881 h 10000"/>
                <a:gd name="connsiteX69" fmla="*/ 3170 w 9692"/>
                <a:gd name="connsiteY69" fmla="*/ 1065 h 10000"/>
                <a:gd name="connsiteX70" fmla="*/ 2988 w 9692"/>
                <a:gd name="connsiteY70" fmla="*/ 1271 h 10000"/>
                <a:gd name="connsiteX71" fmla="*/ 2805 w 9692"/>
                <a:gd name="connsiteY71" fmla="*/ 1497 h 10000"/>
                <a:gd name="connsiteX72" fmla="*/ 2637 w 9692"/>
                <a:gd name="connsiteY72" fmla="*/ 1720 h 10000"/>
                <a:gd name="connsiteX73" fmla="*/ 2454 w 9692"/>
                <a:gd name="connsiteY73" fmla="*/ 1989 h 10000"/>
                <a:gd name="connsiteX74" fmla="*/ 2132 w 9692"/>
                <a:gd name="connsiteY74" fmla="*/ 2540 h 10000"/>
                <a:gd name="connsiteX75" fmla="*/ 1824 w 9692"/>
                <a:gd name="connsiteY75" fmla="*/ 3116 h 10000"/>
                <a:gd name="connsiteX76" fmla="*/ 1530 w 9692"/>
                <a:gd name="connsiteY76" fmla="*/ 3730 h 10000"/>
                <a:gd name="connsiteX77" fmla="*/ 1248 w 9692"/>
                <a:gd name="connsiteY77" fmla="*/ 4386 h 10000"/>
                <a:gd name="connsiteX78" fmla="*/ 982 w 9692"/>
                <a:gd name="connsiteY78" fmla="*/ 5062 h 10000"/>
                <a:gd name="connsiteX79" fmla="*/ 730 w 9692"/>
                <a:gd name="connsiteY79" fmla="*/ 5737 h 10000"/>
                <a:gd name="connsiteX80" fmla="*/ 479 w 9692"/>
                <a:gd name="connsiteY80" fmla="*/ 6455 h 10000"/>
                <a:gd name="connsiteX81" fmla="*/ 0 w 9692"/>
                <a:gd name="connsiteY81" fmla="*/ 7890 h 10000"/>
                <a:gd name="connsiteX0" fmla="*/ 0 w 9687"/>
                <a:gd name="connsiteY0" fmla="*/ 7890 h 10000"/>
                <a:gd name="connsiteX1" fmla="*/ 0 w 9687"/>
                <a:gd name="connsiteY1" fmla="*/ 7890 h 10000"/>
                <a:gd name="connsiteX2" fmla="*/ 362 w 9687"/>
                <a:gd name="connsiteY2" fmla="*/ 8955 h 10000"/>
                <a:gd name="connsiteX3" fmla="*/ 695 w 9687"/>
                <a:gd name="connsiteY3" fmla="*/ 10000 h 10000"/>
                <a:gd name="connsiteX4" fmla="*/ 1028 w 9687"/>
                <a:gd name="connsiteY4" fmla="*/ 9222 h 10000"/>
                <a:gd name="connsiteX5" fmla="*/ 1331 w 9687"/>
                <a:gd name="connsiteY5" fmla="*/ 8403 h 10000"/>
                <a:gd name="connsiteX6" fmla="*/ 1650 w 9687"/>
                <a:gd name="connsiteY6" fmla="*/ 7602 h 10000"/>
                <a:gd name="connsiteX7" fmla="*/ 1924 w 9687"/>
                <a:gd name="connsiteY7" fmla="*/ 6782 h 10000"/>
                <a:gd name="connsiteX8" fmla="*/ 2474 w 9687"/>
                <a:gd name="connsiteY8" fmla="*/ 5165 h 10000"/>
                <a:gd name="connsiteX9" fmla="*/ 2751 w 9687"/>
                <a:gd name="connsiteY9" fmla="*/ 4386 h 10000"/>
                <a:gd name="connsiteX10" fmla="*/ 3011 w 9687"/>
                <a:gd name="connsiteY10" fmla="*/ 3647 h 10000"/>
                <a:gd name="connsiteX11" fmla="*/ 3284 w 9687"/>
                <a:gd name="connsiteY11" fmla="*/ 2972 h 10000"/>
                <a:gd name="connsiteX12" fmla="*/ 3559 w 9687"/>
                <a:gd name="connsiteY12" fmla="*/ 2357 h 10000"/>
                <a:gd name="connsiteX13" fmla="*/ 3704 w 9687"/>
                <a:gd name="connsiteY13" fmla="*/ 2048 h 10000"/>
                <a:gd name="connsiteX14" fmla="*/ 3850 w 9687"/>
                <a:gd name="connsiteY14" fmla="*/ 1803 h 10000"/>
                <a:gd name="connsiteX15" fmla="*/ 4008 w 9687"/>
                <a:gd name="connsiteY15" fmla="*/ 1536 h 10000"/>
                <a:gd name="connsiteX16" fmla="*/ 4153 w 9687"/>
                <a:gd name="connsiteY16" fmla="*/ 1312 h 10000"/>
                <a:gd name="connsiteX17" fmla="*/ 4312 w 9687"/>
                <a:gd name="connsiteY17" fmla="*/ 1109 h 10000"/>
                <a:gd name="connsiteX18" fmla="*/ 4472 w 9687"/>
                <a:gd name="connsiteY18" fmla="*/ 922 h 10000"/>
                <a:gd name="connsiteX19" fmla="*/ 4631 w 9687"/>
                <a:gd name="connsiteY19" fmla="*/ 758 h 10000"/>
                <a:gd name="connsiteX20" fmla="*/ 4805 w 9687"/>
                <a:gd name="connsiteY20" fmla="*/ 634 h 10000"/>
                <a:gd name="connsiteX21" fmla="*/ 4964 w 9687"/>
                <a:gd name="connsiteY21" fmla="*/ 512 h 10000"/>
                <a:gd name="connsiteX22" fmla="*/ 5137 w 9687"/>
                <a:gd name="connsiteY22" fmla="*/ 450 h 10000"/>
                <a:gd name="connsiteX23" fmla="*/ 5324 w 9687"/>
                <a:gd name="connsiteY23" fmla="*/ 388 h 10000"/>
                <a:gd name="connsiteX24" fmla="*/ 5513 w 9687"/>
                <a:gd name="connsiteY24" fmla="*/ 388 h 10000"/>
                <a:gd name="connsiteX25" fmla="*/ 5744 w 9687"/>
                <a:gd name="connsiteY25" fmla="*/ 410 h 10000"/>
                <a:gd name="connsiteX26" fmla="*/ 5975 w 9687"/>
                <a:gd name="connsiteY26" fmla="*/ 492 h 10000"/>
                <a:gd name="connsiteX27" fmla="*/ 6178 w 9687"/>
                <a:gd name="connsiteY27" fmla="*/ 634 h 10000"/>
                <a:gd name="connsiteX28" fmla="*/ 6397 w 9687"/>
                <a:gd name="connsiteY28" fmla="*/ 780 h 10000"/>
                <a:gd name="connsiteX29" fmla="*/ 6583 w 9687"/>
                <a:gd name="connsiteY29" fmla="*/ 985 h 10000"/>
                <a:gd name="connsiteX30" fmla="*/ 6787 w 9687"/>
                <a:gd name="connsiteY30" fmla="*/ 1250 h 10000"/>
                <a:gd name="connsiteX31" fmla="*/ 6960 w 9687"/>
                <a:gd name="connsiteY31" fmla="*/ 1536 h 10000"/>
                <a:gd name="connsiteX32" fmla="*/ 7164 w 9687"/>
                <a:gd name="connsiteY32" fmla="*/ 1864 h 10000"/>
                <a:gd name="connsiteX33" fmla="*/ 7324 w 9687"/>
                <a:gd name="connsiteY33" fmla="*/ 2213 h 10000"/>
                <a:gd name="connsiteX34" fmla="*/ 7496 w 9687"/>
                <a:gd name="connsiteY34" fmla="*/ 2602 h 10000"/>
                <a:gd name="connsiteX35" fmla="*/ 7655 w 9687"/>
                <a:gd name="connsiteY35" fmla="*/ 2990 h 10000"/>
                <a:gd name="connsiteX36" fmla="*/ 7842 w 9687"/>
                <a:gd name="connsiteY36" fmla="*/ 3424 h 10000"/>
                <a:gd name="connsiteX37" fmla="*/ 8161 w 9687"/>
                <a:gd name="connsiteY37" fmla="*/ 4344 h 10000"/>
                <a:gd name="connsiteX38" fmla="*/ 8494 w 9687"/>
                <a:gd name="connsiteY38" fmla="*/ 5328 h 10000"/>
                <a:gd name="connsiteX39" fmla="*/ 9159 w 9687"/>
                <a:gd name="connsiteY39" fmla="*/ 7398 h 10000"/>
                <a:gd name="connsiteX40" fmla="*/ 9522 w 9687"/>
                <a:gd name="connsiteY40" fmla="*/ 8464 h 10000"/>
                <a:gd name="connsiteX41" fmla="*/ 9681 w 9687"/>
                <a:gd name="connsiteY41" fmla="*/ 4528 h 10000"/>
                <a:gd name="connsiteX42" fmla="*/ 9321 w 9687"/>
                <a:gd name="connsiteY42" fmla="*/ 3730 h 10000"/>
                <a:gd name="connsiteX43" fmla="*/ 9144 w 9687"/>
                <a:gd name="connsiteY43" fmla="*/ 3340 h 10000"/>
                <a:gd name="connsiteX44" fmla="*/ 8957 w 9687"/>
                <a:gd name="connsiteY44" fmla="*/ 2972 h 10000"/>
                <a:gd name="connsiteX45" fmla="*/ 8768 w 9687"/>
                <a:gd name="connsiteY45" fmla="*/ 2602 h 10000"/>
                <a:gd name="connsiteX46" fmla="*/ 8568 w 9687"/>
                <a:gd name="connsiteY46" fmla="*/ 2252 h 10000"/>
                <a:gd name="connsiteX47" fmla="*/ 8365 w 9687"/>
                <a:gd name="connsiteY47" fmla="*/ 1925 h 10000"/>
                <a:gd name="connsiteX48" fmla="*/ 8148 w 9687"/>
                <a:gd name="connsiteY48" fmla="*/ 1641 h 10000"/>
                <a:gd name="connsiteX49" fmla="*/ 7915 w 9687"/>
                <a:gd name="connsiteY49" fmla="*/ 1334 h 10000"/>
                <a:gd name="connsiteX50" fmla="*/ 7699 w 9687"/>
                <a:gd name="connsiteY50" fmla="*/ 1086 h 10000"/>
                <a:gd name="connsiteX51" fmla="*/ 7453 w 9687"/>
                <a:gd name="connsiteY51" fmla="*/ 863 h 10000"/>
                <a:gd name="connsiteX52" fmla="*/ 7206 w 9687"/>
                <a:gd name="connsiteY52" fmla="*/ 656 h 10000"/>
                <a:gd name="connsiteX53" fmla="*/ 6946 w 9687"/>
                <a:gd name="connsiteY53" fmla="*/ 470 h 10000"/>
                <a:gd name="connsiteX54" fmla="*/ 6686 w 9687"/>
                <a:gd name="connsiteY54" fmla="*/ 307 h 10000"/>
                <a:gd name="connsiteX55" fmla="*/ 6411 w 9687"/>
                <a:gd name="connsiteY55" fmla="*/ 184 h 10000"/>
                <a:gd name="connsiteX56" fmla="*/ 6119 w 9687"/>
                <a:gd name="connsiteY56" fmla="*/ 101 h 10000"/>
                <a:gd name="connsiteX57" fmla="*/ 5817 w 9687"/>
                <a:gd name="connsiteY57" fmla="*/ 21 h 10000"/>
                <a:gd name="connsiteX58" fmla="*/ 5513 w 9687"/>
                <a:gd name="connsiteY58" fmla="*/ 0 h 10000"/>
                <a:gd name="connsiteX59" fmla="*/ 5252 w 9687"/>
                <a:gd name="connsiteY59" fmla="*/ 21 h 10000"/>
                <a:gd name="connsiteX60" fmla="*/ 5008 w 9687"/>
                <a:gd name="connsiteY60" fmla="*/ 61 h 10000"/>
                <a:gd name="connsiteX61" fmla="*/ 4762 w 9687"/>
                <a:gd name="connsiteY61" fmla="*/ 124 h 10000"/>
                <a:gd name="connsiteX62" fmla="*/ 4545 w 9687"/>
                <a:gd name="connsiteY62" fmla="*/ 184 h 10000"/>
                <a:gd name="connsiteX63" fmla="*/ 4312 w 9687"/>
                <a:gd name="connsiteY63" fmla="*/ 285 h 10000"/>
                <a:gd name="connsiteX64" fmla="*/ 4080 w 9687"/>
                <a:gd name="connsiteY64" fmla="*/ 388 h 10000"/>
                <a:gd name="connsiteX65" fmla="*/ 3879 w 9687"/>
                <a:gd name="connsiteY65" fmla="*/ 532 h 10000"/>
                <a:gd name="connsiteX66" fmla="*/ 3661 w 9687"/>
                <a:gd name="connsiteY66" fmla="*/ 698 h 10000"/>
                <a:gd name="connsiteX67" fmla="*/ 3474 w 9687"/>
                <a:gd name="connsiteY67" fmla="*/ 881 h 10000"/>
                <a:gd name="connsiteX68" fmla="*/ 3271 w 9687"/>
                <a:gd name="connsiteY68" fmla="*/ 1065 h 10000"/>
                <a:gd name="connsiteX69" fmla="*/ 3083 w 9687"/>
                <a:gd name="connsiteY69" fmla="*/ 1271 h 10000"/>
                <a:gd name="connsiteX70" fmla="*/ 2894 w 9687"/>
                <a:gd name="connsiteY70" fmla="*/ 1497 h 10000"/>
                <a:gd name="connsiteX71" fmla="*/ 2721 w 9687"/>
                <a:gd name="connsiteY71" fmla="*/ 1720 h 10000"/>
                <a:gd name="connsiteX72" fmla="*/ 2532 w 9687"/>
                <a:gd name="connsiteY72" fmla="*/ 1989 h 10000"/>
                <a:gd name="connsiteX73" fmla="*/ 2200 w 9687"/>
                <a:gd name="connsiteY73" fmla="*/ 2540 h 10000"/>
                <a:gd name="connsiteX74" fmla="*/ 1882 w 9687"/>
                <a:gd name="connsiteY74" fmla="*/ 3116 h 10000"/>
                <a:gd name="connsiteX75" fmla="*/ 1579 w 9687"/>
                <a:gd name="connsiteY75" fmla="*/ 3730 h 10000"/>
                <a:gd name="connsiteX76" fmla="*/ 1288 w 9687"/>
                <a:gd name="connsiteY76" fmla="*/ 4386 h 10000"/>
                <a:gd name="connsiteX77" fmla="*/ 1013 w 9687"/>
                <a:gd name="connsiteY77" fmla="*/ 5062 h 10000"/>
                <a:gd name="connsiteX78" fmla="*/ 753 w 9687"/>
                <a:gd name="connsiteY78" fmla="*/ 5737 h 10000"/>
                <a:gd name="connsiteX79" fmla="*/ 494 w 9687"/>
                <a:gd name="connsiteY79" fmla="*/ 6455 h 10000"/>
                <a:gd name="connsiteX80" fmla="*/ 0 w 9687"/>
                <a:gd name="connsiteY80" fmla="*/ 7890 h 10000"/>
                <a:gd name="connsiteX0" fmla="*/ 0 w 9994"/>
                <a:gd name="connsiteY0" fmla="*/ 7890 h 10000"/>
                <a:gd name="connsiteX1" fmla="*/ 0 w 9994"/>
                <a:gd name="connsiteY1" fmla="*/ 7890 h 10000"/>
                <a:gd name="connsiteX2" fmla="*/ 374 w 9994"/>
                <a:gd name="connsiteY2" fmla="*/ 8955 h 10000"/>
                <a:gd name="connsiteX3" fmla="*/ 717 w 9994"/>
                <a:gd name="connsiteY3" fmla="*/ 10000 h 10000"/>
                <a:gd name="connsiteX4" fmla="*/ 1061 w 9994"/>
                <a:gd name="connsiteY4" fmla="*/ 9222 h 10000"/>
                <a:gd name="connsiteX5" fmla="*/ 1374 w 9994"/>
                <a:gd name="connsiteY5" fmla="*/ 8403 h 10000"/>
                <a:gd name="connsiteX6" fmla="*/ 1703 w 9994"/>
                <a:gd name="connsiteY6" fmla="*/ 7602 h 10000"/>
                <a:gd name="connsiteX7" fmla="*/ 1986 w 9994"/>
                <a:gd name="connsiteY7" fmla="*/ 6782 h 10000"/>
                <a:gd name="connsiteX8" fmla="*/ 2554 w 9994"/>
                <a:gd name="connsiteY8" fmla="*/ 5165 h 10000"/>
                <a:gd name="connsiteX9" fmla="*/ 2840 w 9994"/>
                <a:gd name="connsiteY9" fmla="*/ 4386 h 10000"/>
                <a:gd name="connsiteX10" fmla="*/ 3108 w 9994"/>
                <a:gd name="connsiteY10" fmla="*/ 3647 h 10000"/>
                <a:gd name="connsiteX11" fmla="*/ 3390 w 9994"/>
                <a:gd name="connsiteY11" fmla="*/ 2972 h 10000"/>
                <a:gd name="connsiteX12" fmla="*/ 3674 w 9994"/>
                <a:gd name="connsiteY12" fmla="*/ 2357 h 10000"/>
                <a:gd name="connsiteX13" fmla="*/ 3824 w 9994"/>
                <a:gd name="connsiteY13" fmla="*/ 2048 h 10000"/>
                <a:gd name="connsiteX14" fmla="*/ 3974 w 9994"/>
                <a:gd name="connsiteY14" fmla="*/ 1803 h 10000"/>
                <a:gd name="connsiteX15" fmla="*/ 4138 w 9994"/>
                <a:gd name="connsiteY15" fmla="*/ 1536 h 10000"/>
                <a:gd name="connsiteX16" fmla="*/ 4287 w 9994"/>
                <a:gd name="connsiteY16" fmla="*/ 1312 h 10000"/>
                <a:gd name="connsiteX17" fmla="*/ 4451 w 9994"/>
                <a:gd name="connsiteY17" fmla="*/ 1109 h 10000"/>
                <a:gd name="connsiteX18" fmla="*/ 4616 w 9994"/>
                <a:gd name="connsiteY18" fmla="*/ 922 h 10000"/>
                <a:gd name="connsiteX19" fmla="*/ 4781 w 9994"/>
                <a:gd name="connsiteY19" fmla="*/ 758 h 10000"/>
                <a:gd name="connsiteX20" fmla="*/ 4960 w 9994"/>
                <a:gd name="connsiteY20" fmla="*/ 634 h 10000"/>
                <a:gd name="connsiteX21" fmla="*/ 5124 w 9994"/>
                <a:gd name="connsiteY21" fmla="*/ 512 h 10000"/>
                <a:gd name="connsiteX22" fmla="*/ 5303 w 9994"/>
                <a:gd name="connsiteY22" fmla="*/ 450 h 10000"/>
                <a:gd name="connsiteX23" fmla="*/ 5496 w 9994"/>
                <a:gd name="connsiteY23" fmla="*/ 388 h 10000"/>
                <a:gd name="connsiteX24" fmla="*/ 5691 w 9994"/>
                <a:gd name="connsiteY24" fmla="*/ 388 h 10000"/>
                <a:gd name="connsiteX25" fmla="*/ 5930 w 9994"/>
                <a:gd name="connsiteY25" fmla="*/ 410 h 10000"/>
                <a:gd name="connsiteX26" fmla="*/ 6168 w 9994"/>
                <a:gd name="connsiteY26" fmla="*/ 492 h 10000"/>
                <a:gd name="connsiteX27" fmla="*/ 6378 w 9994"/>
                <a:gd name="connsiteY27" fmla="*/ 634 h 10000"/>
                <a:gd name="connsiteX28" fmla="*/ 6604 w 9994"/>
                <a:gd name="connsiteY28" fmla="*/ 780 h 10000"/>
                <a:gd name="connsiteX29" fmla="*/ 6796 w 9994"/>
                <a:gd name="connsiteY29" fmla="*/ 985 h 10000"/>
                <a:gd name="connsiteX30" fmla="*/ 7006 w 9994"/>
                <a:gd name="connsiteY30" fmla="*/ 1250 h 10000"/>
                <a:gd name="connsiteX31" fmla="*/ 7185 w 9994"/>
                <a:gd name="connsiteY31" fmla="*/ 1536 h 10000"/>
                <a:gd name="connsiteX32" fmla="*/ 7395 w 9994"/>
                <a:gd name="connsiteY32" fmla="*/ 1864 h 10000"/>
                <a:gd name="connsiteX33" fmla="*/ 7561 w 9994"/>
                <a:gd name="connsiteY33" fmla="*/ 2213 h 10000"/>
                <a:gd name="connsiteX34" fmla="*/ 7738 w 9994"/>
                <a:gd name="connsiteY34" fmla="*/ 2602 h 10000"/>
                <a:gd name="connsiteX35" fmla="*/ 7902 w 9994"/>
                <a:gd name="connsiteY35" fmla="*/ 2990 h 10000"/>
                <a:gd name="connsiteX36" fmla="*/ 8095 w 9994"/>
                <a:gd name="connsiteY36" fmla="*/ 3424 h 10000"/>
                <a:gd name="connsiteX37" fmla="*/ 8425 w 9994"/>
                <a:gd name="connsiteY37" fmla="*/ 4344 h 10000"/>
                <a:gd name="connsiteX38" fmla="*/ 8768 w 9994"/>
                <a:gd name="connsiteY38" fmla="*/ 5328 h 10000"/>
                <a:gd name="connsiteX39" fmla="*/ 9455 w 9994"/>
                <a:gd name="connsiteY39" fmla="*/ 7398 h 10000"/>
                <a:gd name="connsiteX40" fmla="*/ 9994 w 9994"/>
                <a:gd name="connsiteY40" fmla="*/ 4528 h 10000"/>
                <a:gd name="connsiteX41" fmla="*/ 9622 w 9994"/>
                <a:gd name="connsiteY41" fmla="*/ 3730 h 10000"/>
                <a:gd name="connsiteX42" fmla="*/ 9439 w 9994"/>
                <a:gd name="connsiteY42" fmla="*/ 3340 h 10000"/>
                <a:gd name="connsiteX43" fmla="*/ 9246 w 9994"/>
                <a:gd name="connsiteY43" fmla="*/ 2972 h 10000"/>
                <a:gd name="connsiteX44" fmla="*/ 9051 w 9994"/>
                <a:gd name="connsiteY44" fmla="*/ 2602 h 10000"/>
                <a:gd name="connsiteX45" fmla="*/ 8845 w 9994"/>
                <a:gd name="connsiteY45" fmla="*/ 2252 h 10000"/>
                <a:gd name="connsiteX46" fmla="*/ 8635 w 9994"/>
                <a:gd name="connsiteY46" fmla="*/ 1925 h 10000"/>
                <a:gd name="connsiteX47" fmla="*/ 8411 w 9994"/>
                <a:gd name="connsiteY47" fmla="*/ 1641 h 10000"/>
                <a:gd name="connsiteX48" fmla="*/ 8171 w 9994"/>
                <a:gd name="connsiteY48" fmla="*/ 1334 h 10000"/>
                <a:gd name="connsiteX49" fmla="*/ 7948 w 9994"/>
                <a:gd name="connsiteY49" fmla="*/ 1086 h 10000"/>
                <a:gd name="connsiteX50" fmla="*/ 7694 w 9994"/>
                <a:gd name="connsiteY50" fmla="*/ 863 h 10000"/>
                <a:gd name="connsiteX51" fmla="*/ 7439 w 9994"/>
                <a:gd name="connsiteY51" fmla="*/ 656 h 10000"/>
                <a:gd name="connsiteX52" fmla="*/ 7170 w 9994"/>
                <a:gd name="connsiteY52" fmla="*/ 470 h 10000"/>
                <a:gd name="connsiteX53" fmla="*/ 6902 w 9994"/>
                <a:gd name="connsiteY53" fmla="*/ 307 h 10000"/>
                <a:gd name="connsiteX54" fmla="*/ 6618 w 9994"/>
                <a:gd name="connsiteY54" fmla="*/ 184 h 10000"/>
                <a:gd name="connsiteX55" fmla="*/ 6317 w 9994"/>
                <a:gd name="connsiteY55" fmla="*/ 101 h 10000"/>
                <a:gd name="connsiteX56" fmla="*/ 6005 w 9994"/>
                <a:gd name="connsiteY56" fmla="*/ 21 h 10000"/>
                <a:gd name="connsiteX57" fmla="*/ 5691 w 9994"/>
                <a:gd name="connsiteY57" fmla="*/ 0 h 10000"/>
                <a:gd name="connsiteX58" fmla="*/ 5422 w 9994"/>
                <a:gd name="connsiteY58" fmla="*/ 21 h 10000"/>
                <a:gd name="connsiteX59" fmla="*/ 5170 w 9994"/>
                <a:gd name="connsiteY59" fmla="*/ 61 h 10000"/>
                <a:gd name="connsiteX60" fmla="*/ 4916 w 9994"/>
                <a:gd name="connsiteY60" fmla="*/ 124 h 10000"/>
                <a:gd name="connsiteX61" fmla="*/ 4692 w 9994"/>
                <a:gd name="connsiteY61" fmla="*/ 184 h 10000"/>
                <a:gd name="connsiteX62" fmla="*/ 4451 w 9994"/>
                <a:gd name="connsiteY62" fmla="*/ 285 h 10000"/>
                <a:gd name="connsiteX63" fmla="*/ 4212 w 9994"/>
                <a:gd name="connsiteY63" fmla="*/ 388 h 10000"/>
                <a:gd name="connsiteX64" fmla="*/ 4004 w 9994"/>
                <a:gd name="connsiteY64" fmla="*/ 532 h 10000"/>
                <a:gd name="connsiteX65" fmla="*/ 3779 w 9994"/>
                <a:gd name="connsiteY65" fmla="*/ 698 h 10000"/>
                <a:gd name="connsiteX66" fmla="*/ 3586 w 9994"/>
                <a:gd name="connsiteY66" fmla="*/ 881 h 10000"/>
                <a:gd name="connsiteX67" fmla="*/ 3377 w 9994"/>
                <a:gd name="connsiteY67" fmla="*/ 1065 h 10000"/>
                <a:gd name="connsiteX68" fmla="*/ 3183 w 9994"/>
                <a:gd name="connsiteY68" fmla="*/ 1271 h 10000"/>
                <a:gd name="connsiteX69" fmla="*/ 2988 w 9994"/>
                <a:gd name="connsiteY69" fmla="*/ 1497 h 10000"/>
                <a:gd name="connsiteX70" fmla="*/ 2809 w 9994"/>
                <a:gd name="connsiteY70" fmla="*/ 1720 h 10000"/>
                <a:gd name="connsiteX71" fmla="*/ 2614 w 9994"/>
                <a:gd name="connsiteY71" fmla="*/ 1989 h 10000"/>
                <a:gd name="connsiteX72" fmla="*/ 2271 w 9994"/>
                <a:gd name="connsiteY72" fmla="*/ 2540 h 10000"/>
                <a:gd name="connsiteX73" fmla="*/ 1943 w 9994"/>
                <a:gd name="connsiteY73" fmla="*/ 3116 h 10000"/>
                <a:gd name="connsiteX74" fmla="*/ 1630 w 9994"/>
                <a:gd name="connsiteY74" fmla="*/ 3730 h 10000"/>
                <a:gd name="connsiteX75" fmla="*/ 1330 w 9994"/>
                <a:gd name="connsiteY75" fmla="*/ 4386 h 10000"/>
                <a:gd name="connsiteX76" fmla="*/ 1046 w 9994"/>
                <a:gd name="connsiteY76" fmla="*/ 5062 h 10000"/>
                <a:gd name="connsiteX77" fmla="*/ 777 w 9994"/>
                <a:gd name="connsiteY77" fmla="*/ 5737 h 10000"/>
                <a:gd name="connsiteX78" fmla="*/ 510 w 9994"/>
                <a:gd name="connsiteY78" fmla="*/ 6455 h 10000"/>
                <a:gd name="connsiteX79" fmla="*/ 0 w 9994"/>
                <a:gd name="connsiteY7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8773 w 10000"/>
                <a:gd name="connsiteY38" fmla="*/ 5328 h 10000"/>
                <a:gd name="connsiteX39" fmla="*/ 10000 w 10000"/>
                <a:gd name="connsiteY39" fmla="*/ 4528 h 10000"/>
                <a:gd name="connsiteX40" fmla="*/ 9628 w 10000"/>
                <a:gd name="connsiteY40" fmla="*/ 3730 h 10000"/>
                <a:gd name="connsiteX41" fmla="*/ 9445 w 10000"/>
                <a:gd name="connsiteY41" fmla="*/ 3340 h 10000"/>
                <a:gd name="connsiteX42" fmla="*/ 9252 w 10000"/>
                <a:gd name="connsiteY42" fmla="*/ 2972 h 10000"/>
                <a:gd name="connsiteX43" fmla="*/ 9056 w 10000"/>
                <a:gd name="connsiteY43" fmla="*/ 2602 h 10000"/>
                <a:gd name="connsiteX44" fmla="*/ 8850 w 10000"/>
                <a:gd name="connsiteY44" fmla="*/ 2252 h 10000"/>
                <a:gd name="connsiteX45" fmla="*/ 8640 w 10000"/>
                <a:gd name="connsiteY45" fmla="*/ 1925 h 10000"/>
                <a:gd name="connsiteX46" fmla="*/ 8416 w 10000"/>
                <a:gd name="connsiteY46" fmla="*/ 1641 h 10000"/>
                <a:gd name="connsiteX47" fmla="*/ 8176 w 10000"/>
                <a:gd name="connsiteY47" fmla="*/ 1334 h 10000"/>
                <a:gd name="connsiteX48" fmla="*/ 7953 w 10000"/>
                <a:gd name="connsiteY48" fmla="*/ 1086 h 10000"/>
                <a:gd name="connsiteX49" fmla="*/ 7699 w 10000"/>
                <a:gd name="connsiteY49" fmla="*/ 863 h 10000"/>
                <a:gd name="connsiteX50" fmla="*/ 7443 w 10000"/>
                <a:gd name="connsiteY50" fmla="*/ 656 h 10000"/>
                <a:gd name="connsiteX51" fmla="*/ 7174 w 10000"/>
                <a:gd name="connsiteY51" fmla="*/ 470 h 10000"/>
                <a:gd name="connsiteX52" fmla="*/ 6906 w 10000"/>
                <a:gd name="connsiteY52" fmla="*/ 307 h 10000"/>
                <a:gd name="connsiteX53" fmla="*/ 6622 w 10000"/>
                <a:gd name="connsiteY53" fmla="*/ 184 h 10000"/>
                <a:gd name="connsiteX54" fmla="*/ 6321 w 10000"/>
                <a:gd name="connsiteY54" fmla="*/ 101 h 10000"/>
                <a:gd name="connsiteX55" fmla="*/ 6009 w 10000"/>
                <a:gd name="connsiteY55" fmla="*/ 21 h 10000"/>
                <a:gd name="connsiteX56" fmla="*/ 5694 w 10000"/>
                <a:gd name="connsiteY56" fmla="*/ 0 h 10000"/>
                <a:gd name="connsiteX57" fmla="*/ 5425 w 10000"/>
                <a:gd name="connsiteY57" fmla="*/ 21 h 10000"/>
                <a:gd name="connsiteX58" fmla="*/ 5173 w 10000"/>
                <a:gd name="connsiteY58" fmla="*/ 61 h 10000"/>
                <a:gd name="connsiteX59" fmla="*/ 4919 w 10000"/>
                <a:gd name="connsiteY59" fmla="*/ 124 h 10000"/>
                <a:gd name="connsiteX60" fmla="*/ 4695 w 10000"/>
                <a:gd name="connsiteY60" fmla="*/ 184 h 10000"/>
                <a:gd name="connsiteX61" fmla="*/ 4454 w 10000"/>
                <a:gd name="connsiteY61" fmla="*/ 285 h 10000"/>
                <a:gd name="connsiteX62" fmla="*/ 4215 w 10000"/>
                <a:gd name="connsiteY62" fmla="*/ 388 h 10000"/>
                <a:gd name="connsiteX63" fmla="*/ 4006 w 10000"/>
                <a:gd name="connsiteY63" fmla="*/ 532 h 10000"/>
                <a:gd name="connsiteX64" fmla="*/ 3781 w 10000"/>
                <a:gd name="connsiteY64" fmla="*/ 698 h 10000"/>
                <a:gd name="connsiteX65" fmla="*/ 3588 w 10000"/>
                <a:gd name="connsiteY65" fmla="*/ 881 h 10000"/>
                <a:gd name="connsiteX66" fmla="*/ 3379 w 10000"/>
                <a:gd name="connsiteY66" fmla="*/ 1065 h 10000"/>
                <a:gd name="connsiteX67" fmla="*/ 3185 w 10000"/>
                <a:gd name="connsiteY67" fmla="*/ 1271 h 10000"/>
                <a:gd name="connsiteX68" fmla="*/ 2990 w 10000"/>
                <a:gd name="connsiteY68" fmla="*/ 1497 h 10000"/>
                <a:gd name="connsiteX69" fmla="*/ 2811 w 10000"/>
                <a:gd name="connsiteY69" fmla="*/ 1720 h 10000"/>
                <a:gd name="connsiteX70" fmla="*/ 2616 w 10000"/>
                <a:gd name="connsiteY70" fmla="*/ 1989 h 10000"/>
                <a:gd name="connsiteX71" fmla="*/ 2272 w 10000"/>
                <a:gd name="connsiteY71" fmla="*/ 2540 h 10000"/>
                <a:gd name="connsiteX72" fmla="*/ 1944 w 10000"/>
                <a:gd name="connsiteY72" fmla="*/ 3116 h 10000"/>
                <a:gd name="connsiteX73" fmla="*/ 1631 w 10000"/>
                <a:gd name="connsiteY73" fmla="*/ 3730 h 10000"/>
                <a:gd name="connsiteX74" fmla="*/ 1331 w 10000"/>
                <a:gd name="connsiteY74" fmla="*/ 4386 h 10000"/>
                <a:gd name="connsiteX75" fmla="*/ 1047 w 10000"/>
                <a:gd name="connsiteY75" fmla="*/ 5062 h 10000"/>
                <a:gd name="connsiteX76" fmla="*/ 777 w 10000"/>
                <a:gd name="connsiteY76" fmla="*/ 5737 h 10000"/>
                <a:gd name="connsiteX77" fmla="*/ 510 w 10000"/>
                <a:gd name="connsiteY77" fmla="*/ 6455 h 10000"/>
                <a:gd name="connsiteX78" fmla="*/ 0 w 10000"/>
                <a:gd name="connsiteY7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10000 w 10000"/>
                <a:gd name="connsiteY38" fmla="*/ 4528 h 10000"/>
                <a:gd name="connsiteX39" fmla="*/ 9628 w 10000"/>
                <a:gd name="connsiteY39" fmla="*/ 3730 h 10000"/>
                <a:gd name="connsiteX40" fmla="*/ 9445 w 10000"/>
                <a:gd name="connsiteY40" fmla="*/ 3340 h 10000"/>
                <a:gd name="connsiteX41" fmla="*/ 9252 w 10000"/>
                <a:gd name="connsiteY41" fmla="*/ 2972 h 10000"/>
                <a:gd name="connsiteX42" fmla="*/ 9056 w 10000"/>
                <a:gd name="connsiteY42" fmla="*/ 2602 h 10000"/>
                <a:gd name="connsiteX43" fmla="*/ 8850 w 10000"/>
                <a:gd name="connsiteY43" fmla="*/ 2252 h 10000"/>
                <a:gd name="connsiteX44" fmla="*/ 8640 w 10000"/>
                <a:gd name="connsiteY44" fmla="*/ 1925 h 10000"/>
                <a:gd name="connsiteX45" fmla="*/ 8416 w 10000"/>
                <a:gd name="connsiteY45" fmla="*/ 1641 h 10000"/>
                <a:gd name="connsiteX46" fmla="*/ 8176 w 10000"/>
                <a:gd name="connsiteY46" fmla="*/ 1334 h 10000"/>
                <a:gd name="connsiteX47" fmla="*/ 7953 w 10000"/>
                <a:gd name="connsiteY47" fmla="*/ 1086 h 10000"/>
                <a:gd name="connsiteX48" fmla="*/ 7699 w 10000"/>
                <a:gd name="connsiteY48" fmla="*/ 863 h 10000"/>
                <a:gd name="connsiteX49" fmla="*/ 7443 w 10000"/>
                <a:gd name="connsiteY49" fmla="*/ 656 h 10000"/>
                <a:gd name="connsiteX50" fmla="*/ 7174 w 10000"/>
                <a:gd name="connsiteY50" fmla="*/ 470 h 10000"/>
                <a:gd name="connsiteX51" fmla="*/ 6906 w 10000"/>
                <a:gd name="connsiteY51" fmla="*/ 307 h 10000"/>
                <a:gd name="connsiteX52" fmla="*/ 6622 w 10000"/>
                <a:gd name="connsiteY52" fmla="*/ 184 h 10000"/>
                <a:gd name="connsiteX53" fmla="*/ 6321 w 10000"/>
                <a:gd name="connsiteY53" fmla="*/ 101 h 10000"/>
                <a:gd name="connsiteX54" fmla="*/ 6009 w 10000"/>
                <a:gd name="connsiteY54" fmla="*/ 21 h 10000"/>
                <a:gd name="connsiteX55" fmla="*/ 5694 w 10000"/>
                <a:gd name="connsiteY55" fmla="*/ 0 h 10000"/>
                <a:gd name="connsiteX56" fmla="*/ 5425 w 10000"/>
                <a:gd name="connsiteY56" fmla="*/ 21 h 10000"/>
                <a:gd name="connsiteX57" fmla="*/ 5173 w 10000"/>
                <a:gd name="connsiteY57" fmla="*/ 61 h 10000"/>
                <a:gd name="connsiteX58" fmla="*/ 4919 w 10000"/>
                <a:gd name="connsiteY58" fmla="*/ 124 h 10000"/>
                <a:gd name="connsiteX59" fmla="*/ 4695 w 10000"/>
                <a:gd name="connsiteY59" fmla="*/ 184 h 10000"/>
                <a:gd name="connsiteX60" fmla="*/ 4454 w 10000"/>
                <a:gd name="connsiteY60" fmla="*/ 285 h 10000"/>
                <a:gd name="connsiteX61" fmla="*/ 4215 w 10000"/>
                <a:gd name="connsiteY61" fmla="*/ 388 h 10000"/>
                <a:gd name="connsiteX62" fmla="*/ 4006 w 10000"/>
                <a:gd name="connsiteY62" fmla="*/ 532 h 10000"/>
                <a:gd name="connsiteX63" fmla="*/ 3781 w 10000"/>
                <a:gd name="connsiteY63" fmla="*/ 698 h 10000"/>
                <a:gd name="connsiteX64" fmla="*/ 3588 w 10000"/>
                <a:gd name="connsiteY64" fmla="*/ 881 h 10000"/>
                <a:gd name="connsiteX65" fmla="*/ 3379 w 10000"/>
                <a:gd name="connsiteY65" fmla="*/ 1065 h 10000"/>
                <a:gd name="connsiteX66" fmla="*/ 3185 w 10000"/>
                <a:gd name="connsiteY66" fmla="*/ 1271 h 10000"/>
                <a:gd name="connsiteX67" fmla="*/ 2990 w 10000"/>
                <a:gd name="connsiteY67" fmla="*/ 1497 h 10000"/>
                <a:gd name="connsiteX68" fmla="*/ 2811 w 10000"/>
                <a:gd name="connsiteY68" fmla="*/ 1720 h 10000"/>
                <a:gd name="connsiteX69" fmla="*/ 2616 w 10000"/>
                <a:gd name="connsiteY69" fmla="*/ 1989 h 10000"/>
                <a:gd name="connsiteX70" fmla="*/ 2272 w 10000"/>
                <a:gd name="connsiteY70" fmla="*/ 2540 h 10000"/>
                <a:gd name="connsiteX71" fmla="*/ 1944 w 10000"/>
                <a:gd name="connsiteY71" fmla="*/ 3116 h 10000"/>
                <a:gd name="connsiteX72" fmla="*/ 1631 w 10000"/>
                <a:gd name="connsiteY72" fmla="*/ 3730 h 10000"/>
                <a:gd name="connsiteX73" fmla="*/ 1331 w 10000"/>
                <a:gd name="connsiteY73" fmla="*/ 4386 h 10000"/>
                <a:gd name="connsiteX74" fmla="*/ 1047 w 10000"/>
                <a:gd name="connsiteY74" fmla="*/ 5062 h 10000"/>
                <a:gd name="connsiteX75" fmla="*/ 777 w 10000"/>
                <a:gd name="connsiteY75" fmla="*/ 5737 h 10000"/>
                <a:gd name="connsiteX76" fmla="*/ 510 w 10000"/>
                <a:gd name="connsiteY76" fmla="*/ 6455 h 10000"/>
                <a:gd name="connsiteX77" fmla="*/ 0 w 10000"/>
                <a:gd name="connsiteY77" fmla="*/ 7890 h 10000"/>
                <a:gd name="connsiteX0" fmla="*/ 0 w 9628"/>
                <a:gd name="connsiteY0" fmla="*/ 7890 h 10000"/>
                <a:gd name="connsiteX1" fmla="*/ 0 w 9628"/>
                <a:gd name="connsiteY1" fmla="*/ 7890 h 10000"/>
                <a:gd name="connsiteX2" fmla="*/ 374 w 9628"/>
                <a:gd name="connsiteY2" fmla="*/ 8955 h 10000"/>
                <a:gd name="connsiteX3" fmla="*/ 717 w 9628"/>
                <a:gd name="connsiteY3" fmla="*/ 10000 h 10000"/>
                <a:gd name="connsiteX4" fmla="*/ 1062 w 9628"/>
                <a:gd name="connsiteY4" fmla="*/ 9222 h 10000"/>
                <a:gd name="connsiteX5" fmla="*/ 1375 w 9628"/>
                <a:gd name="connsiteY5" fmla="*/ 8403 h 10000"/>
                <a:gd name="connsiteX6" fmla="*/ 1704 w 9628"/>
                <a:gd name="connsiteY6" fmla="*/ 7602 h 10000"/>
                <a:gd name="connsiteX7" fmla="*/ 1987 w 9628"/>
                <a:gd name="connsiteY7" fmla="*/ 6782 h 10000"/>
                <a:gd name="connsiteX8" fmla="*/ 2556 w 9628"/>
                <a:gd name="connsiteY8" fmla="*/ 5165 h 10000"/>
                <a:gd name="connsiteX9" fmla="*/ 2842 w 9628"/>
                <a:gd name="connsiteY9" fmla="*/ 4386 h 10000"/>
                <a:gd name="connsiteX10" fmla="*/ 3110 w 9628"/>
                <a:gd name="connsiteY10" fmla="*/ 3647 h 10000"/>
                <a:gd name="connsiteX11" fmla="*/ 3392 w 9628"/>
                <a:gd name="connsiteY11" fmla="*/ 2972 h 10000"/>
                <a:gd name="connsiteX12" fmla="*/ 3676 w 9628"/>
                <a:gd name="connsiteY12" fmla="*/ 2357 h 10000"/>
                <a:gd name="connsiteX13" fmla="*/ 3826 w 9628"/>
                <a:gd name="connsiteY13" fmla="*/ 2048 h 10000"/>
                <a:gd name="connsiteX14" fmla="*/ 3976 w 9628"/>
                <a:gd name="connsiteY14" fmla="*/ 1803 h 10000"/>
                <a:gd name="connsiteX15" fmla="*/ 4140 w 9628"/>
                <a:gd name="connsiteY15" fmla="*/ 1536 h 10000"/>
                <a:gd name="connsiteX16" fmla="*/ 4290 w 9628"/>
                <a:gd name="connsiteY16" fmla="*/ 1312 h 10000"/>
                <a:gd name="connsiteX17" fmla="*/ 4454 w 9628"/>
                <a:gd name="connsiteY17" fmla="*/ 1109 h 10000"/>
                <a:gd name="connsiteX18" fmla="*/ 4619 w 9628"/>
                <a:gd name="connsiteY18" fmla="*/ 922 h 10000"/>
                <a:gd name="connsiteX19" fmla="*/ 4784 w 9628"/>
                <a:gd name="connsiteY19" fmla="*/ 758 h 10000"/>
                <a:gd name="connsiteX20" fmla="*/ 4963 w 9628"/>
                <a:gd name="connsiteY20" fmla="*/ 634 h 10000"/>
                <a:gd name="connsiteX21" fmla="*/ 5127 w 9628"/>
                <a:gd name="connsiteY21" fmla="*/ 512 h 10000"/>
                <a:gd name="connsiteX22" fmla="*/ 5306 w 9628"/>
                <a:gd name="connsiteY22" fmla="*/ 450 h 10000"/>
                <a:gd name="connsiteX23" fmla="*/ 5499 w 9628"/>
                <a:gd name="connsiteY23" fmla="*/ 388 h 10000"/>
                <a:gd name="connsiteX24" fmla="*/ 5694 w 9628"/>
                <a:gd name="connsiteY24" fmla="*/ 388 h 10000"/>
                <a:gd name="connsiteX25" fmla="*/ 5934 w 9628"/>
                <a:gd name="connsiteY25" fmla="*/ 410 h 10000"/>
                <a:gd name="connsiteX26" fmla="*/ 6172 w 9628"/>
                <a:gd name="connsiteY26" fmla="*/ 492 h 10000"/>
                <a:gd name="connsiteX27" fmla="*/ 6382 w 9628"/>
                <a:gd name="connsiteY27" fmla="*/ 634 h 10000"/>
                <a:gd name="connsiteX28" fmla="*/ 6608 w 9628"/>
                <a:gd name="connsiteY28" fmla="*/ 780 h 10000"/>
                <a:gd name="connsiteX29" fmla="*/ 6800 w 9628"/>
                <a:gd name="connsiteY29" fmla="*/ 985 h 10000"/>
                <a:gd name="connsiteX30" fmla="*/ 7010 w 9628"/>
                <a:gd name="connsiteY30" fmla="*/ 1250 h 10000"/>
                <a:gd name="connsiteX31" fmla="*/ 7189 w 9628"/>
                <a:gd name="connsiteY31" fmla="*/ 1536 h 10000"/>
                <a:gd name="connsiteX32" fmla="*/ 7399 w 9628"/>
                <a:gd name="connsiteY32" fmla="*/ 1864 h 10000"/>
                <a:gd name="connsiteX33" fmla="*/ 7566 w 9628"/>
                <a:gd name="connsiteY33" fmla="*/ 2213 h 10000"/>
                <a:gd name="connsiteX34" fmla="*/ 7743 w 9628"/>
                <a:gd name="connsiteY34" fmla="*/ 2602 h 10000"/>
                <a:gd name="connsiteX35" fmla="*/ 7907 w 9628"/>
                <a:gd name="connsiteY35" fmla="*/ 2990 h 10000"/>
                <a:gd name="connsiteX36" fmla="*/ 8100 w 9628"/>
                <a:gd name="connsiteY36" fmla="*/ 3424 h 10000"/>
                <a:gd name="connsiteX37" fmla="*/ 8430 w 9628"/>
                <a:gd name="connsiteY37" fmla="*/ 4344 h 10000"/>
                <a:gd name="connsiteX38" fmla="*/ 9628 w 9628"/>
                <a:gd name="connsiteY38" fmla="*/ 3730 h 10000"/>
                <a:gd name="connsiteX39" fmla="*/ 9445 w 9628"/>
                <a:gd name="connsiteY39" fmla="*/ 3340 h 10000"/>
                <a:gd name="connsiteX40" fmla="*/ 9252 w 9628"/>
                <a:gd name="connsiteY40" fmla="*/ 2972 h 10000"/>
                <a:gd name="connsiteX41" fmla="*/ 9056 w 9628"/>
                <a:gd name="connsiteY41" fmla="*/ 2602 h 10000"/>
                <a:gd name="connsiteX42" fmla="*/ 8850 w 9628"/>
                <a:gd name="connsiteY42" fmla="*/ 2252 h 10000"/>
                <a:gd name="connsiteX43" fmla="*/ 8640 w 9628"/>
                <a:gd name="connsiteY43" fmla="*/ 1925 h 10000"/>
                <a:gd name="connsiteX44" fmla="*/ 8416 w 9628"/>
                <a:gd name="connsiteY44" fmla="*/ 1641 h 10000"/>
                <a:gd name="connsiteX45" fmla="*/ 8176 w 9628"/>
                <a:gd name="connsiteY45" fmla="*/ 1334 h 10000"/>
                <a:gd name="connsiteX46" fmla="*/ 7953 w 9628"/>
                <a:gd name="connsiteY46" fmla="*/ 1086 h 10000"/>
                <a:gd name="connsiteX47" fmla="*/ 7699 w 9628"/>
                <a:gd name="connsiteY47" fmla="*/ 863 h 10000"/>
                <a:gd name="connsiteX48" fmla="*/ 7443 w 9628"/>
                <a:gd name="connsiteY48" fmla="*/ 656 h 10000"/>
                <a:gd name="connsiteX49" fmla="*/ 7174 w 9628"/>
                <a:gd name="connsiteY49" fmla="*/ 470 h 10000"/>
                <a:gd name="connsiteX50" fmla="*/ 6906 w 9628"/>
                <a:gd name="connsiteY50" fmla="*/ 307 h 10000"/>
                <a:gd name="connsiteX51" fmla="*/ 6622 w 9628"/>
                <a:gd name="connsiteY51" fmla="*/ 184 h 10000"/>
                <a:gd name="connsiteX52" fmla="*/ 6321 w 9628"/>
                <a:gd name="connsiteY52" fmla="*/ 101 h 10000"/>
                <a:gd name="connsiteX53" fmla="*/ 6009 w 9628"/>
                <a:gd name="connsiteY53" fmla="*/ 21 h 10000"/>
                <a:gd name="connsiteX54" fmla="*/ 5694 w 9628"/>
                <a:gd name="connsiteY54" fmla="*/ 0 h 10000"/>
                <a:gd name="connsiteX55" fmla="*/ 5425 w 9628"/>
                <a:gd name="connsiteY55" fmla="*/ 21 h 10000"/>
                <a:gd name="connsiteX56" fmla="*/ 5173 w 9628"/>
                <a:gd name="connsiteY56" fmla="*/ 61 h 10000"/>
                <a:gd name="connsiteX57" fmla="*/ 4919 w 9628"/>
                <a:gd name="connsiteY57" fmla="*/ 124 h 10000"/>
                <a:gd name="connsiteX58" fmla="*/ 4695 w 9628"/>
                <a:gd name="connsiteY58" fmla="*/ 184 h 10000"/>
                <a:gd name="connsiteX59" fmla="*/ 4454 w 9628"/>
                <a:gd name="connsiteY59" fmla="*/ 285 h 10000"/>
                <a:gd name="connsiteX60" fmla="*/ 4215 w 9628"/>
                <a:gd name="connsiteY60" fmla="*/ 388 h 10000"/>
                <a:gd name="connsiteX61" fmla="*/ 4006 w 9628"/>
                <a:gd name="connsiteY61" fmla="*/ 532 h 10000"/>
                <a:gd name="connsiteX62" fmla="*/ 3781 w 9628"/>
                <a:gd name="connsiteY62" fmla="*/ 698 h 10000"/>
                <a:gd name="connsiteX63" fmla="*/ 3588 w 9628"/>
                <a:gd name="connsiteY63" fmla="*/ 881 h 10000"/>
                <a:gd name="connsiteX64" fmla="*/ 3379 w 9628"/>
                <a:gd name="connsiteY64" fmla="*/ 1065 h 10000"/>
                <a:gd name="connsiteX65" fmla="*/ 3185 w 9628"/>
                <a:gd name="connsiteY65" fmla="*/ 1271 h 10000"/>
                <a:gd name="connsiteX66" fmla="*/ 2990 w 9628"/>
                <a:gd name="connsiteY66" fmla="*/ 1497 h 10000"/>
                <a:gd name="connsiteX67" fmla="*/ 2811 w 9628"/>
                <a:gd name="connsiteY67" fmla="*/ 1720 h 10000"/>
                <a:gd name="connsiteX68" fmla="*/ 2616 w 9628"/>
                <a:gd name="connsiteY68" fmla="*/ 1989 h 10000"/>
                <a:gd name="connsiteX69" fmla="*/ 2272 w 9628"/>
                <a:gd name="connsiteY69" fmla="*/ 2540 h 10000"/>
                <a:gd name="connsiteX70" fmla="*/ 1944 w 9628"/>
                <a:gd name="connsiteY70" fmla="*/ 3116 h 10000"/>
                <a:gd name="connsiteX71" fmla="*/ 1631 w 9628"/>
                <a:gd name="connsiteY71" fmla="*/ 3730 h 10000"/>
                <a:gd name="connsiteX72" fmla="*/ 1331 w 9628"/>
                <a:gd name="connsiteY72" fmla="*/ 4386 h 10000"/>
                <a:gd name="connsiteX73" fmla="*/ 1047 w 9628"/>
                <a:gd name="connsiteY73" fmla="*/ 5062 h 10000"/>
                <a:gd name="connsiteX74" fmla="*/ 777 w 9628"/>
                <a:gd name="connsiteY74" fmla="*/ 5737 h 10000"/>
                <a:gd name="connsiteX75" fmla="*/ 510 w 9628"/>
                <a:gd name="connsiteY75" fmla="*/ 6455 h 10000"/>
                <a:gd name="connsiteX76" fmla="*/ 0 w 9628"/>
                <a:gd name="connsiteY7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88 w 10000"/>
                <a:gd name="connsiteY2" fmla="*/ 8955 h 10000"/>
                <a:gd name="connsiteX3" fmla="*/ 745 w 10000"/>
                <a:gd name="connsiteY3" fmla="*/ 10000 h 10000"/>
                <a:gd name="connsiteX4" fmla="*/ 1103 w 10000"/>
                <a:gd name="connsiteY4" fmla="*/ 9222 h 10000"/>
                <a:gd name="connsiteX5" fmla="*/ 1428 w 10000"/>
                <a:gd name="connsiteY5" fmla="*/ 8403 h 10000"/>
                <a:gd name="connsiteX6" fmla="*/ 1770 w 10000"/>
                <a:gd name="connsiteY6" fmla="*/ 7602 h 10000"/>
                <a:gd name="connsiteX7" fmla="*/ 2064 w 10000"/>
                <a:gd name="connsiteY7" fmla="*/ 6782 h 10000"/>
                <a:gd name="connsiteX8" fmla="*/ 2655 w 10000"/>
                <a:gd name="connsiteY8" fmla="*/ 5165 h 10000"/>
                <a:gd name="connsiteX9" fmla="*/ 2952 w 10000"/>
                <a:gd name="connsiteY9" fmla="*/ 4386 h 10000"/>
                <a:gd name="connsiteX10" fmla="*/ 3230 w 10000"/>
                <a:gd name="connsiteY10" fmla="*/ 3647 h 10000"/>
                <a:gd name="connsiteX11" fmla="*/ 3523 w 10000"/>
                <a:gd name="connsiteY11" fmla="*/ 2972 h 10000"/>
                <a:gd name="connsiteX12" fmla="*/ 3818 w 10000"/>
                <a:gd name="connsiteY12" fmla="*/ 2357 h 10000"/>
                <a:gd name="connsiteX13" fmla="*/ 3974 w 10000"/>
                <a:gd name="connsiteY13" fmla="*/ 2048 h 10000"/>
                <a:gd name="connsiteX14" fmla="*/ 4130 w 10000"/>
                <a:gd name="connsiteY14" fmla="*/ 1803 h 10000"/>
                <a:gd name="connsiteX15" fmla="*/ 4300 w 10000"/>
                <a:gd name="connsiteY15" fmla="*/ 1536 h 10000"/>
                <a:gd name="connsiteX16" fmla="*/ 4456 w 10000"/>
                <a:gd name="connsiteY16" fmla="*/ 1312 h 10000"/>
                <a:gd name="connsiteX17" fmla="*/ 4626 w 10000"/>
                <a:gd name="connsiteY17" fmla="*/ 1109 h 10000"/>
                <a:gd name="connsiteX18" fmla="*/ 4797 w 10000"/>
                <a:gd name="connsiteY18" fmla="*/ 922 h 10000"/>
                <a:gd name="connsiteX19" fmla="*/ 4969 w 10000"/>
                <a:gd name="connsiteY19" fmla="*/ 758 h 10000"/>
                <a:gd name="connsiteX20" fmla="*/ 5155 w 10000"/>
                <a:gd name="connsiteY20" fmla="*/ 634 h 10000"/>
                <a:gd name="connsiteX21" fmla="*/ 5325 w 10000"/>
                <a:gd name="connsiteY21" fmla="*/ 512 h 10000"/>
                <a:gd name="connsiteX22" fmla="*/ 5511 w 10000"/>
                <a:gd name="connsiteY22" fmla="*/ 450 h 10000"/>
                <a:gd name="connsiteX23" fmla="*/ 5711 w 10000"/>
                <a:gd name="connsiteY23" fmla="*/ 388 h 10000"/>
                <a:gd name="connsiteX24" fmla="*/ 5914 w 10000"/>
                <a:gd name="connsiteY24" fmla="*/ 388 h 10000"/>
                <a:gd name="connsiteX25" fmla="*/ 6163 w 10000"/>
                <a:gd name="connsiteY25" fmla="*/ 410 h 10000"/>
                <a:gd name="connsiteX26" fmla="*/ 6410 w 10000"/>
                <a:gd name="connsiteY26" fmla="*/ 492 h 10000"/>
                <a:gd name="connsiteX27" fmla="*/ 6629 w 10000"/>
                <a:gd name="connsiteY27" fmla="*/ 634 h 10000"/>
                <a:gd name="connsiteX28" fmla="*/ 6863 w 10000"/>
                <a:gd name="connsiteY28" fmla="*/ 780 h 10000"/>
                <a:gd name="connsiteX29" fmla="*/ 7063 w 10000"/>
                <a:gd name="connsiteY29" fmla="*/ 985 h 10000"/>
                <a:gd name="connsiteX30" fmla="*/ 7281 w 10000"/>
                <a:gd name="connsiteY30" fmla="*/ 1250 h 10000"/>
                <a:gd name="connsiteX31" fmla="*/ 7467 w 10000"/>
                <a:gd name="connsiteY31" fmla="*/ 1536 h 10000"/>
                <a:gd name="connsiteX32" fmla="*/ 7685 w 10000"/>
                <a:gd name="connsiteY32" fmla="*/ 1864 h 10000"/>
                <a:gd name="connsiteX33" fmla="*/ 7858 w 10000"/>
                <a:gd name="connsiteY33" fmla="*/ 2213 h 10000"/>
                <a:gd name="connsiteX34" fmla="*/ 8042 w 10000"/>
                <a:gd name="connsiteY34" fmla="*/ 2602 h 10000"/>
                <a:gd name="connsiteX35" fmla="*/ 8213 w 10000"/>
                <a:gd name="connsiteY35" fmla="*/ 2990 h 10000"/>
                <a:gd name="connsiteX36" fmla="*/ 8413 w 10000"/>
                <a:gd name="connsiteY36" fmla="*/ 3424 h 10000"/>
                <a:gd name="connsiteX37" fmla="*/ 8756 w 10000"/>
                <a:gd name="connsiteY37" fmla="*/ 4344 h 10000"/>
                <a:gd name="connsiteX38" fmla="*/ 10000 w 10000"/>
                <a:gd name="connsiteY38" fmla="*/ 3730 h 10000"/>
                <a:gd name="connsiteX39" fmla="*/ 9810 w 10000"/>
                <a:gd name="connsiteY39" fmla="*/ 3340 h 10000"/>
                <a:gd name="connsiteX40" fmla="*/ 9406 w 10000"/>
                <a:gd name="connsiteY40" fmla="*/ 2602 h 10000"/>
                <a:gd name="connsiteX41" fmla="*/ 9192 w 10000"/>
                <a:gd name="connsiteY41" fmla="*/ 2252 h 10000"/>
                <a:gd name="connsiteX42" fmla="*/ 8974 w 10000"/>
                <a:gd name="connsiteY42" fmla="*/ 1925 h 10000"/>
                <a:gd name="connsiteX43" fmla="*/ 8741 w 10000"/>
                <a:gd name="connsiteY43" fmla="*/ 1641 h 10000"/>
                <a:gd name="connsiteX44" fmla="*/ 8492 w 10000"/>
                <a:gd name="connsiteY44" fmla="*/ 1334 h 10000"/>
                <a:gd name="connsiteX45" fmla="*/ 8260 w 10000"/>
                <a:gd name="connsiteY45" fmla="*/ 1086 h 10000"/>
                <a:gd name="connsiteX46" fmla="*/ 7996 w 10000"/>
                <a:gd name="connsiteY46" fmla="*/ 863 h 10000"/>
                <a:gd name="connsiteX47" fmla="*/ 7731 w 10000"/>
                <a:gd name="connsiteY47" fmla="*/ 656 h 10000"/>
                <a:gd name="connsiteX48" fmla="*/ 7451 w 10000"/>
                <a:gd name="connsiteY48" fmla="*/ 470 h 10000"/>
                <a:gd name="connsiteX49" fmla="*/ 7173 w 10000"/>
                <a:gd name="connsiteY49" fmla="*/ 307 h 10000"/>
                <a:gd name="connsiteX50" fmla="*/ 6878 w 10000"/>
                <a:gd name="connsiteY50" fmla="*/ 184 h 10000"/>
                <a:gd name="connsiteX51" fmla="*/ 6565 w 10000"/>
                <a:gd name="connsiteY51" fmla="*/ 101 h 10000"/>
                <a:gd name="connsiteX52" fmla="*/ 6241 w 10000"/>
                <a:gd name="connsiteY52" fmla="*/ 21 h 10000"/>
                <a:gd name="connsiteX53" fmla="*/ 5914 w 10000"/>
                <a:gd name="connsiteY53" fmla="*/ 0 h 10000"/>
                <a:gd name="connsiteX54" fmla="*/ 5635 w 10000"/>
                <a:gd name="connsiteY54" fmla="*/ 21 h 10000"/>
                <a:gd name="connsiteX55" fmla="*/ 5373 w 10000"/>
                <a:gd name="connsiteY55" fmla="*/ 61 h 10000"/>
                <a:gd name="connsiteX56" fmla="*/ 5109 w 10000"/>
                <a:gd name="connsiteY56" fmla="*/ 124 h 10000"/>
                <a:gd name="connsiteX57" fmla="*/ 4876 w 10000"/>
                <a:gd name="connsiteY57" fmla="*/ 184 h 10000"/>
                <a:gd name="connsiteX58" fmla="*/ 4626 w 10000"/>
                <a:gd name="connsiteY58" fmla="*/ 285 h 10000"/>
                <a:gd name="connsiteX59" fmla="*/ 4378 w 10000"/>
                <a:gd name="connsiteY59" fmla="*/ 388 h 10000"/>
                <a:gd name="connsiteX60" fmla="*/ 4161 w 10000"/>
                <a:gd name="connsiteY60" fmla="*/ 532 h 10000"/>
                <a:gd name="connsiteX61" fmla="*/ 3927 w 10000"/>
                <a:gd name="connsiteY61" fmla="*/ 698 h 10000"/>
                <a:gd name="connsiteX62" fmla="*/ 3727 w 10000"/>
                <a:gd name="connsiteY62" fmla="*/ 881 h 10000"/>
                <a:gd name="connsiteX63" fmla="*/ 3510 w 10000"/>
                <a:gd name="connsiteY63" fmla="*/ 1065 h 10000"/>
                <a:gd name="connsiteX64" fmla="*/ 3308 w 10000"/>
                <a:gd name="connsiteY64" fmla="*/ 1271 h 10000"/>
                <a:gd name="connsiteX65" fmla="*/ 3106 w 10000"/>
                <a:gd name="connsiteY65" fmla="*/ 1497 h 10000"/>
                <a:gd name="connsiteX66" fmla="*/ 2920 w 10000"/>
                <a:gd name="connsiteY66" fmla="*/ 1720 h 10000"/>
                <a:gd name="connsiteX67" fmla="*/ 2717 w 10000"/>
                <a:gd name="connsiteY67" fmla="*/ 1989 h 10000"/>
                <a:gd name="connsiteX68" fmla="*/ 2360 w 10000"/>
                <a:gd name="connsiteY68" fmla="*/ 2540 h 10000"/>
                <a:gd name="connsiteX69" fmla="*/ 2019 w 10000"/>
                <a:gd name="connsiteY69" fmla="*/ 3116 h 10000"/>
                <a:gd name="connsiteX70" fmla="*/ 1694 w 10000"/>
                <a:gd name="connsiteY70" fmla="*/ 3730 h 10000"/>
                <a:gd name="connsiteX71" fmla="*/ 1382 w 10000"/>
                <a:gd name="connsiteY71" fmla="*/ 4386 h 10000"/>
                <a:gd name="connsiteX72" fmla="*/ 1087 w 10000"/>
                <a:gd name="connsiteY72" fmla="*/ 5062 h 10000"/>
                <a:gd name="connsiteX73" fmla="*/ 807 w 10000"/>
                <a:gd name="connsiteY73" fmla="*/ 5737 h 10000"/>
                <a:gd name="connsiteX74" fmla="*/ 530 w 10000"/>
                <a:gd name="connsiteY74" fmla="*/ 6455 h 10000"/>
                <a:gd name="connsiteX75" fmla="*/ 0 w 10000"/>
                <a:gd name="connsiteY75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388 w 10013"/>
                <a:gd name="connsiteY2" fmla="*/ 8955 h 10000"/>
                <a:gd name="connsiteX3" fmla="*/ 745 w 10013"/>
                <a:gd name="connsiteY3" fmla="*/ 10000 h 10000"/>
                <a:gd name="connsiteX4" fmla="*/ 1103 w 10013"/>
                <a:gd name="connsiteY4" fmla="*/ 9222 h 10000"/>
                <a:gd name="connsiteX5" fmla="*/ 1428 w 10013"/>
                <a:gd name="connsiteY5" fmla="*/ 8403 h 10000"/>
                <a:gd name="connsiteX6" fmla="*/ 1770 w 10013"/>
                <a:gd name="connsiteY6" fmla="*/ 7602 h 10000"/>
                <a:gd name="connsiteX7" fmla="*/ 2064 w 10013"/>
                <a:gd name="connsiteY7" fmla="*/ 6782 h 10000"/>
                <a:gd name="connsiteX8" fmla="*/ 2655 w 10013"/>
                <a:gd name="connsiteY8" fmla="*/ 5165 h 10000"/>
                <a:gd name="connsiteX9" fmla="*/ 2952 w 10013"/>
                <a:gd name="connsiteY9" fmla="*/ 4386 h 10000"/>
                <a:gd name="connsiteX10" fmla="*/ 3230 w 10013"/>
                <a:gd name="connsiteY10" fmla="*/ 3647 h 10000"/>
                <a:gd name="connsiteX11" fmla="*/ 3523 w 10013"/>
                <a:gd name="connsiteY11" fmla="*/ 2972 h 10000"/>
                <a:gd name="connsiteX12" fmla="*/ 3818 w 10013"/>
                <a:gd name="connsiteY12" fmla="*/ 2357 h 10000"/>
                <a:gd name="connsiteX13" fmla="*/ 3974 w 10013"/>
                <a:gd name="connsiteY13" fmla="*/ 2048 h 10000"/>
                <a:gd name="connsiteX14" fmla="*/ 4130 w 10013"/>
                <a:gd name="connsiteY14" fmla="*/ 1803 h 10000"/>
                <a:gd name="connsiteX15" fmla="*/ 4300 w 10013"/>
                <a:gd name="connsiteY15" fmla="*/ 1536 h 10000"/>
                <a:gd name="connsiteX16" fmla="*/ 4456 w 10013"/>
                <a:gd name="connsiteY16" fmla="*/ 1312 h 10000"/>
                <a:gd name="connsiteX17" fmla="*/ 4626 w 10013"/>
                <a:gd name="connsiteY17" fmla="*/ 1109 h 10000"/>
                <a:gd name="connsiteX18" fmla="*/ 4797 w 10013"/>
                <a:gd name="connsiteY18" fmla="*/ 922 h 10000"/>
                <a:gd name="connsiteX19" fmla="*/ 4969 w 10013"/>
                <a:gd name="connsiteY19" fmla="*/ 758 h 10000"/>
                <a:gd name="connsiteX20" fmla="*/ 5155 w 10013"/>
                <a:gd name="connsiteY20" fmla="*/ 634 h 10000"/>
                <a:gd name="connsiteX21" fmla="*/ 5325 w 10013"/>
                <a:gd name="connsiteY21" fmla="*/ 512 h 10000"/>
                <a:gd name="connsiteX22" fmla="*/ 5511 w 10013"/>
                <a:gd name="connsiteY22" fmla="*/ 450 h 10000"/>
                <a:gd name="connsiteX23" fmla="*/ 5711 w 10013"/>
                <a:gd name="connsiteY23" fmla="*/ 388 h 10000"/>
                <a:gd name="connsiteX24" fmla="*/ 5914 w 10013"/>
                <a:gd name="connsiteY24" fmla="*/ 388 h 10000"/>
                <a:gd name="connsiteX25" fmla="*/ 6163 w 10013"/>
                <a:gd name="connsiteY25" fmla="*/ 410 h 10000"/>
                <a:gd name="connsiteX26" fmla="*/ 6410 w 10013"/>
                <a:gd name="connsiteY26" fmla="*/ 492 h 10000"/>
                <a:gd name="connsiteX27" fmla="*/ 6629 w 10013"/>
                <a:gd name="connsiteY27" fmla="*/ 634 h 10000"/>
                <a:gd name="connsiteX28" fmla="*/ 6863 w 10013"/>
                <a:gd name="connsiteY28" fmla="*/ 780 h 10000"/>
                <a:gd name="connsiteX29" fmla="*/ 7063 w 10013"/>
                <a:gd name="connsiteY29" fmla="*/ 985 h 10000"/>
                <a:gd name="connsiteX30" fmla="*/ 7281 w 10013"/>
                <a:gd name="connsiteY30" fmla="*/ 1250 h 10000"/>
                <a:gd name="connsiteX31" fmla="*/ 7467 w 10013"/>
                <a:gd name="connsiteY31" fmla="*/ 1536 h 10000"/>
                <a:gd name="connsiteX32" fmla="*/ 7685 w 10013"/>
                <a:gd name="connsiteY32" fmla="*/ 1864 h 10000"/>
                <a:gd name="connsiteX33" fmla="*/ 7858 w 10013"/>
                <a:gd name="connsiteY33" fmla="*/ 2213 h 10000"/>
                <a:gd name="connsiteX34" fmla="*/ 8042 w 10013"/>
                <a:gd name="connsiteY34" fmla="*/ 2602 h 10000"/>
                <a:gd name="connsiteX35" fmla="*/ 8213 w 10013"/>
                <a:gd name="connsiteY35" fmla="*/ 2990 h 10000"/>
                <a:gd name="connsiteX36" fmla="*/ 8413 w 10013"/>
                <a:gd name="connsiteY36" fmla="*/ 3424 h 10000"/>
                <a:gd name="connsiteX37" fmla="*/ 8756 w 10013"/>
                <a:gd name="connsiteY37" fmla="*/ 4344 h 10000"/>
                <a:gd name="connsiteX38" fmla="*/ 10000 w 10013"/>
                <a:gd name="connsiteY38" fmla="*/ 3730 h 10000"/>
                <a:gd name="connsiteX39" fmla="*/ 9406 w 10013"/>
                <a:gd name="connsiteY39" fmla="*/ 2602 h 10000"/>
                <a:gd name="connsiteX40" fmla="*/ 9192 w 10013"/>
                <a:gd name="connsiteY40" fmla="*/ 2252 h 10000"/>
                <a:gd name="connsiteX41" fmla="*/ 8974 w 10013"/>
                <a:gd name="connsiteY41" fmla="*/ 1925 h 10000"/>
                <a:gd name="connsiteX42" fmla="*/ 8741 w 10013"/>
                <a:gd name="connsiteY42" fmla="*/ 1641 h 10000"/>
                <a:gd name="connsiteX43" fmla="*/ 8492 w 10013"/>
                <a:gd name="connsiteY43" fmla="*/ 1334 h 10000"/>
                <a:gd name="connsiteX44" fmla="*/ 8260 w 10013"/>
                <a:gd name="connsiteY44" fmla="*/ 1086 h 10000"/>
                <a:gd name="connsiteX45" fmla="*/ 7996 w 10013"/>
                <a:gd name="connsiteY45" fmla="*/ 863 h 10000"/>
                <a:gd name="connsiteX46" fmla="*/ 7731 w 10013"/>
                <a:gd name="connsiteY46" fmla="*/ 656 h 10000"/>
                <a:gd name="connsiteX47" fmla="*/ 7451 w 10013"/>
                <a:gd name="connsiteY47" fmla="*/ 470 h 10000"/>
                <a:gd name="connsiteX48" fmla="*/ 7173 w 10013"/>
                <a:gd name="connsiteY48" fmla="*/ 307 h 10000"/>
                <a:gd name="connsiteX49" fmla="*/ 6878 w 10013"/>
                <a:gd name="connsiteY49" fmla="*/ 184 h 10000"/>
                <a:gd name="connsiteX50" fmla="*/ 6565 w 10013"/>
                <a:gd name="connsiteY50" fmla="*/ 101 h 10000"/>
                <a:gd name="connsiteX51" fmla="*/ 6241 w 10013"/>
                <a:gd name="connsiteY51" fmla="*/ 21 h 10000"/>
                <a:gd name="connsiteX52" fmla="*/ 5914 w 10013"/>
                <a:gd name="connsiteY52" fmla="*/ 0 h 10000"/>
                <a:gd name="connsiteX53" fmla="*/ 5635 w 10013"/>
                <a:gd name="connsiteY53" fmla="*/ 21 h 10000"/>
                <a:gd name="connsiteX54" fmla="*/ 5373 w 10013"/>
                <a:gd name="connsiteY54" fmla="*/ 61 h 10000"/>
                <a:gd name="connsiteX55" fmla="*/ 5109 w 10013"/>
                <a:gd name="connsiteY55" fmla="*/ 124 h 10000"/>
                <a:gd name="connsiteX56" fmla="*/ 4876 w 10013"/>
                <a:gd name="connsiteY56" fmla="*/ 184 h 10000"/>
                <a:gd name="connsiteX57" fmla="*/ 4626 w 10013"/>
                <a:gd name="connsiteY57" fmla="*/ 285 h 10000"/>
                <a:gd name="connsiteX58" fmla="*/ 4378 w 10013"/>
                <a:gd name="connsiteY58" fmla="*/ 388 h 10000"/>
                <a:gd name="connsiteX59" fmla="*/ 4161 w 10013"/>
                <a:gd name="connsiteY59" fmla="*/ 532 h 10000"/>
                <a:gd name="connsiteX60" fmla="*/ 3927 w 10013"/>
                <a:gd name="connsiteY60" fmla="*/ 698 h 10000"/>
                <a:gd name="connsiteX61" fmla="*/ 3727 w 10013"/>
                <a:gd name="connsiteY61" fmla="*/ 881 h 10000"/>
                <a:gd name="connsiteX62" fmla="*/ 3510 w 10013"/>
                <a:gd name="connsiteY62" fmla="*/ 1065 h 10000"/>
                <a:gd name="connsiteX63" fmla="*/ 3308 w 10013"/>
                <a:gd name="connsiteY63" fmla="*/ 1271 h 10000"/>
                <a:gd name="connsiteX64" fmla="*/ 3106 w 10013"/>
                <a:gd name="connsiteY64" fmla="*/ 1497 h 10000"/>
                <a:gd name="connsiteX65" fmla="*/ 2920 w 10013"/>
                <a:gd name="connsiteY65" fmla="*/ 1720 h 10000"/>
                <a:gd name="connsiteX66" fmla="*/ 2717 w 10013"/>
                <a:gd name="connsiteY66" fmla="*/ 1989 h 10000"/>
                <a:gd name="connsiteX67" fmla="*/ 2360 w 10013"/>
                <a:gd name="connsiteY67" fmla="*/ 2540 h 10000"/>
                <a:gd name="connsiteX68" fmla="*/ 2019 w 10013"/>
                <a:gd name="connsiteY68" fmla="*/ 3116 h 10000"/>
                <a:gd name="connsiteX69" fmla="*/ 1694 w 10013"/>
                <a:gd name="connsiteY69" fmla="*/ 3730 h 10000"/>
                <a:gd name="connsiteX70" fmla="*/ 1382 w 10013"/>
                <a:gd name="connsiteY70" fmla="*/ 4386 h 10000"/>
                <a:gd name="connsiteX71" fmla="*/ 1087 w 10013"/>
                <a:gd name="connsiteY71" fmla="*/ 5062 h 10000"/>
                <a:gd name="connsiteX72" fmla="*/ 807 w 10013"/>
                <a:gd name="connsiteY72" fmla="*/ 5737 h 10000"/>
                <a:gd name="connsiteX73" fmla="*/ 530 w 10013"/>
                <a:gd name="connsiteY73" fmla="*/ 6455 h 10000"/>
                <a:gd name="connsiteX74" fmla="*/ 0 w 10013"/>
                <a:gd name="connsiteY74" fmla="*/ 7890 h 10000"/>
                <a:gd name="connsiteX0" fmla="*/ 0 w 9406"/>
                <a:gd name="connsiteY0" fmla="*/ 7890 h 10000"/>
                <a:gd name="connsiteX1" fmla="*/ 0 w 9406"/>
                <a:gd name="connsiteY1" fmla="*/ 7890 h 10000"/>
                <a:gd name="connsiteX2" fmla="*/ 388 w 9406"/>
                <a:gd name="connsiteY2" fmla="*/ 8955 h 10000"/>
                <a:gd name="connsiteX3" fmla="*/ 745 w 9406"/>
                <a:gd name="connsiteY3" fmla="*/ 10000 h 10000"/>
                <a:gd name="connsiteX4" fmla="*/ 1103 w 9406"/>
                <a:gd name="connsiteY4" fmla="*/ 9222 h 10000"/>
                <a:gd name="connsiteX5" fmla="*/ 1428 w 9406"/>
                <a:gd name="connsiteY5" fmla="*/ 8403 h 10000"/>
                <a:gd name="connsiteX6" fmla="*/ 1770 w 9406"/>
                <a:gd name="connsiteY6" fmla="*/ 7602 h 10000"/>
                <a:gd name="connsiteX7" fmla="*/ 2064 w 9406"/>
                <a:gd name="connsiteY7" fmla="*/ 6782 h 10000"/>
                <a:gd name="connsiteX8" fmla="*/ 2655 w 9406"/>
                <a:gd name="connsiteY8" fmla="*/ 5165 h 10000"/>
                <a:gd name="connsiteX9" fmla="*/ 2952 w 9406"/>
                <a:gd name="connsiteY9" fmla="*/ 4386 h 10000"/>
                <a:gd name="connsiteX10" fmla="*/ 3230 w 9406"/>
                <a:gd name="connsiteY10" fmla="*/ 3647 h 10000"/>
                <a:gd name="connsiteX11" fmla="*/ 3523 w 9406"/>
                <a:gd name="connsiteY11" fmla="*/ 2972 h 10000"/>
                <a:gd name="connsiteX12" fmla="*/ 3818 w 9406"/>
                <a:gd name="connsiteY12" fmla="*/ 2357 h 10000"/>
                <a:gd name="connsiteX13" fmla="*/ 3974 w 9406"/>
                <a:gd name="connsiteY13" fmla="*/ 2048 h 10000"/>
                <a:gd name="connsiteX14" fmla="*/ 4130 w 9406"/>
                <a:gd name="connsiteY14" fmla="*/ 1803 h 10000"/>
                <a:gd name="connsiteX15" fmla="*/ 4300 w 9406"/>
                <a:gd name="connsiteY15" fmla="*/ 1536 h 10000"/>
                <a:gd name="connsiteX16" fmla="*/ 4456 w 9406"/>
                <a:gd name="connsiteY16" fmla="*/ 1312 h 10000"/>
                <a:gd name="connsiteX17" fmla="*/ 4626 w 9406"/>
                <a:gd name="connsiteY17" fmla="*/ 1109 h 10000"/>
                <a:gd name="connsiteX18" fmla="*/ 4797 w 9406"/>
                <a:gd name="connsiteY18" fmla="*/ 922 h 10000"/>
                <a:gd name="connsiteX19" fmla="*/ 4969 w 9406"/>
                <a:gd name="connsiteY19" fmla="*/ 758 h 10000"/>
                <a:gd name="connsiteX20" fmla="*/ 5155 w 9406"/>
                <a:gd name="connsiteY20" fmla="*/ 634 h 10000"/>
                <a:gd name="connsiteX21" fmla="*/ 5325 w 9406"/>
                <a:gd name="connsiteY21" fmla="*/ 512 h 10000"/>
                <a:gd name="connsiteX22" fmla="*/ 5511 w 9406"/>
                <a:gd name="connsiteY22" fmla="*/ 450 h 10000"/>
                <a:gd name="connsiteX23" fmla="*/ 5711 w 9406"/>
                <a:gd name="connsiteY23" fmla="*/ 388 h 10000"/>
                <a:gd name="connsiteX24" fmla="*/ 5914 w 9406"/>
                <a:gd name="connsiteY24" fmla="*/ 388 h 10000"/>
                <a:gd name="connsiteX25" fmla="*/ 6163 w 9406"/>
                <a:gd name="connsiteY25" fmla="*/ 410 h 10000"/>
                <a:gd name="connsiteX26" fmla="*/ 6410 w 9406"/>
                <a:gd name="connsiteY26" fmla="*/ 492 h 10000"/>
                <a:gd name="connsiteX27" fmla="*/ 6629 w 9406"/>
                <a:gd name="connsiteY27" fmla="*/ 634 h 10000"/>
                <a:gd name="connsiteX28" fmla="*/ 6863 w 9406"/>
                <a:gd name="connsiteY28" fmla="*/ 780 h 10000"/>
                <a:gd name="connsiteX29" fmla="*/ 7063 w 9406"/>
                <a:gd name="connsiteY29" fmla="*/ 985 h 10000"/>
                <a:gd name="connsiteX30" fmla="*/ 7281 w 9406"/>
                <a:gd name="connsiteY30" fmla="*/ 1250 h 10000"/>
                <a:gd name="connsiteX31" fmla="*/ 7467 w 9406"/>
                <a:gd name="connsiteY31" fmla="*/ 1536 h 10000"/>
                <a:gd name="connsiteX32" fmla="*/ 7685 w 9406"/>
                <a:gd name="connsiteY32" fmla="*/ 1864 h 10000"/>
                <a:gd name="connsiteX33" fmla="*/ 7858 w 9406"/>
                <a:gd name="connsiteY33" fmla="*/ 2213 h 10000"/>
                <a:gd name="connsiteX34" fmla="*/ 8042 w 9406"/>
                <a:gd name="connsiteY34" fmla="*/ 2602 h 10000"/>
                <a:gd name="connsiteX35" fmla="*/ 8213 w 9406"/>
                <a:gd name="connsiteY35" fmla="*/ 2990 h 10000"/>
                <a:gd name="connsiteX36" fmla="*/ 8413 w 9406"/>
                <a:gd name="connsiteY36" fmla="*/ 3424 h 10000"/>
                <a:gd name="connsiteX37" fmla="*/ 8756 w 9406"/>
                <a:gd name="connsiteY37" fmla="*/ 4344 h 10000"/>
                <a:gd name="connsiteX38" fmla="*/ 9406 w 9406"/>
                <a:gd name="connsiteY38" fmla="*/ 2602 h 10000"/>
                <a:gd name="connsiteX39" fmla="*/ 9192 w 9406"/>
                <a:gd name="connsiteY39" fmla="*/ 2252 h 10000"/>
                <a:gd name="connsiteX40" fmla="*/ 8974 w 9406"/>
                <a:gd name="connsiteY40" fmla="*/ 1925 h 10000"/>
                <a:gd name="connsiteX41" fmla="*/ 8741 w 9406"/>
                <a:gd name="connsiteY41" fmla="*/ 1641 h 10000"/>
                <a:gd name="connsiteX42" fmla="*/ 8492 w 9406"/>
                <a:gd name="connsiteY42" fmla="*/ 1334 h 10000"/>
                <a:gd name="connsiteX43" fmla="*/ 8260 w 9406"/>
                <a:gd name="connsiteY43" fmla="*/ 1086 h 10000"/>
                <a:gd name="connsiteX44" fmla="*/ 7996 w 9406"/>
                <a:gd name="connsiteY44" fmla="*/ 863 h 10000"/>
                <a:gd name="connsiteX45" fmla="*/ 7731 w 9406"/>
                <a:gd name="connsiteY45" fmla="*/ 656 h 10000"/>
                <a:gd name="connsiteX46" fmla="*/ 7451 w 9406"/>
                <a:gd name="connsiteY46" fmla="*/ 470 h 10000"/>
                <a:gd name="connsiteX47" fmla="*/ 7173 w 9406"/>
                <a:gd name="connsiteY47" fmla="*/ 307 h 10000"/>
                <a:gd name="connsiteX48" fmla="*/ 6878 w 9406"/>
                <a:gd name="connsiteY48" fmla="*/ 184 h 10000"/>
                <a:gd name="connsiteX49" fmla="*/ 6565 w 9406"/>
                <a:gd name="connsiteY49" fmla="*/ 101 h 10000"/>
                <a:gd name="connsiteX50" fmla="*/ 6241 w 9406"/>
                <a:gd name="connsiteY50" fmla="*/ 21 h 10000"/>
                <a:gd name="connsiteX51" fmla="*/ 5914 w 9406"/>
                <a:gd name="connsiteY51" fmla="*/ 0 h 10000"/>
                <a:gd name="connsiteX52" fmla="*/ 5635 w 9406"/>
                <a:gd name="connsiteY52" fmla="*/ 21 h 10000"/>
                <a:gd name="connsiteX53" fmla="*/ 5373 w 9406"/>
                <a:gd name="connsiteY53" fmla="*/ 61 h 10000"/>
                <a:gd name="connsiteX54" fmla="*/ 5109 w 9406"/>
                <a:gd name="connsiteY54" fmla="*/ 124 h 10000"/>
                <a:gd name="connsiteX55" fmla="*/ 4876 w 9406"/>
                <a:gd name="connsiteY55" fmla="*/ 184 h 10000"/>
                <a:gd name="connsiteX56" fmla="*/ 4626 w 9406"/>
                <a:gd name="connsiteY56" fmla="*/ 285 h 10000"/>
                <a:gd name="connsiteX57" fmla="*/ 4378 w 9406"/>
                <a:gd name="connsiteY57" fmla="*/ 388 h 10000"/>
                <a:gd name="connsiteX58" fmla="*/ 4161 w 9406"/>
                <a:gd name="connsiteY58" fmla="*/ 532 h 10000"/>
                <a:gd name="connsiteX59" fmla="*/ 3927 w 9406"/>
                <a:gd name="connsiteY59" fmla="*/ 698 h 10000"/>
                <a:gd name="connsiteX60" fmla="*/ 3727 w 9406"/>
                <a:gd name="connsiteY60" fmla="*/ 881 h 10000"/>
                <a:gd name="connsiteX61" fmla="*/ 3510 w 9406"/>
                <a:gd name="connsiteY61" fmla="*/ 1065 h 10000"/>
                <a:gd name="connsiteX62" fmla="*/ 3308 w 9406"/>
                <a:gd name="connsiteY62" fmla="*/ 1271 h 10000"/>
                <a:gd name="connsiteX63" fmla="*/ 3106 w 9406"/>
                <a:gd name="connsiteY63" fmla="*/ 1497 h 10000"/>
                <a:gd name="connsiteX64" fmla="*/ 2920 w 9406"/>
                <a:gd name="connsiteY64" fmla="*/ 1720 h 10000"/>
                <a:gd name="connsiteX65" fmla="*/ 2717 w 9406"/>
                <a:gd name="connsiteY65" fmla="*/ 1989 h 10000"/>
                <a:gd name="connsiteX66" fmla="*/ 2360 w 9406"/>
                <a:gd name="connsiteY66" fmla="*/ 2540 h 10000"/>
                <a:gd name="connsiteX67" fmla="*/ 2019 w 9406"/>
                <a:gd name="connsiteY67" fmla="*/ 3116 h 10000"/>
                <a:gd name="connsiteX68" fmla="*/ 1694 w 9406"/>
                <a:gd name="connsiteY68" fmla="*/ 3730 h 10000"/>
                <a:gd name="connsiteX69" fmla="*/ 1382 w 9406"/>
                <a:gd name="connsiteY69" fmla="*/ 4386 h 10000"/>
                <a:gd name="connsiteX70" fmla="*/ 1087 w 9406"/>
                <a:gd name="connsiteY70" fmla="*/ 5062 h 10000"/>
                <a:gd name="connsiteX71" fmla="*/ 807 w 9406"/>
                <a:gd name="connsiteY71" fmla="*/ 5737 h 10000"/>
                <a:gd name="connsiteX72" fmla="*/ 530 w 9406"/>
                <a:gd name="connsiteY72" fmla="*/ 6455 h 10000"/>
                <a:gd name="connsiteX73" fmla="*/ 0 w 9406"/>
                <a:gd name="connsiteY7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13 w 10000"/>
                <a:gd name="connsiteY2" fmla="*/ 8955 h 10000"/>
                <a:gd name="connsiteX3" fmla="*/ 792 w 10000"/>
                <a:gd name="connsiteY3" fmla="*/ 10000 h 10000"/>
                <a:gd name="connsiteX4" fmla="*/ 1173 w 10000"/>
                <a:gd name="connsiteY4" fmla="*/ 9222 h 10000"/>
                <a:gd name="connsiteX5" fmla="*/ 1518 w 10000"/>
                <a:gd name="connsiteY5" fmla="*/ 8403 h 10000"/>
                <a:gd name="connsiteX6" fmla="*/ 1882 w 10000"/>
                <a:gd name="connsiteY6" fmla="*/ 7602 h 10000"/>
                <a:gd name="connsiteX7" fmla="*/ 2194 w 10000"/>
                <a:gd name="connsiteY7" fmla="*/ 6782 h 10000"/>
                <a:gd name="connsiteX8" fmla="*/ 2823 w 10000"/>
                <a:gd name="connsiteY8" fmla="*/ 5165 h 10000"/>
                <a:gd name="connsiteX9" fmla="*/ 3138 w 10000"/>
                <a:gd name="connsiteY9" fmla="*/ 4386 h 10000"/>
                <a:gd name="connsiteX10" fmla="*/ 3434 w 10000"/>
                <a:gd name="connsiteY10" fmla="*/ 3647 h 10000"/>
                <a:gd name="connsiteX11" fmla="*/ 3745 w 10000"/>
                <a:gd name="connsiteY11" fmla="*/ 2972 h 10000"/>
                <a:gd name="connsiteX12" fmla="*/ 4059 w 10000"/>
                <a:gd name="connsiteY12" fmla="*/ 2357 h 10000"/>
                <a:gd name="connsiteX13" fmla="*/ 4225 w 10000"/>
                <a:gd name="connsiteY13" fmla="*/ 2048 h 10000"/>
                <a:gd name="connsiteX14" fmla="*/ 4391 w 10000"/>
                <a:gd name="connsiteY14" fmla="*/ 1803 h 10000"/>
                <a:gd name="connsiteX15" fmla="*/ 4572 w 10000"/>
                <a:gd name="connsiteY15" fmla="*/ 1536 h 10000"/>
                <a:gd name="connsiteX16" fmla="*/ 4737 w 10000"/>
                <a:gd name="connsiteY16" fmla="*/ 1312 h 10000"/>
                <a:gd name="connsiteX17" fmla="*/ 4918 w 10000"/>
                <a:gd name="connsiteY17" fmla="*/ 1109 h 10000"/>
                <a:gd name="connsiteX18" fmla="*/ 5100 w 10000"/>
                <a:gd name="connsiteY18" fmla="*/ 922 h 10000"/>
                <a:gd name="connsiteX19" fmla="*/ 5283 w 10000"/>
                <a:gd name="connsiteY19" fmla="*/ 758 h 10000"/>
                <a:gd name="connsiteX20" fmla="*/ 5481 w 10000"/>
                <a:gd name="connsiteY20" fmla="*/ 634 h 10000"/>
                <a:gd name="connsiteX21" fmla="*/ 5661 w 10000"/>
                <a:gd name="connsiteY21" fmla="*/ 512 h 10000"/>
                <a:gd name="connsiteX22" fmla="*/ 5859 w 10000"/>
                <a:gd name="connsiteY22" fmla="*/ 450 h 10000"/>
                <a:gd name="connsiteX23" fmla="*/ 6072 w 10000"/>
                <a:gd name="connsiteY23" fmla="*/ 388 h 10000"/>
                <a:gd name="connsiteX24" fmla="*/ 6287 w 10000"/>
                <a:gd name="connsiteY24" fmla="*/ 388 h 10000"/>
                <a:gd name="connsiteX25" fmla="*/ 6552 w 10000"/>
                <a:gd name="connsiteY25" fmla="*/ 410 h 10000"/>
                <a:gd name="connsiteX26" fmla="*/ 6815 w 10000"/>
                <a:gd name="connsiteY26" fmla="*/ 492 h 10000"/>
                <a:gd name="connsiteX27" fmla="*/ 7048 w 10000"/>
                <a:gd name="connsiteY27" fmla="*/ 634 h 10000"/>
                <a:gd name="connsiteX28" fmla="*/ 7296 w 10000"/>
                <a:gd name="connsiteY28" fmla="*/ 780 h 10000"/>
                <a:gd name="connsiteX29" fmla="*/ 7509 w 10000"/>
                <a:gd name="connsiteY29" fmla="*/ 985 h 10000"/>
                <a:gd name="connsiteX30" fmla="*/ 7741 w 10000"/>
                <a:gd name="connsiteY30" fmla="*/ 1250 h 10000"/>
                <a:gd name="connsiteX31" fmla="*/ 7939 w 10000"/>
                <a:gd name="connsiteY31" fmla="*/ 1536 h 10000"/>
                <a:gd name="connsiteX32" fmla="*/ 8170 w 10000"/>
                <a:gd name="connsiteY32" fmla="*/ 1864 h 10000"/>
                <a:gd name="connsiteX33" fmla="*/ 8354 w 10000"/>
                <a:gd name="connsiteY33" fmla="*/ 2213 h 10000"/>
                <a:gd name="connsiteX34" fmla="*/ 8550 w 10000"/>
                <a:gd name="connsiteY34" fmla="*/ 2602 h 10000"/>
                <a:gd name="connsiteX35" fmla="*/ 8732 w 10000"/>
                <a:gd name="connsiteY35" fmla="*/ 2990 h 10000"/>
                <a:gd name="connsiteX36" fmla="*/ 8944 w 10000"/>
                <a:gd name="connsiteY36" fmla="*/ 3424 h 10000"/>
                <a:gd name="connsiteX37" fmla="*/ 10000 w 10000"/>
                <a:gd name="connsiteY37" fmla="*/ 2602 h 10000"/>
                <a:gd name="connsiteX38" fmla="*/ 9772 w 10000"/>
                <a:gd name="connsiteY38" fmla="*/ 2252 h 10000"/>
                <a:gd name="connsiteX39" fmla="*/ 9541 w 10000"/>
                <a:gd name="connsiteY39" fmla="*/ 1925 h 10000"/>
                <a:gd name="connsiteX40" fmla="*/ 9293 w 10000"/>
                <a:gd name="connsiteY40" fmla="*/ 1641 h 10000"/>
                <a:gd name="connsiteX41" fmla="*/ 9028 w 10000"/>
                <a:gd name="connsiteY41" fmla="*/ 1334 h 10000"/>
                <a:gd name="connsiteX42" fmla="*/ 8782 w 10000"/>
                <a:gd name="connsiteY42" fmla="*/ 1086 h 10000"/>
                <a:gd name="connsiteX43" fmla="*/ 8501 w 10000"/>
                <a:gd name="connsiteY43" fmla="*/ 863 h 10000"/>
                <a:gd name="connsiteX44" fmla="*/ 8219 w 10000"/>
                <a:gd name="connsiteY44" fmla="*/ 656 h 10000"/>
                <a:gd name="connsiteX45" fmla="*/ 7922 w 10000"/>
                <a:gd name="connsiteY45" fmla="*/ 470 h 10000"/>
                <a:gd name="connsiteX46" fmla="*/ 7626 w 10000"/>
                <a:gd name="connsiteY46" fmla="*/ 307 h 10000"/>
                <a:gd name="connsiteX47" fmla="*/ 7312 w 10000"/>
                <a:gd name="connsiteY47" fmla="*/ 184 h 10000"/>
                <a:gd name="connsiteX48" fmla="*/ 6980 w 10000"/>
                <a:gd name="connsiteY48" fmla="*/ 101 h 10000"/>
                <a:gd name="connsiteX49" fmla="*/ 6635 w 10000"/>
                <a:gd name="connsiteY49" fmla="*/ 21 h 10000"/>
                <a:gd name="connsiteX50" fmla="*/ 6287 w 10000"/>
                <a:gd name="connsiteY50" fmla="*/ 0 h 10000"/>
                <a:gd name="connsiteX51" fmla="*/ 5991 w 10000"/>
                <a:gd name="connsiteY51" fmla="*/ 21 h 10000"/>
                <a:gd name="connsiteX52" fmla="*/ 5712 w 10000"/>
                <a:gd name="connsiteY52" fmla="*/ 61 h 10000"/>
                <a:gd name="connsiteX53" fmla="*/ 5432 w 10000"/>
                <a:gd name="connsiteY53" fmla="*/ 124 h 10000"/>
                <a:gd name="connsiteX54" fmla="*/ 5184 w 10000"/>
                <a:gd name="connsiteY54" fmla="*/ 184 h 10000"/>
                <a:gd name="connsiteX55" fmla="*/ 4918 w 10000"/>
                <a:gd name="connsiteY55" fmla="*/ 285 h 10000"/>
                <a:gd name="connsiteX56" fmla="*/ 4654 w 10000"/>
                <a:gd name="connsiteY56" fmla="*/ 388 h 10000"/>
                <a:gd name="connsiteX57" fmla="*/ 4424 w 10000"/>
                <a:gd name="connsiteY57" fmla="*/ 532 h 10000"/>
                <a:gd name="connsiteX58" fmla="*/ 4175 w 10000"/>
                <a:gd name="connsiteY58" fmla="*/ 698 h 10000"/>
                <a:gd name="connsiteX59" fmla="*/ 3962 w 10000"/>
                <a:gd name="connsiteY59" fmla="*/ 881 h 10000"/>
                <a:gd name="connsiteX60" fmla="*/ 3732 w 10000"/>
                <a:gd name="connsiteY60" fmla="*/ 1065 h 10000"/>
                <a:gd name="connsiteX61" fmla="*/ 3517 w 10000"/>
                <a:gd name="connsiteY61" fmla="*/ 1271 h 10000"/>
                <a:gd name="connsiteX62" fmla="*/ 3302 w 10000"/>
                <a:gd name="connsiteY62" fmla="*/ 1497 h 10000"/>
                <a:gd name="connsiteX63" fmla="*/ 3104 w 10000"/>
                <a:gd name="connsiteY63" fmla="*/ 1720 h 10000"/>
                <a:gd name="connsiteX64" fmla="*/ 2889 w 10000"/>
                <a:gd name="connsiteY64" fmla="*/ 1989 h 10000"/>
                <a:gd name="connsiteX65" fmla="*/ 2509 w 10000"/>
                <a:gd name="connsiteY65" fmla="*/ 2540 h 10000"/>
                <a:gd name="connsiteX66" fmla="*/ 2147 w 10000"/>
                <a:gd name="connsiteY66" fmla="*/ 3116 h 10000"/>
                <a:gd name="connsiteX67" fmla="*/ 1801 w 10000"/>
                <a:gd name="connsiteY67" fmla="*/ 3730 h 10000"/>
                <a:gd name="connsiteX68" fmla="*/ 1469 w 10000"/>
                <a:gd name="connsiteY68" fmla="*/ 4386 h 10000"/>
                <a:gd name="connsiteX69" fmla="*/ 1156 w 10000"/>
                <a:gd name="connsiteY69" fmla="*/ 5062 h 10000"/>
                <a:gd name="connsiteX70" fmla="*/ 858 w 10000"/>
                <a:gd name="connsiteY70" fmla="*/ 5737 h 10000"/>
                <a:gd name="connsiteX71" fmla="*/ 563 w 10000"/>
                <a:gd name="connsiteY71" fmla="*/ 6455 h 10000"/>
                <a:gd name="connsiteX72" fmla="*/ 0 w 10000"/>
                <a:gd name="connsiteY72" fmla="*/ 7890 h 10000"/>
                <a:gd name="connsiteX0" fmla="*/ 0 w 9772"/>
                <a:gd name="connsiteY0" fmla="*/ 7890 h 10000"/>
                <a:gd name="connsiteX1" fmla="*/ 0 w 9772"/>
                <a:gd name="connsiteY1" fmla="*/ 7890 h 10000"/>
                <a:gd name="connsiteX2" fmla="*/ 413 w 9772"/>
                <a:gd name="connsiteY2" fmla="*/ 8955 h 10000"/>
                <a:gd name="connsiteX3" fmla="*/ 792 w 9772"/>
                <a:gd name="connsiteY3" fmla="*/ 10000 h 10000"/>
                <a:gd name="connsiteX4" fmla="*/ 1173 w 9772"/>
                <a:gd name="connsiteY4" fmla="*/ 9222 h 10000"/>
                <a:gd name="connsiteX5" fmla="*/ 1518 w 9772"/>
                <a:gd name="connsiteY5" fmla="*/ 8403 h 10000"/>
                <a:gd name="connsiteX6" fmla="*/ 1882 w 9772"/>
                <a:gd name="connsiteY6" fmla="*/ 7602 h 10000"/>
                <a:gd name="connsiteX7" fmla="*/ 2194 w 9772"/>
                <a:gd name="connsiteY7" fmla="*/ 6782 h 10000"/>
                <a:gd name="connsiteX8" fmla="*/ 2823 w 9772"/>
                <a:gd name="connsiteY8" fmla="*/ 5165 h 10000"/>
                <a:gd name="connsiteX9" fmla="*/ 3138 w 9772"/>
                <a:gd name="connsiteY9" fmla="*/ 4386 h 10000"/>
                <a:gd name="connsiteX10" fmla="*/ 3434 w 9772"/>
                <a:gd name="connsiteY10" fmla="*/ 3647 h 10000"/>
                <a:gd name="connsiteX11" fmla="*/ 3745 w 9772"/>
                <a:gd name="connsiteY11" fmla="*/ 2972 h 10000"/>
                <a:gd name="connsiteX12" fmla="*/ 4059 w 9772"/>
                <a:gd name="connsiteY12" fmla="*/ 2357 h 10000"/>
                <a:gd name="connsiteX13" fmla="*/ 4225 w 9772"/>
                <a:gd name="connsiteY13" fmla="*/ 2048 h 10000"/>
                <a:gd name="connsiteX14" fmla="*/ 4391 w 9772"/>
                <a:gd name="connsiteY14" fmla="*/ 1803 h 10000"/>
                <a:gd name="connsiteX15" fmla="*/ 4572 w 9772"/>
                <a:gd name="connsiteY15" fmla="*/ 1536 h 10000"/>
                <a:gd name="connsiteX16" fmla="*/ 4737 w 9772"/>
                <a:gd name="connsiteY16" fmla="*/ 1312 h 10000"/>
                <a:gd name="connsiteX17" fmla="*/ 4918 w 9772"/>
                <a:gd name="connsiteY17" fmla="*/ 1109 h 10000"/>
                <a:gd name="connsiteX18" fmla="*/ 5100 w 9772"/>
                <a:gd name="connsiteY18" fmla="*/ 922 h 10000"/>
                <a:gd name="connsiteX19" fmla="*/ 5283 w 9772"/>
                <a:gd name="connsiteY19" fmla="*/ 758 h 10000"/>
                <a:gd name="connsiteX20" fmla="*/ 5481 w 9772"/>
                <a:gd name="connsiteY20" fmla="*/ 634 h 10000"/>
                <a:gd name="connsiteX21" fmla="*/ 5661 w 9772"/>
                <a:gd name="connsiteY21" fmla="*/ 512 h 10000"/>
                <a:gd name="connsiteX22" fmla="*/ 5859 w 9772"/>
                <a:gd name="connsiteY22" fmla="*/ 450 h 10000"/>
                <a:gd name="connsiteX23" fmla="*/ 6072 w 9772"/>
                <a:gd name="connsiteY23" fmla="*/ 388 h 10000"/>
                <a:gd name="connsiteX24" fmla="*/ 6287 w 9772"/>
                <a:gd name="connsiteY24" fmla="*/ 388 h 10000"/>
                <a:gd name="connsiteX25" fmla="*/ 6552 w 9772"/>
                <a:gd name="connsiteY25" fmla="*/ 410 h 10000"/>
                <a:gd name="connsiteX26" fmla="*/ 6815 w 9772"/>
                <a:gd name="connsiteY26" fmla="*/ 492 h 10000"/>
                <a:gd name="connsiteX27" fmla="*/ 7048 w 9772"/>
                <a:gd name="connsiteY27" fmla="*/ 634 h 10000"/>
                <a:gd name="connsiteX28" fmla="*/ 7296 w 9772"/>
                <a:gd name="connsiteY28" fmla="*/ 780 h 10000"/>
                <a:gd name="connsiteX29" fmla="*/ 7509 w 9772"/>
                <a:gd name="connsiteY29" fmla="*/ 985 h 10000"/>
                <a:gd name="connsiteX30" fmla="*/ 7741 w 9772"/>
                <a:gd name="connsiteY30" fmla="*/ 1250 h 10000"/>
                <a:gd name="connsiteX31" fmla="*/ 7939 w 9772"/>
                <a:gd name="connsiteY31" fmla="*/ 1536 h 10000"/>
                <a:gd name="connsiteX32" fmla="*/ 8170 w 9772"/>
                <a:gd name="connsiteY32" fmla="*/ 1864 h 10000"/>
                <a:gd name="connsiteX33" fmla="*/ 8354 w 9772"/>
                <a:gd name="connsiteY33" fmla="*/ 2213 h 10000"/>
                <a:gd name="connsiteX34" fmla="*/ 8550 w 9772"/>
                <a:gd name="connsiteY34" fmla="*/ 2602 h 10000"/>
                <a:gd name="connsiteX35" fmla="*/ 8732 w 9772"/>
                <a:gd name="connsiteY35" fmla="*/ 2990 h 10000"/>
                <a:gd name="connsiteX36" fmla="*/ 8944 w 9772"/>
                <a:gd name="connsiteY36" fmla="*/ 3424 h 10000"/>
                <a:gd name="connsiteX37" fmla="*/ 9772 w 9772"/>
                <a:gd name="connsiteY37" fmla="*/ 2252 h 10000"/>
                <a:gd name="connsiteX38" fmla="*/ 9541 w 9772"/>
                <a:gd name="connsiteY38" fmla="*/ 1925 h 10000"/>
                <a:gd name="connsiteX39" fmla="*/ 9293 w 9772"/>
                <a:gd name="connsiteY39" fmla="*/ 1641 h 10000"/>
                <a:gd name="connsiteX40" fmla="*/ 9028 w 9772"/>
                <a:gd name="connsiteY40" fmla="*/ 1334 h 10000"/>
                <a:gd name="connsiteX41" fmla="*/ 8782 w 9772"/>
                <a:gd name="connsiteY41" fmla="*/ 1086 h 10000"/>
                <a:gd name="connsiteX42" fmla="*/ 8501 w 9772"/>
                <a:gd name="connsiteY42" fmla="*/ 863 h 10000"/>
                <a:gd name="connsiteX43" fmla="*/ 8219 w 9772"/>
                <a:gd name="connsiteY43" fmla="*/ 656 h 10000"/>
                <a:gd name="connsiteX44" fmla="*/ 7922 w 9772"/>
                <a:gd name="connsiteY44" fmla="*/ 470 h 10000"/>
                <a:gd name="connsiteX45" fmla="*/ 7626 w 9772"/>
                <a:gd name="connsiteY45" fmla="*/ 307 h 10000"/>
                <a:gd name="connsiteX46" fmla="*/ 7312 w 9772"/>
                <a:gd name="connsiteY46" fmla="*/ 184 h 10000"/>
                <a:gd name="connsiteX47" fmla="*/ 6980 w 9772"/>
                <a:gd name="connsiteY47" fmla="*/ 101 h 10000"/>
                <a:gd name="connsiteX48" fmla="*/ 6635 w 9772"/>
                <a:gd name="connsiteY48" fmla="*/ 21 h 10000"/>
                <a:gd name="connsiteX49" fmla="*/ 6287 w 9772"/>
                <a:gd name="connsiteY49" fmla="*/ 0 h 10000"/>
                <a:gd name="connsiteX50" fmla="*/ 5991 w 9772"/>
                <a:gd name="connsiteY50" fmla="*/ 21 h 10000"/>
                <a:gd name="connsiteX51" fmla="*/ 5712 w 9772"/>
                <a:gd name="connsiteY51" fmla="*/ 61 h 10000"/>
                <a:gd name="connsiteX52" fmla="*/ 5432 w 9772"/>
                <a:gd name="connsiteY52" fmla="*/ 124 h 10000"/>
                <a:gd name="connsiteX53" fmla="*/ 5184 w 9772"/>
                <a:gd name="connsiteY53" fmla="*/ 184 h 10000"/>
                <a:gd name="connsiteX54" fmla="*/ 4918 w 9772"/>
                <a:gd name="connsiteY54" fmla="*/ 285 h 10000"/>
                <a:gd name="connsiteX55" fmla="*/ 4654 w 9772"/>
                <a:gd name="connsiteY55" fmla="*/ 388 h 10000"/>
                <a:gd name="connsiteX56" fmla="*/ 4424 w 9772"/>
                <a:gd name="connsiteY56" fmla="*/ 532 h 10000"/>
                <a:gd name="connsiteX57" fmla="*/ 4175 w 9772"/>
                <a:gd name="connsiteY57" fmla="*/ 698 h 10000"/>
                <a:gd name="connsiteX58" fmla="*/ 3962 w 9772"/>
                <a:gd name="connsiteY58" fmla="*/ 881 h 10000"/>
                <a:gd name="connsiteX59" fmla="*/ 3732 w 9772"/>
                <a:gd name="connsiteY59" fmla="*/ 1065 h 10000"/>
                <a:gd name="connsiteX60" fmla="*/ 3517 w 9772"/>
                <a:gd name="connsiteY60" fmla="*/ 1271 h 10000"/>
                <a:gd name="connsiteX61" fmla="*/ 3302 w 9772"/>
                <a:gd name="connsiteY61" fmla="*/ 1497 h 10000"/>
                <a:gd name="connsiteX62" fmla="*/ 3104 w 9772"/>
                <a:gd name="connsiteY62" fmla="*/ 1720 h 10000"/>
                <a:gd name="connsiteX63" fmla="*/ 2889 w 9772"/>
                <a:gd name="connsiteY63" fmla="*/ 1989 h 10000"/>
                <a:gd name="connsiteX64" fmla="*/ 2509 w 9772"/>
                <a:gd name="connsiteY64" fmla="*/ 2540 h 10000"/>
                <a:gd name="connsiteX65" fmla="*/ 2147 w 9772"/>
                <a:gd name="connsiteY65" fmla="*/ 3116 h 10000"/>
                <a:gd name="connsiteX66" fmla="*/ 1801 w 9772"/>
                <a:gd name="connsiteY66" fmla="*/ 3730 h 10000"/>
                <a:gd name="connsiteX67" fmla="*/ 1469 w 9772"/>
                <a:gd name="connsiteY67" fmla="*/ 4386 h 10000"/>
                <a:gd name="connsiteX68" fmla="*/ 1156 w 9772"/>
                <a:gd name="connsiteY68" fmla="*/ 5062 h 10000"/>
                <a:gd name="connsiteX69" fmla="*/ 858 w 9772"/>
                <a:gd name="connsiteY69" fmla="*/ 5737 h 10000"/>
                <a:gd name="connsiteX70" fmla="*/ 563 w 9772"/>
                <a:gd name="connsiteY70" fmla="*/ 6455 h 10000"/>
                <a:gd name="connsiteX71" fmla="*/ 0 w 9772"/>
                <a:gd name="connsiteY7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23 w 10000"/>
                <a:gd name="connsiteY2" fmla="*/ 8955 h 10000"/>
                <a:gd name="connsiteX3" fmla="*/ 810 w 10000"/>
                <a:gd name="connsiteY3" fmla="*/ 10000 h 10000"/>
                <a:gd name="connsiteX4" fmla="*/ 1200 w 10000"/>
                <a:gd name="connsiteY4" fmla="*/ 9222 h 10000"/>
                <a:gd name="connsiteX5" fmla="*/ 1553 w 10000"/>
                <a:gd name="connsiteY5" fmla="*/ 8403 h 10000"/>
                <a:gd name="connsiteX6" fmla="*/ 1926 w 10000"/>
                <a:gd name="connsiteY6" fmla="*/ 7602 h 10000"/>
                <a:gd name="connsiteX7" fmla="*/ 2245 w 10000"/>
                <a:gd name="connsiteY7" fmla="*/ 6782 h 10000"/>
                <a:gd name="connsiteX8" fmla="*/ 2889 w 10000"/>
                <a:gd name="connsiteY8" fmla="*/ 5165 h 10000"/>
                <a:gd name="connsiteX9" fmla="*/ 3211 w 10000"/>
                <a:gd name="connsiteY9" fmla="*/ 4386 h 10000"/>
                <a:gd name="connsiteX10" fmla="*/ 3514 w 10000"/>
                <a:gd name="connsiteY10" fmla="*/ 3647 h 10000"/>
                <a:gd name="connsiteX11" fmla="*/ 3832 w 10000"/>
                <a:gd name="connsiteY11" fmla="*/ 2972 h 10000"/>
                <a:gd name="connsiteX12" fmla="*/ 4154 w 10000"/>
                <a:gd name="connsiteY12" fmla="*/ 2357 h 10000"/>
                <a:gd name="connsiteX13" fmla="*/ 4324 w 10000"/>
                <a:gd name="connsiteY13" fmla="*/ 2048 h 10000"/>
                <a:gd name="connsiteX14" fmla="*/ 4493 w 10000"/>
                <a:gd name="connsiteY14" fmla="*/ 1803 h 10000"/>
                <a:gd name="connsiteX15" fmla="*/ 4679 w 10000"/>
                <a:gd name="connsiteY15" fmla="*/ 1536 h 10000"/>
                <a:gd name="connsiteX16" fmla="*/ 4848 w 10000"/>
                <a:gd name="connsiteY16" fmla="*/ 1312 h 10000"/>
                <a:gd name="connsiteX17" fmla="*/ 5033 w 10000"/>
                <a:gd name="connsiteY17" fmla="*/ 1109 h 10000"/>
                <a:gd name="connsiteX18" fmla="*/ 5219 w 10000"/>
                <a:gd name="connsiteY18" fmla="*/ 922 h 10000"/>
                <a:gd name="connsiteX19" fmla="*/ 5406 w 10000"/>
                <a:gd name="connsiteY19" fmla="*/ 758 h 10000"/>
                <a:gd name="connsiteX20" fmla="*/ 5609 w 10000"/>
                <a:gd name="connsiteY20" fmla="*/ 634 h 10000"/>
                <a:gd name="connsiteX21" fmla="*/ 5793 w 10000"/>
                <a:gd name="connsiteY21" fmla="*/ 512 h 10000"/>
                <a:gd name="connsiteX22" fmla="*/ 5996 w 10000"/>
                <a:gd name="connsiteY22" fmla="*/ 450 h 10000"/>
                <a:gd name="connsiteX23" fmla="*/ 6214 w 10000"/>
                <a:gd name="connsiteY23" fmla="*/ 388 h 10000"/>
                <a:gd name="connsiteX24" fmla="*/ 6434 w 10000"/>
                <a:gd name="connsiteY24" fmla="*/ 388 h 10000"/>
                <a:gd name="connsiteX25" fmla="*/ 6705 w 10000"/>
                <a:gd name="connsiteY25" fmla="*/ 410 h 10000"/>
                <a:gd name="connsiteX26" fmla="*/ 6974 w 10000"/>
                <a:gd name="connsiteY26" fmla="*/ 492 h 10000"/>
                <a:gd name="connsiteX27" fmla="*/ 7212 w 10000"/>
                <a:gd name="connsiteY27" fmla="*/ 634 h 10000"/>
                <a:gd name="connsiteX28" fmla="*/ 7466 w 10000"/>
                <a:gd name="connsiteY28" fmla="*/ 780 h 10000"/>
                <a:gd name="connsiteX29" fmla="*/ 7684 w 10000"/>
                <a:gd name="connsiteY29" fmla="*/ 985 h 10000"/>
                <a:gd name="connsiteX30" fmla="*/ 7922 w 10000"/>
                <a:gd name="connsiteY30" fmla="*/ 1250 h 10000"/>
                <a:gd name="connsiteX31" fmla="*/ 8124 w 10000"/>
                <a:gd name="connsiteY31" fmla="*/ 1536 h 10000"/>
                <a:gd name="connsiteX32" fmla="*/ 8361 w 10000"/>
                <a:gd name="connsiteY32" fmla="*/ 1864 h 10000"/>
                <a:gd name="connsiteX33" fmla="*/ 8549 w 10000"/>
                <a:gd name="connsiteY33" fmla="*/ 2213 h 10000"/>
                <a:gd name="connsiteX34" fmla="*/ 8749 w 10000"/>
                <a:gd name="connsiteY34" fmla="*/ 2602 h 10000"/>
                <a:gd name="connsiteX35" fmla="*/ 8936 w 10000"/>
                <a:gd name="connsiteY35" fmla="*/ 2990 h 10000"/>
                <a:gd name="connsiteX36" fmla="*/ 10000 w 10000"/>
                <a:gd name="connsiteY36" fmla="*/ 2252 h 10000"/>
                <a:gd name="connsiteX37" fmla="*/ 9764 w 10000"/>
                <a:gd name="connsiteY37" fmla="*/ 1925 h 10000"/>
                <a:gd name="connsiteX38" fmla="*/ 9510 w 10000"/>
                <a:gd name="connsiteY38" fmla="*/ 1641 h 10000"/>
                <a:gd name="connsiteX39" fmla="*/ 9239 w 10000"/>
                <a:gd name="connsiteY39" fmla="*/ 1334 h 10000"/>
                <a:gd name="connsiteX40" fmla="*/ 8987 w 10000"/>
                <a:gd name="connsiteY40" fmla="*/ 1086 h 10000"/>
                <a:gd name="connsiteX41" fmla="*/ 8699 w 10000"/>
                <a:gd name="connsiteY41" fmla="*/ 863 h 10000"/>
                <a:gd name="connsiteX42" fmla="*/ 8411 w 10000"/>
                <a:gd name="connsiteY42" fmla="*/ 656 h 10000"/>
                <a:gd name="connsiteX43" fmla="*/ 8107 w 10000"/>
                <a:gd name="connsiteY43" fmla="*/ 470 h 10000"/>
                <a:gd name="connsiteX44" fmla="*/ 7804 w 10000"/>
                <a:gd name="connsiteY44" fmla="*/ 307 h 10000"/>
                <a:gd name="connsiteX45" fmla="*/ 7483 w 10000"/>
                <a:gd name="connsiteY45" fmla="*/ 184 h 10000"/>
                <a:gd name="connsiteX46" fmla="*/ 7143 w 10000"/>
                <a:gd name="connsiteY46" fmla="*/ 101 h 10000"/>
                <a:gd name="connsiteX47" fmla="*/ 6790 w 10000"/>
                <a:gd name="connsiteY47" fmla="*/ 21 h 10000"/>
                <a:gd name="connsiteX48" fmla="*/ 6434 w 10000"/>
                <a:gd name="connsiteY48" fmla="*/ 0 h 10000"/>
                <a:gd name="connsiteX49" fmla="*/ 6131 w 10000"/>
                <a:gd name="connsiteY49" fmla="*/ 21 h 10000"/>
                <a:gd name="connsiteX50" fmla="*/ 5845 w 10000"/>
                <a:gd name="connsiteY50" fmla="*/ 61 h 10000"/>
                <a:gd name="connsiteX51" fmla="*/ 5559 w 10000"/>
                <a:gd name="connsiteY51" fmla="*/ 124 h 10000"/>
                <a:gd name="connsiteX52" fmla="*/ 5305 w 10000"/>
                <a:gd name="connsiteY52" fmla="*/ 184 h 10000"/>
                <a:gd name="connsiteX53" fmla="*/ 5033 w 10000"/>
                <a:gd name="connsiteY53" fmla="*/ 285 h 10000"/>
                <a:gd name="connsiteX54" fmla="*/ 4763 w 10000"/>
                <a:gd name="connsiteY54" fmla="*/ 388 h 10000"/>
                <a:gd name="connsiteX55" fmla="*/ 4527 w 10000"/>
                <a:gd name="connsiteY55" fmla="*/ 532 h 10000"/>
                <a:gd name="connsiteX56" fmla="*/ 4272 w 10000"/>
                <a:gd name="connsiteY56" fmla="*/ 698 h 10000"/>
                <a:gd name="connsiteX57" fmla="*/ 4054 w 10000"/>
                <a:gd name="connsiteY57" fmla="*/ 881 h 10000"/>
                <a:gd name="connsiteX58" fmla="*/ 3819 w 10000"/>
                <a:gd name="connsiteY58" fmla="*/ 1065 h 10000"/>
                <a:gd name="connsiteX59" fmla="*/ 3599 w 10000"/>
                <a:gd name="connsiteY59" fmla="*/ 1271 h 10000"/>
                <a:gd name="connsiteX60" fmla="*/ 3379 w 10000"/>
                <a:gd name="connsiteY60" fmla="*/ 1497 h 10000"/>
                <a:gd name="connsiteX61" fmla="*/ 3176 w 10000"/>
                <a:gd name="connsiteY61" fmla="*/ 1720 h 10000"/>
                <a:gd name="connsiteX62" fmla="*/ 2956 w 10000"/>
                <a:gd name="connsiteY62" fmla="*/ 1989 h 10000"/>
                <a:gd name="connsiteX63" fmla="*/ 2568 w 10000"/>
                <a:gd name="connsiteY63" fmla="*/ 2540 h 10000"/>
                <a:gd name="connsiteX64" fmla="*/ 2197 w 10000"/>
                <a:gd name="connsiteY64" fmla="*/ 3116 h 10000"/>
                <a:gd name="connsiteX65" fmla="*/ 1843 w 10000"/>
                <a:gd name="connsiteY65" fmla="*/ 3730 h 10000"/>
                <a:gd name="connsiteX66" fmla="*/ 1503 w 10000"/>
                <a:gd name="connsiteY66" fmla="*/ 4386 h 10000"/>
                <a:gd name="connsiteX67" fmla="*/ 1183 w 10000"/>
                <a:gd name="connsiteY67" fmla="*/ 5062 h 10000"/>
                <a:gd name="connsiteX68" fmla="*/ 878 w 10000"/>
                <a:gd name="connsiteY68" fmla="*/ 5737 h 10000"/>
                <a:gd name="connsiteX69" fmla="*/ 576 w 10000"/>
                <a:gd name="connsiteY69" fmla="*/ 6455 h 10000"/>
                <a:gd name="connsiteX70" fmla="*/ 0 w 10000"/>
                <a:gd name="connsiteY70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423 w 10013"/>
                <a:gd name="connsiteY2" fmla="*/ 8955 h 10000"/>
                <a:gd name="connsiteX3" fmla="*/ 810 w 10013"/>
                <a:gd name="connsiteY3" fmla="*/ 10000 h 10000"/>
                <a:gd name="connsiteX4" fmla="*/ 1200 w 10013"/>
                <a:gd name="connsiteY4" fmla="*/ 9222 h 10000"/>
                <a:gd name="connsiteX5" fmla="*/ 1553 w 10013"/>
                <a:gd name="connsiteY5" fmla="*/ 8403 h 10000"/>
                <a:gd name="connsiteX6" fmla="*/ 1926 w 10013"/>
                <a:gd name="connsiteY6" fmla="*/ 7602 h 10000"/>
                <a:gd name="connsiteX7" fmla="*/ 2245 w 10013"/>
                <a:gd name="connsiteY7" fmla="*/ 6782 h 10000"/>
                <a:gd name="connsiteX8" fmla="*/ 2889 w 10013"/>
                <a:gd name="connsiteY8" fmla="*/ 5165 h 10000"/>
                <a:gd name="connsiteX9" fmla="*/ 3211 w 10013"/>
                <a:gd name="connsiteY9" fmla="*/ 4386 h 10000"/>
                <a:gd name="connsiteX10" fmla="*/ 3514 w 10013"/>
                <a:gd name="connsiteY10" fmla="*/ 3647 h 10000"/>
                <a:gd name="connsiteX11" fmla="*/ 3832 w 10013"/>
                <a:gd name="connsiteY11" fmla="*/ 2972 h 10000"/>
                <a:gd name="connsiteX12" fmla="*/ 4154 w 10013"/>
                <a:gd name="connsiteY12" fmla="*/ 2357 h 10000"/>
                <a:gd name="connsiteX13" fmla="*/ 4324 w 10013"/>
                <a:gd name="connsiteY13" fmla="*/ 2048 h 10000"/>
                <a:gd name="connsiteX14" fmla="*/ 4493 w 10013"/>
                <a:gd name="connsiteY14" fmla="*/ 1803 h 10000"/>
                <a:gd name="connsiteX15" fmla="*/ 4679 w 10013"/>
                <a:gd name="connsiteY15" fmla="*/ 1536 h 10000"/>
                <a:gd name="connsiteX16" fmla="*/ 4848 w 10013"/>
                <a:gd name="connsiteY16" fmla="*/ 1312 h 10000"/>
                <a:gd name="connsiteX17" fmla="*/ 5033 w 10013"/>
                <a:gd name="connsiteY17" fmla="*/ 1109 h 10000"/>
                <a:gd name="connsiteX18" fmla="*/ 5219 w 10013"/>
                <a:gd name="connsiteY18" fmla="*/ 922 h 10000"/>
                <a:gd name="connsiteX19" fmla="*/ 5406 w 10013"/>
                <a:gd name="connsiteY19" fmla="*/ 758 h 10000"/>
                <a:gd name="connsiteX20" fmla="*/ 5609 w 10013"/>
                <a:gd name="connsiteY20" fmla="*/ 634 h 10000"/>
                <a:gd name="connsiteX21" fmla="*/ 5793 w 10013"/>
                <a:gd name="connsiteY21" fmla="*/ 512 h 10000"/>
                <a:gd name="connsiteX22" fmla="*/ 5996 w 10013"/>
                <a:gd name="connsiteY22" fmla="*/ 450 h 10000"/>
                <a:gd name="connsiteX23" fmla="*/ 6214 w 10013"/>
                <a:gd name="connsiteY23" fmla="*/ 388 h 10000"/>
                <a:gd name="connsiteX24" fmla="*/ 6434 w 10013"/>
                <a:gd name="connsiteY24" fmla="*/ 388 h 10000"/>
                <a:gd name="connsiteX25" fmla="*/ 6705 w 10013"/>
                <a:gd name="connsiteY25" fmla="*/ 410 h 10000"/>
                <a:gd name="connsiteX26" fmla="*/ 6974 w 10013"/>
                <a:gd name="connsiteY26" fmla="*/ 492 h 10000"/>
                <a:gd name="connsiteX27" fmla="*/ 7212 w 10013"/>
                <a:gd name="connsiteY27" fmla="*/ 634 h 10000"/>
                <a:gd name="connsiteX28" fmla="*/ 7466 w 10013"/>
                <a:gd name="connsiteY28" fmla="*/ 780 h 10000"/>
                <a:gd name="connsiteX29" fmla="*/ 7684 w 10013"/>
                <a:gd name="connsiteY29" fmla="*/ 985 h 10000"/>
                <a:gd name="connsiteX30" fmla="*/ 7922 w 10013"/>
                <a:gd name="connsiteY30" fmla="*/ 1250 h 10000"/>
                <a:gd name="connsiteX31" fmla="*/ 8124 w 10013"/>
                <a:gd name="connsiteY31" fmla="*/ 1536 h 10000"/>
                <a:gd name="connsiteX32" fmla="*/ 8361 w 10013"/>
                <a:gd name="connsiteY32" fmla="*/ 1864 h 10000"/>
                <a:gd name="connsiteX33" fmla="*/ 8549 w 10013"/>
                <a:gd name="connsiteY33" fmla="*/ 2213 h 10000"/>
                <a:gd name="connsiteX34" fmla="*/ 8749 w 10013"/>
                <a:gd name="connsiteY34" fmla="*/ 2602 h 10000"/>
                <a:gd name="connsiteX35" fmla="*/ 8936 w 10013"/>
                <a:gd name="connsiteY35" fmla="*/ 2990 h 10000"/>
                <a:gd name="connsiteX36" fmla="*/ 10000 w 10013"/>
                <a:gd name="connsiteY36" fmla="*/ 2252 h 10000"/>
                <a:gd name="connsiteX37" fmla="*/ 9510 w 10013"/>
                <a:gd name="connsiteY37" fmla="*/ 1641 h 10000"/>
                <a:gd name="connsiteX38" fmla="*/ 9239 w 10013"/>
                <a:gd name="connsiteY38" fmla="*/ 1334 h 10000"/>
                <a:gd name="connsiteX39" fmla="*/ 8987 w 10013"/>
                <a:gd name="connsiteY39" fmla="*/ 1086 h 10000"/>
                <a:gd name="connsiteX40" fmla="*/ 8699 w 10013"/>
                <a:gd name="connsiteY40" fmla="*/ 863 h 10000"/>
                <a:gd name="connsiteX41" fmla="*/ 8411 w 10013"/>
                <a:gd name="connsiteY41" fmla="*/ 656 h 10000"/>
                <a:gd name="connsiteX42" fmla="*/ 8107 w 10013"/>
                <a:gd name="connsiteY42" fmla="*/ 470 h 10000"/>
                <a:gd name="connsiteX43" fmla="*/ 7804 w 10013"/>
                <a:gd name="connsiteY43" fmla="*/ 307 h 10000"/>
                <a:gd name="connsiteX44" fmla="*/ 7483 w 10013"/>
                <a:gd name="connsiteY44" fmla="*/ 184 h 10000"/>
                <a:gd name="connsiteX45" fmla="*/ 7143 w 10013"/>
                <a:gd name="connsiteY45" fmla="*/ 101 h 10000"/>
                <a:gd name="connsiteX46" fmla="*/ 6790 w 10013"/>
                <a:gd name="connsiteY46" fmla="*/ 21 h 10000"/>
                <a:gd name="connsiteX47" fmla="*/ 6434 w 10013"/>
                <a:gd name="connsiteY47" fmla="*/ 0 h 10000"/>
                <a:gd name="connsiteX48" fmla="*/ 6131 w 10013"/>
                <a:gd name="connsiteY48" fmla="*/ 21 h 10000"/>
                <a:gd name="connsiteX49" fmla="*/ 5845 w 10013"/>
                <a:gd name="connsiteY49" fmla="*/ 61 h 10000"/>
                <a:gd name="connsiteX50" fmla="*/ 5559 w 10013"/>
                <a:gd name="connsiteY50" fmla="*/ 124 h 10000"/>
                <a:gd name="connsiteX51" fmla="*/ 5305 w 10013"/>
                <a:gd name="connsiteY51" fmla="*/ 184 h 10000"/>
                <a:gd name="connsiteX52" fmla="*/ 5033 w 10013"/>
                <a:gd name="connsiteY52" fmla="*/ 285 h 10000"/>
                <a:gd name="connsiteX53" fmla="*/ 4763 w 10013"/>
                <a:gd name="connsiteY53" fmla="*/ 388 h 10000"/>
                <a:gd name="connsiteX54" fmla="*/ 4527 w 10013"/>
                <a:gd name="connsiteY54" fmla="*/ 532 h 10000"/>
                <a:gd name="connsiteX55" fmla="*/ 4272 w 10013"/>
                <a:gd name="connsiteY55" fmla="*/ 698 h 10000"/>
                <a:gd name="connsiteX56" fmla="*/ 4054 w 10013"/>
                <a:gd name="connsiteY56" fmla="*/ 881 h 10000"/>
                <a:gd name="connsiteX57" fmla="*/ 3819 w 10013"/>
                <a:gd name="connsiteY57" fmla="*/ 1065 h 10000"/>
                <a:gd name="connsiteX58" fmla="*/ 3599 w 10013"/>
                <a:gd name="connsiteY58" fmla="*/ 1271 h 10000"/>
                <a:gd name="connsiteX59" fmla="*/ 3379 w 10013"/>
                <a:gd name="connsiteY59" fmla="*/ 1497 h 10000"/>
                <a:gd name="connsiteX60" fmla="*/ 3176 w 10013"/>
                <a:gd name="connsiteY60" fmla="*/ 1720 h 10000"/>
                <a:gd name="connsiteX61" fmla="*/ 2956 w 10013"/>
                <a:gd name="connsiteY61" fmla="*/ 1989 h 10000"/>
                <a:gd name="connsiteX62" fmla="*/ 2568 w 10013"/>
                <a:gd name="connsiteY62" fmla="*/ 2540 h 10000"/>
                <a:gd name="connsiteX63" fmla="*/ 2197 w 10013"/>
                <a:gd name="connsiteY63" fmla="*/ 3116 h 10000"/>
                <a:gd name="connsiteX64" fmla="*/ 1843 w 10013"/>
                <a:gd name="connsiteY64" fmla="*/ 3730 h 10000"/>
                <a:gd name="connsiteX65" fmla="*/ 1503 w 10013"/>
                <a:gd name="connsiteY65" fmla="*/ 4386 h 10000"/>
                <a:gd name="connsiteX66" fmla="*/ 1183 w 10013"/>
                <a:gd name="connsiteY66" fmla="*/ 5062 h 10000"/>
                <a:gd name="connsiteX67" fmla="*/ 878 w 10013"/>
                <a:gd name="connsiteY67" fmla="*/ 5737 h 10000"/>
                <a:gd name="connsiteX68" fmla="*/ 576 w 10013"/>
                <a:gd name="connsiteY68" fmla="*/ 6455 h 10000"/>
                <a:gd name="connsiteX69" fmla="*/ 0 w 10013"/>
                <a:gd name="connsiteY69" fmla="*/ 7890 h 10000"/>
                <a:gd name="connsiteX0" fmla="*/ 0 w 9510"/>
                <a:gd name="connsiteY0" fmla="*/ 7890 h 10000"/>
                <a:gd name="connsiteX1" fmla="*/ 0 w 9510"/>
                <a:gd name="connsiteY1" fmla="*/ 7890 h 10000"/>
                <a:gd name="connsiteX2" fmla="*/ 423 w 9510"/>
                <a:gd name="connsiteY2" fmla="*/ 8955 h 10000"/>
                <a:gd name="connsiteX3" fmla="*/ 810 w 9510"/>
                <a:gd name="connsiteY3" fmla="*/ 10000 h 10000"/>
                <a:gd name="connsiteX4" fmla="*/ 1200 w 9510"/>
                <a:gd name="connsiteY4" fmla="*/ 9222 h 10000"/>
                <a:gd name="connsiteX5" fmla="*/ 1553 w 9510"/>
                <a:gd name="connsiteY5" fmla="*/ 8403 h 10000"/>
                <a:gd name="connsiteX6" fmla="*/ 1926 w 9510"/>
                <a:gd name="connsiteY6" fmla="*/ 7602 h 10000"/>
                <a:gd name="connsiteX7" fmla="*/ 2245 w 9510"/>
                <a:gd name="connsiteY7" fmla="*/ 6782 h 10000"/>
                <a:gd name="connsiteX8" fmla="*/ 2889 w 9510"/>
                <a:gd name="connsiteY8" fmla="*/ 5165 h 10000"/>
                <a:gd name="connsiteX9" fmla="*/ 3211 w 9510"/>
                <a:gd name="connsiteY9" fmla="*/ 4386 h 10000"/>
                <a:gd name="connsiteX10" fmla="*/ 3514 w 9510"/>
                <a:gd name="connsiteY10" fmla="*/ 3647 h 10000"/>
                <a:gd name="connsiteX11" fmla="*/ 3832 w 9510"/>
                <a:gd name="connsiteY11" fmla="*/ 2972 h 10000"/>
                <a:gd name="connsiteX12" fmla="*/ 4154 w 9510"/>
                <a:gd name="connsiteY12" fmla="*/ 2357 h 10000"/>
                <a:gd name="connsiteX13" fmla="*/ 4324 w 9510"/>
                <a:gd name="connsiteY13" fmla="*/ 2048 h 10000"/>
                <a:gd name="connsiteX14" fmla="*/ 4493 w 9510"/>
                <a:gd name="connsiteY14" fmla="*/ 1803 h 10000"/>
                <a:gd name="connsiteX15" fmla="*/ 4679 w 9510"/>
                <a:gd name="connsiteY15" fmla="*/ 1536 h 10000"/>
                <a:gd name="connsiteX16" fmla="*/ 4848 w 9510"/>
                <a:gd name="connsiteY16" fmla="*/ 1312 h 10000"/>
                <a:gd name="connsiteX17" fmla="*/ 5033 w 9510"/>
                <a:gd name="connsiteY17" fmla="*/ 1109 h 10000"/>
                <a:gd name="connsiteX18" fmla="*/ 5219 w 9510"/>
                <a:gd name="connsiteY18" fmla="*/ 922 h 10000"/>
                <a:gd name="connsiteX19" fmla="*/ 5406 w 9510"/>
                <a:gd name="connsiteY19" fmla="*/ 758 h 10000"/>
                <a:gd name="connsiteX20" fmla="*/ 5609 w 9510"/>
                <a:gd name="connsiteY20" fmla="*/ 634 h 10000"/>
                <a:gd name="connsiteX21" fmla="*/ 5793 w 9510"/>
                <a:gd name="connsiteY21" fmla="*/ 512 h 10000"/>
                <a:gd name="connsiteX22" fmla="*/ 5996 w 9510"/>
                <a:gd name="connsiteY22" fmla="*/ 450 h 10000"/>
                <a:gd name="connsiteX23" fmla="*/ 6214 w 9510"/>
                <a:gd name="connsiteY23" fmla="*/ 388 h 10000"/>
                <a:gd name="connsiteX24" fmla="*/ 6434 w 9510"/>
                <a:gd name="connsiteY24" fmla="*/ 388 h 10000"/>
                <a:gd name="connsiteX25" fmla="*/ 6705 w 9510"/>
                <a:gd name="connsiteY25" fmla="*/ 410 h 10000"/>
                <a:gd name="connsiteX26" fmla="*/ 6974 w 9510"/>
                <a:gd name="connsiteY26" fmla="*/ 492 h 10000"/>
                <a:gd name="connsiteX27" fmla="*/ 7212 w 9510"/>
                <a:gd name="connsiteY27" fmla="*/ 634 h 10000"/>
                <a:gd name="connsiteX28" fmla="*/ 7466 w 9510"/>
                <a:gd name="connsiteY28" fmla="*/ 780 h 10000"/>
                <a:gd name="connsiteX29" fmla="*/ 7684 w 9510"/>
                <a:gd name="connsiteY29" fmla="*/ 985 h 10000"/>
                <a:gd name="connsiteX30" fmla="*/ 7922 w 9510"/>
                <a:gd name="connsiteY30" fmla="*/ 1250 h 10000"/>
                <a:gd name="connsiteX31" fmla="*/ 8124 w 9510"/>
                <a:gd name="connsiteY31" fmla="*/ 1536 h 10000"/>
                <a:gd name="connsiteX32" fmla="*/ 8361 w 9510"/>
                <a:gd name="connsiteY32" fmla="*/ 1864 h 10000"/>
                <a:gd name="connsiteX33" fmla="*/ 8549 w 9510"/>
                <a:gd name="connsiteY33" fmla="*/ 2213 h 10000"/>
                <a:gd name="connsiteX34" fmla="*/ 8749 w 9510"/>
                <a:gd name="connsiteY34" fmla="*/ 2602 h 10000"/>
                <a:gd name="connsiteX35" fmla="*/ 8936 w 9510"/>
                <a:gd name="connsiteY35" fmla="*/ 2990 h 10000"/>
                <a:gd name="connsiteX36" fmla="*/ 9510 w 9510"/>
                <a:gd name="connsiteY36" fmla="*/ 1641 h 10000"/>
                <a:gd name="connsiteX37" fmla="*/ 9239 w 9510"/>
                <a:gd name="connsiteY37" fmla="*/ 1334 h 10000"/>
                <a:gd name="connsiteX38" fmla="*/ 8987 w 9510"/>
                <a:gd name="connsiteY38" fmla="*/ 1086 h 10000"/>
                <a:gd name="connsiteX39" fmla="*/ 8699 w 9510"/>
                <a:gd name="connsiteY39" fmla="*/ 863 h 10000"/>
                <a:gd name="connsiteX40" fmla="*/ 8411 w 9510"/>
                <a:gd name="connsiteY40" fmla="*/ 656 h 10000"/>
                <a:gd name="connsiteX41" fmla="*/ 8107 w 9510"/>
                <a:gd name="connsiteY41" fmla="*/ 470 h 10000"/>
                <a:gd name="connsiteX42" fmla="*/ 7804 w 9510"/>
                <a:gd name="connsiteY42" fmla="*/ 307 h 10000"/>
                <a:gd name="connsiteX43" fmla="*/ 7483 w 9510"/>
                <a:gd name="connsiteY43" fmla="*/ 184 h 10000"/>
                <a:gd name="connsiteX44" fmla="*/ 7143 w 9510"/>
                <a:gd name="connsiteY44" fmla="*/ 101 h 10000"/>
                <a:gd name="connsiteX45" fmla="*/ 6790 w 9510"/>
                <a:gd name="connsiteY45" fmla="*/ 21 h 10000"/>
                <a:gd name="connsiteX46" fmla="*/ 6434 w 9510"/>
                <a:gd name="connsiteY46" fmla="*/ 0 h 10000"/>
                <a:gd name="connsiteX47" fmla="*/ 6131 w 9510"/>
                <a:gd name="connsiteY47" fmla="*/ 21 h 10000"/>
                <a:gd name="connsiteX48" fmla="*/ 5845 w 9510"/>
                <a:gd name="connsiteY48" fmla="*/ 61 h 10000"/>
                <a:gd name="connsiteX49" fmla="*/ 5559 w 9510"/>
                <a:gd name="connsiteY49" fmla="*/ 124 h 10000"/>
                <a:gd name="connsiteX50" fmla="*/ 5305 w 9510"/>
                <a:gd name="connsiteY50" fmla="*/ 184 h 10000"/>
                <a:gd name="connsiteX51" fmla="*/ 5033 w 9510"/>
                <a:gd name="connsiteY51" fmla="*/ 285 h 10000"/>
                <a:gd name="connsiteX52" fmla="*/ 4763 w 9510"/>
                <a:gd name="connsiteY52" fmla="*/ 388 h 10000"/>
                <a:gd name="connsiteX53" fmla="*/ 4527 w 9510"/>
                <a:gd name="connsiteY53" fmla="*/ 532 h 10000"/>
                <a:gd name="connsiteX54" fmla="*/ 4272 w 9510"/>
                <a:gd name="connsiteY54" fmla="*/ 698 h 10000"/>
                <a:gd name="connsiteX55" fmla="*/ 4054 w 9510"/>
                <a:gd name="connsiteY55" fmla="*/ 881 h 10000"/>
                <a:gd name="connsiteX56" fmla="*/ 3819 w 9510"/>
                <a:gd name="connsiteY56" fmla="*/ 1065 h 10000"/>
                <a:gd name="connsiteX57" fmla="*/ 3599 w 9510"/>
                <a:gd name="connsiteY57" fmla="*/ 1271 h 10000"/>
                <a:gd name="connsiteX58" fmla="*/ 3379 w 9510"/>
                <a:gd name="connsiteY58" fmla="*/ 1497 h 10000"/>
                <a:gd name="connsiteX59" fmla="*/ 3176 w 9510"/>
                <a:gd name="connsiteY59" fmla="*/ 1720 h 10000"/>
                <a:gd name="connsiteX60" fmla="*/ 2956 w 9510"/>
                <a:gd name="connsiteY60" fmla="*/ 1989 h 10000"/>
                <a:gd name="connsiteX61" fmla="*/ 2568 w 9510"/>
                <a:gd name="connsiteY61" fmla="*/ 2540 h 10000"/>
                <a:gd name="connsiteX62" fmla="*/ 2197 w 9510"/>
                <a:gd name="connsiteY62" fmla="*/ 3116 h 10000"/>
                <a:gd name="connsiteX63" fmla="*/ 1843 w 9510"/>
                <a:gd name="connsiteY63" fmla="*/ 3730 h 10000"/>
                <a:gd name="connsiteX64" fmla="*/ 1503 w 9510"/>
                <a:gd name="connsiteY64" fmla="*/ 4386 h 10000"/>
                <a:gd name="connsiteX65" fmla="*/ 1183 w 9510"/>
                <a:gd name="connsiteY65" fmla="*/ 5062 h 10000"/>
                <a:gd name="connsiteX66" fmla="*/ 878 w 9510"/>
                <a:gd name="connsiteY66" fmla="*/ 5737 h 10000"/>
                <a:gd name="connsiteX67" fmla="*/ 576 w 9510"/>
                <a:gd name="connsiteY67" fmla="*/ 6455 h 10000"/>
                <a:gd name="connsiteX68" fmla="*/ 0 w 9510"/>
                <a:gd name="connsiteY6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45 w 10000"/>
                <a:gd name="connsiteY2" fmla="*/ 8955 h 10000"/>
                <a:gd name="connsiteX3" fmla="*/ 852 w 10000"/>
                <a:gd name="connsiteY3" fmla="*/ 10000 h 10000"/>
                <a:gd name="connsiteX4" fmla="*/ 1262 w 10000"/>
                <a:gd name="connsiteY4" fmla="*/ 9222 h 10000"/>
                <a:gd name="connsiteX5" fmla="*/ 1633 w 10000"/>
                <a:gd name="connsiteY5" fmla="*/ 8403 h 10000"/>
                <a:gd name="connsiteX6" fmla="*/ 2025 w 10000"/>
                <a:gd name="connsiteY6" fmla="*/ 7602 h 10000"/>
                <a:gd name="connsiteX7" fmla="*/ 2361 w 10000"/>
                <a:gd name="connsiteY7" fmla="*/ 6782 h 10000"/>
                <a:gd name="connsiteX8" fmla="*/ 3038 w 10000"/>
                <a:gd name="connsiteY8" fmla="*/ 5165 h 10000"/>
                <a:gd name="connsiteX9" fmla="*/ 3376 w 10000"/>
                <a:gd name="connsiteY9" fmla="*/ 4386 h 10000"/>
                <a:gd name="connsiteX10" fmla="*/ 3695 w 10000"/>
                <a:gd name="connsiteY10" fmla="*/ 3647 h 10000"/>
                <a:gd name="connsiteX11" fmla="*/ 4029 w 10000"/>
                <a:gd name="connsiteY11" fmla="*/ 2972 h 10000"/>
                <a:gd name="connsiteX12" fmla="*/ 4368 w 10000"/>
                <a:gd name="connsiteY12" fmla="*/ 2357 h 10000"/>
                <a:gd name="connsiteX13" fmla="*/ 4547 w 10000"/>
                <a:gd name="connsiteY13" fmla="*/ 2048 h 10000"/>
                <a:gd name="connsiteX14" fmla="*/ 4725 w 10000"/>
                <a:gd name="connsiteY14" fmla="*/ 1803 h 10000"/>
                <a:gd name="connsiteX15" fmla="*/ 4920 w 10000"/>
                <a:gd name="connsiteY15" fmla="*/ 1536 h 10000"/>
                <a:gd name="connsiteX16" fmla="*/ 5098 w 10000"/>
                <a:gd name="connsiteY16" fmla="*/ 1312 h 10000"/>
                <a:gd name="connsiteX17" fmla="*/ 5292 w 10000"/>
                <a:gd name="connsiteY17" fmla="*/ 1109 h 10000"/>
                <a:gd name="connsiteX18" fmla="*/ 5488 w 10000"/>
                <a:gd name="connsiteY18" fmla="*/ 922 h 10000"/>
                <a:gd name="connsiteX19" fmla="*/ 5685 w 10000"/>
                <a:gd name="connsiteY19" fmla="*/ 758 h 10000"/>
                <a:gd name="connsiteX20" fmla="*/ 5898 w 10000"/>
                <a:gd name="connsiteY20" fmla="*/ 634 h 10000"/>
                <a:gd name="connsiteX21" fmla="*/ 6091 w 10000"/>
                <a:gd name="connsiteY21" fmla="*/ 512 h 10000"/>
                <a:gd name="connsiteX22" fmla="*/ 6305 w 10000"/>
                <a:gd name="connsiteY22" fmla="*/ 450 h 10000"/>
                <a:gd name="connsiteX23" fmla="*/ 6534 w 10000"/>
                <a:gd name="connsiteY23" fmla="*/ 388 h 10000"/>
                <a:gd name="connsiteX24" fmla="*/ 6766 w 10000"/>
                <a:gd name="connsiteY24" fmla="*/ 388 h 10000"/>
                <a:gd name="connsiteX25" fmla="*/ 7050 w 10000"/>
                <a:gd name="connsiteY25" fmla="*/ 410 h 10000"/>
                <a:gd name="connsiteX26" fmla="*/ 7333 w 10000"/>
                <a:gd name="connsiteY26" fmla="*/ 492 h 10000"/>
                <a:gd name="connsiteX27" fmla="*/ 7584 w 10000"/>
                <a:gd name="connsiteY27" fmla="*/ 634 h 10000"/>
                <a:gd name="connsiteX28" fmla="*/ 7851 w 10000"/>
                <a:gd name="connsiteY28" fmla="*/ 780 h 10000"/>
                <a:gd name="connsiteX29" fmla="*/ 8080 w 10000"/>
                <a:gd name="connsiteY29" fmla="*/ 985 h 10000"/>
                <a:gd name="connsiteX30" fmla="*/ 8330 w 10000"/>
                <a:gd name="connsiteY30" fmla="*/ 1250 h 10000"/>
                <a:gd name="connsiteX31" fmla="*/ 8543 w 10000"/>
                <a:gd name="connsiteY31" fmla="*/ 1536 h 10000"/>
                <a:gd name="connsiteX32" fmla="*/ 8792 w 10000"/>
                <a:gd name="connsiteY32" fmla="*/ 1864 h 10000"/>
                <a:gd name="connsiteX33" fmla="*/ 8989 w 10000"/>
                <a:gd name="connsiteY33" fmla="*/ 2213 h 10000"/>
                <a:gd name="connsiteX34" fmla="*/ 9200 w 10000"/>
                <a:gd name="connsiteY34" fmla="*/ 2602 h 10000"/>
                <a:gd name="connsiteX35" fmla="*/ 10000 w 10000"/>
                <a:gd name="connsiteY35" fmla="*/ 1641 h 10000"/>
                <a:gd name="connsiteX36" fmla="*/ 9715 w 10000"/>
                <a:gd name="connsiteY36" fmla="*/ 1334 h 10000"/>
                <a:gd name="connsiteX37" fmla="*/ 9450 w 10000"/>
                <a:gd name="connsiteY37" fmla="*/ 1086 h 10000"/>
                <a:gd name="connsiteX38" fmla="*/ 9147 w 10000"/>
                <a:gd name="connsiteY38" fmla="*/ 863 h 10000"/>
                <a:gd name="connsiteX39" fmla="*/ 8844 w 10000"/>
                <a:gd name="connsiteY39" fmla="*/ 656 h 10000"/>
                <a:gd name="connsiteX40" fmla="*/ 8525 w 10000"/>
                <a:gd name="connsiteY40" fmla="*/ 470 h 10000"/>
                <a:gd name="connsiteX41" fmla="*/ 8206 w 10000"/>
                <a:gd name="connsiteY41" fmla="*/ 307 h 10000"/>
                <a:gd name="connsiteX42" fmla="*/ 7869 w 10000"/>
                <a:gd name="connsiteY42" fmla="*/ 184 h 10000"/>
                <a:gd name="connsiteX43" fmla="*/ 7511 w 10000"/>
                <a:gd name="connsiteY43" fmla="*/ 101 h 10000"/>
                <a:gd name="connsiteX44" fmla="*/ 7140 w 10000"/>
                <a:gd name="connsiteY44" fmla="*/ 21 h 10000"/>
                <a:gd name="connsiteX45" fmla="*/ 6766 w 10000"/>
                <a:gd name="connsiteY45" fmla="*/ 0 h 10000"/>
                <a:gd name="connsiteX46" fmla="*/ 6447 w 10000"/>
                <a:gd name="connsiteY46" fmla="*/ 21 h 10000"/>
                <a:gd name="connsiteX47" fmla="*/ 6146 w 10000"/>
                <a:gd name="connsiteY47" fmla="*/ 61 h 10000"/>
                <a:gd name="connsiteX48" fmla="*/ 5845 w 10000"/>
                <a:gd name="connsiteY48" fmla="*/ 124 h 10000"/>
                <a:gd name="connsiteX49" fmla="*/ 5578 w 10000"/>
                <a:gd name="connsiteY49" fmla="*/ 184 h 10000"/>
                <a:gd name="connsiteX50" fmla="*/ 5292 w 10000"/>
                <a:gd name="connsiteY50" fmla="*/ 285 h 10000"/>
                <a:gd name="connsiteX51" fmla="*/ 5008 w 10000"/>
                <a:gd name="connsiteY51" fmla="*/ 388 h 10000"/>
                <a:gd name="connsiteX52" fmla="*/ 4760 w 10000"/>
                <a:gd name="connsiteY52" fmla="*/ 532 h 10000"/>
                <a:gd name="connsiteX53" fmla="*/ 4492 w 10000"/>
                <a:gd name="connsiteY53" fmla="*/ 698 h 10000"/>
                <a:gd name="connsiteX54" fmla="*/ 4263 w 10000"/>
                <a:gd name="connsiteY54" fmla="*/ 881 h 10000"/>
                <a:gd name="connsiteX55" fmla="*/ 4016 w 10000"/>
                <a:gd name="connsiteY55" fmla="*/ 1065 h 10000"/>
                <a:gd name="connsiteX56" fmla="*/ 3784 w 10000"/>
                <a:gd name="connsiteY56" fmla="*/ 1271 h 10000"/>
                <a:gd name="connsiteX57" fmla="*/ 3553 w 10000"/>
                <a:gd name="connsiteY57" fmla="*/ 1497 h 10000"/>
                <a:gd name="connsiteX58" fmla="*/ 3340 w 10000"/>
                <a:gd name="connsiteY58" fmla="*/ 1720 h 10000"/>
                <a:gd name="connsiteX59" fmla="*/ 3108 w 10000"/>
                <a:gd name="connsiteY59" fmla="*/ 1989 h 10000"/>
                <a:gd name="connsiteX60" fmla="*/ 2700 w 10000"/>
                <a:gd name="connsiteY60" fmla="*/ 2540 h 10000"/>
                <a:gd name="connsiteX61" fmla="*/ 2310 w 10000"/>
                <a:gd name="connsiteY61" fmla="*/ 3116 h 10000"/>
                <a:gd name="connsiteX62" fmla="*/ 1938 w 10000"/>
                <a:gd name="connsiteY62" fmla="*/ 3730 h 10000"/>
                <a:gd name="connsiteX63" fmla="*/ 1580 w 10000"/>
                <a:gd name="connsiteY63" fmla="*/ 4386 h 10000"/>
                <a:gd name="connsiteX64" fmla="*/ 1244 w 10000"/>
                <a:gd name="connsiteY64" fmla="*/ 5062 h 10000"/>
                <a:gd name="connsiteX65" fmla="*/ 923 w 10000"/>
                <a:gd name="connsiteY65" fmla="*/ 5737 h 10000"/>
                <a:gd name="connsiteX66" fmla="*/ 606 w 10000"/>
                <a:gd name="connsiteY66" fmla="*/ 6455 h 10000"/>
                <a:gd name="connsiteX67" fmla="*/ 0 w 10000"/>
                <a:gd name="connsiteY67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9147 w 10002"/>
                <a:gd name="connsiteY37" fmla="*/ 863 h 10000"/>
                <a:gd name="connsiteX38" fmla="*/ 8844 w 10002"/>
                <a:gd name="connsiteY38" fmla="*/ 656 h 10000"/>
                <a:gd name="connsiteX39" fmla="*/ 8525 w 10002"/>
                <a:gd name="connsiteY39" fmla="*/ 470 h 10000"/>
                <a:gd name="connsiteX40" fmla="*/ 8206 w 10002"/>
                <a:gd name="connsiteY40" fmla="*/ 307 h 10000"/>
                <a:gd name="connsiteX41" fmla="*/ 7869 w 10002"/>
                <a:gd name="connsiteY41" fmla="*/ 184 h 10000"/>
                <a:gd name="connsiteX42" fmla="*/ 7511 w 10002"/>
                <a:gd name="connsiteY42" fmla="*/ 101 h 10000"/>
                <a:gd name="connsiteX43" fmla="*/ 7140 w 10002"/>
                <a:gd name="connsiteY43" fmla="*/ 21 h 10000"/>
                <a:gd name="connsiteX44" fmla="*/ 6766 w 10002"/>
                <a:gd name="connsiteY44" fmla="*/ 0 h 10000"/>
                <a:gd name="connsiteX45" fmla="*/ 6447 w 10002"/>
                <a:gd name="connsiteY45" fmla="*/ 21 h 10000"/>
                <a:gd name="connsiteX46" fmla="*/ 6146 w 10002"/>
                <a:gd name="connsiteY46" fmla="*/ 61 h 10000"/>
                <a:gd name="connsiteX47" fmla="*/ 5845 w 10002"/>
                <a:gd name="connsiteY47" fmla="*/ 124 h 10000"/>
                <a:gd name="connsiteX48" fmla="*/ 5578 w 10002"/>
                <a:gd name="connsiteY48" fmla="*/ 184 h 10000"/>
                <a:gd name="connsiteX49" fmla="*/ 5292 w 10002"/>
                <a:gd name="connsiteY49" fmla="*/ 285 h 10000"/>
                <a:gd name="connsiteX50" fmla="*/ 5008 w 10002"/>
                <a:gd name="connsiteY50" fmla="*/ 388 h 10000"/>
                <a:gd name="connsiteX51" fmla="*/ 4760 w 10002"/>
                <a:gd name="connsiteY51" fmla="*/ 532 h 10000"/>
                <a:gd name="connsiteX52" fmla="*/ 4492 w 10002"/>
                <a:gd name="connsiteY52" fmla="*/ 698 h 10000"/>
                <a:gd name="connsiteX53" fmla="*/ 4263 w 10002"/>
                <a:gd name="connsiteY53" fmla="*/ 881 h 10000"/>
                <a:gd name="connsiteX54" fmla="*/ 4016 w 10002"/>
                <a:gd name="connsiteY54" fmla="*/ 1065 h 10000"/>
                <a:gd name="connsiteX55" fmla="*/ 3784 w 10002"/>
                <a:gd name="connsiteY55" fmla="*/ 1271 h 10000"/>
                <a:gd name="connsiteX56" fmla="*/ 3553 w 10002"/>
                <a:gd name="connsiteY56" fmla="*/ 1497 h 10000"/>
                <a:gd name="connsiteX57" fmla="*/ 3340 w 10002"/>
                <a:gd name="connsiteY57" fmla="*/ 1720 h 10000"/>
                <a:gd name="connsiteX58" fmla="*/ 3108 w 10002"/>
                <a:gd name="connsiteY58" fmla="*/ 1989 h 10000"/>
                <a:gd name="connsiteX59" fmla="*/ 2700 w 10002"/>
                <a:gd name="connsiteY59" fmla="*/ 2540 h 10000"/>
                <a:gd name="connsiteX60" fmla="*/ 2310 w 10002"/>
                <a:gd name="connsiteY60" fmla="*/ 3116 h 10000"/>
                <a:gd name="connsiteX61" fmla="*/ 1938 w 10002"/>
                <a:gd name="connsiteY61" fmla="*/ 3730 h 10000"/>
                <a:gd name="connsiteX62" fmla="*/ 1580 w 10002"/>
                <a:gd name="connsiteY62" fmla="*/ 4386 h 10000"/>
                <a:gd name="connsiteX63" fmla="*/ 1244 w 10002"/>
                <a:gd name="connsiteY63" fmla="*/ 5062 h 10000"/>
                <a:gd name="connsiteX64" fmla="*/ 923 w 10002"/>
                <a:gd name="connsiteY64" fmla="*/ 5737 h 10000"/>
                <a:gd name="connsiteX65" fmla="*/ 606 w 10002"/>
                <a:gd name="connsiteY65" fmla="*/ 6455 h 10000"/>
                <a:gd name="connsiteX66" fmla="*/ 0 w 10002"/>
                <a:gd name="connsiteY66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8844 w 10002"/>
                <a:gd name="connsiteY37" fmla="*/ 656 h 10000"/>
                <a:gd name="connsiteX38" fmla="*/ 8525 w 10002"/>
                <a:gd name="connsiteY38" fmla="*/ 470 h 10000"/>
                <a:gd name="connsiteX39" fmla="*/ 8206 w 10002"/>
                <a:gd name="connsiteY39" fmla="*/ 307 h 10000"/>
                <a:gd name="connsiteX40" fmla="*/ 7869 w 10002"/>
                <a:gd name="connsiteY40" fmla="*/ 184 h 10000"/>
                <a:gd name="connsiteX41" fmla="*/ 7511 w 10002"/>
                <a:gd name="connsiteY41" fmla="*/ 101 h 10000"/>
                <a:gd name="connsiteX42" fmla="*/ 7140 w 10002"/>
                <a:gd name="connsiteY42" fmla="*/ 21 h 10000"/>
                <a:gd name="connsiteX43" fmla="*/ 6766 w 10002"/>
                <a:gd name="connsiteY43" fmla="*/ 0 h 10000"/>
                <a:gd name="connsiteX44" fmla="*/ 6447 w 10002"/>
                <a:gd name="connsiteY44" fmla="*/ 21 h 10000"/>
                <a:gd name="connsiteX45" fmla="*/ 6146 w 10002"/>
                <a:gd name="connsiteY45" fmla="*/ 61 h 10000"/>
                <a:gd name="connsiteX46" fmla="*/ 5845 w 10002"/>
                <a:gd name="connsiteY46" fmla="*/ 124 h 10000"/>
                <a:gd name="connsiteX47" fmla="*/ 5578 w 10002"/>
                <a:gd name="connsiteY47" fmla="*/ 184 h 10000"/>
                <a:gd name="connsiteX48" fmla="*/ 5292 w 10002"/>
                <a:gd name="connsiteY48" fmla="*/ 285 h 10000"/>
                <a:gd name="connsiteX49" fmla="*/ 5008 w 10002"/>
                <a:gd name="connsiteY49" fmla="*/ 388 h 10000"/>
                <a:gd name="connsiteX50" fmla="*/ 4760 w 10002"/>
                <a:gd name="connsiteY50" fmla="*/ 532 h 10000"/>
                <a:gd name="connsiteX51" fmla="*/ 4492 w 10002"/>
                <a:gd name="connsiteY51" fmla="*/ 698 h 10000"/>
                <a:gd name="connsiteX52" fmla="*/ 4263 w 10002"/>
                <a:gd name="connsiteY52" fmla="*/ 881 h 10000"/>
                <a:gd name="connsiteX53" fmla="*/ 4016 w 10002"/>
                <a:gd name="connsiteY53" fmla="*/ 1065 h 10000"/>
                <a:gd name="connsiteX54" fmla="*/ 3784 w 10002"/>
                <a:gd name="connsiteY54" fmla="*/ 1271 h 10000"/>
                <a:gd name="connsiteX55" fmla="*/ 3553 w 10002"/>
                <a:gd name="connsiteY55" fmla="*/ 1497 h 10000"/>
                <a:gd name="connsiteX56" fmla="*/ 3340 w 10002"/>
                <a:gd name="connsiteY56" fmla="*/ 1720 h 10000"/>
                <a:gd name="connsiteX57" fmla="*/ 3108 w 10002"/>
                <a:gd name="connsiteY57" fmla="*/ 1989 h 10000"/>
                <a:gd name="connsiteX58" fmla="*/ 2700 w 10002"/>
                <a:gd name="connsiteY58" fmla="*/ 2540 h 10000"/>
                <a:gd name="connsiteX59" fmla="*/ 2310 w 10002"/>
                <a:gd name="connsiteY59" fmla="*/ 3116 h 10000"/>
                <a:gd name="connsiteX60" fmla="*/ 1938 w 10002"/>
                <a:gd name="connsiteY60" fmla="*/ 3730 h 10000"/>
                <a:gd name="connsiteX61" fmla="*/ 1580 w 10002"/>
                <a:gd name="connsiteY61" fmla="*/ 4386 h 10000"/>
                <a:gd name="connsiteX62" fmla="*/ 1244 w 10002"/>
                <a:gd name="connsiteY62" fmla="*/ 5062 h 10000"/>
                <a:gd name="connsiteX63" fmla="*/ 923 w 10002"/>
                <a:gd name="connsiteY63" fmla="*/ 5737 h 10000"/>
                <a:gd name="connsiteX64" fmla="*/ 606 w 10002"/>
                <a:gd name="connsiteY64" fmla="*/ 6455 h 10000"/>
                <a:gd name="connsiteX65" fmla="*/ 0 w 10002"/>
                <a:gd name="connsiteY65" fmla="*/ 7890 h 10000"/>
                <a:gd name="connsiteX0" fmla="*/ 0 w 9459"/>
                <a:gd name="connsiteY0" fmla="*/ 7890 h 10000"/>
                <a:gd name="connsiteX1" fmla="*/ 0 w 9459"/>
                <a:gd name="connsiteY1" fmla="*/ 7890 h 10000"/>
                <a:gd name="connsiteX2" fmla="*/ 445 w 9459"/>
                <a:gd name="connsiteY2" fmla="*/ 8955 h 10000"/>
                <a:gd name="connsiteX3" fmla="*/ 852 w 9459"/>
                <a:gd name="connsiteY3" fmla="*/ 10000 h 10000"/>
                <a:gd name="connsiteX4" fmla="*/ 1262 w 9459"/>
                <a:gd name="connsiteY4" fmla="*/ 9222 h 10000"/>
                <a:gd name="connsiteX5" fmla="*/ 1633 w 9459"/>
                <a:gd name="connsiteY5" fmla="*/ 8403 h 10000"/>
                <a:gd name="connsiteX6" fmla="*/ 2025 w 9459"/>
                <a:gd name="connsiteY6" fmla="*/ 7602 h 10000"/>
                <a:gd name="connsiteX7" fmla="*/ 2361 w 9459"/>
                <a:gd name="connsiteY7" fmla="*/ 6782 h 10000"/>
                <a:gd name="connsiteX8" fmla="*/ 3038 w 9459"/>
                <a:gd name="connsiteY8" fmla="*/ 5165 h 10000"/>
                <a:gd name="connsiteX9" fmla="*/ 3376 w 9459"/>
                <a:gd name="connsiteY9" fmla="*/ 4386 h 10000"/>
                <a:gd name="connsiteX10" fmla="*/ 3695 w 9459"/>
                <a:gd name="connsiteY10" fmla="*/ 3647 h 10000"/>
                <a:gd name="connsiteX11" fmla="*/ 4029 w 9459"/>
                <a:gd name="connsiteY11" fmla="*/ 2972 h 10000"/>
                <a:gd name="connsiteX12" fmla="*/ 4368 w 9459"/>
                <a:gd name="connsiteY12" fmla="*/ 2357 h 10000"/>
                <a:gd name="connsiteX13" fmla="*/ 4547 w 9459"/>
                <a:gd name="connsiteY13" fmla="*/ 2048 h 10000"/>
                <a:gd name="connsiteX14" fmla="*/ 4725 w 9459"/>
                <a:gd name="connsiteY14" fmla="*/ 1803 h 10000"/>
                <a:gd name="connsiteX15" fmla="*/ 4920 w 9459"/>
                <a:gd name="connsiteY15" fmla="*/ 1536 h 10000"/>
                <a:gd name="connsiteX16" fmla="*/ 5098 w 9459"/>
                <a:gd name="connsiteY16" fmla="*/ 1312 h 10000"/>
                <a:gd name="connsiteX17" fmla="*/ 5292 w 9459"/>
                <a:gd name="connsiteY17" fmla="*/ 1109 h 10000"/>
                <a:gd name="connsiteX18" fmla="*/ 5488 w 9459"/>
                <a:gd name="connsiteY18" fmla="*/ 922 h 10000"/>
                <a:gd name="connsiteX19" fmla="*/ 5685 w 9459"/>
                <a:gd name="connsiteY19" fmla="*/ 758 h 10000"/>
                <a:gd name="connsiteX20" fmla="*/ 5898 w 9459"/>
                <a:gd name="connsiteY20" fmla="*/ 634 h 10000"/>
                <a:gd name="connsiteX21" fmla="*/ 6091 w 9459"/>
                <a:gd name="connsiteY21" fmla="*/ 512 h 10000"/>
                <a:gd name="connsiteX22" fmla="*/ 6305 w 9459"/>
                <a:gd name="connsiteY22" fmla="*/ 450 h 10000"/>
                <a:gd name="connsiteX23" fmla="*/ 6534 w 9459"/>
                <a:gd name="connsiteY23" fmla="*/ 388 h 10000"/>
                <a:gd name="connsiteX24" fmla="*/ 6766 w 9459"/>
                <a:gd name="connsiteY24" fmla="*/ 388 h 10000"/>
                <a:gd name="connsiteX25" fmla="*/ 7050 w 9459"/>
                <a:gd name="connsiteY25" fmla="*/ 410 h 10000"/>
                <a:gd name="connsiteX26" fmla="*/ 7333 w 9459"/>
                <a:gd name="connsiteY26" fmla="*/ 492 h 10000"/>
                <a:gd name="connsiteX27" fmla="*/ 7584 w 9459"/>
                <a:gd name="connsiteY27" fmla="*/ 634 h 10000"/>
                <a:gd name="connsiteX28" fmla="*/ 7851 w 9459"/>
                <a:gd name="connsiteY28" fmla="*/ 780 h 10000"/>
                <a:gd name="connsiteX29" fmla="*/ 8080 w 9459"/>
                <a:gd name="connsiteY29" fmla="*/ 985 h 10000"/>
                <a:gd name="connsiteX30" fmla="*/ 8330 w 9459"/>
                <a:gd name="connsiteY30" fmla="*/ 1250 h 10000"/>
                <a:gd name="connsiteX31" fmla="*/ 8543 w 9459"/>
                <a:gd name="connsiteY31" fmla="*/ 1536 h 10000"/>
                <a:gd name="connsiteX32" fmla="*/ 8792 w 9459"/>
                <a:gd name="connsiteY32" fmla="*/ 1864 h 10000"/>
                <a:gd name="connsiteX33" fmla="*/ 8989 w 9459"/>
                <a:gd name="connsiteY33" fmla="*/ 2213 h 10000"/>
                <a:gd name="connsiteX34" fmla="*/ 9200 w 9459"/>
                <a:gd name="connsiteY34" fmla="*/ 2602 h 10000"/>
                <a:gd name="connsiteX35" fmla="*/ 9450 w 9459"/>
                <a:gd name="connsiteY35" fmla="*/ 1086 h 10000"/>
                <a:gd name="connsiteX36" fmla="*/ 8844 w 9459"/>
                <a:gd name="connsiteY36" fmla="*/ 656 h 10000"/>
                <a:gd name="connsiteX37" fmla="*/ 8525 w 9459"/>
                <a:gd name="connsiteY37" fmla="*/ 470 h 10000"/>
                <a:gd name="connsiteX38" fmla="*/ 8206 w 9459"/>
                <a:gd name="connsiteY38" fmla="*/ 307 h 10000"/>
                <a:gd name="connsiteX39" fmla="*/ 7869 w 9459"/>
                <a:gd name="connsiteY39" fmla="*/ 184 h 10000"/>
                <a:gd name="connsiteX40" fmla="*/ 7511 w 9459"/>
                <a:gd name="connsiteY40" fmla="*/ 101 h 10000"/>
                <a:gd name="connsiteX41" fmla="*/ 7140 w 9459"/>
                <a:gd name="connsiteY41" fmla="*/ 21 h 10000"/>
                <a:gd name="connsiteX42" fmla="*/ 6766 w 9459"/>
                <a:gd name="connsiteY42" fmla="*/ 0 h 10000"/>
                <a:gd name="connsiteX43" fmla="*/ 6447 w 9459"/>
                <a:gd name="connsiteY43" fmla="*/ 21 h 10000"/>
                <a:gd name="connsiteX44" fmla="*/ 6146 w 9459"/>
                <a:gd name="connsiteY44" fmla="*/ 61 h 10000"/>
                <a:gd name="connsiteX45" fmla="*/ 5845 w 9459"/>
                <a:gd name="connsiteY45" fmla="*/ 124 h 10000"/>
                <a:gd name="connsiteX46" fmla="*/ 5578 w 9459"/>
                <a:gd name="connsiteY46" fmla="*/ 184 h 10000"/>
                <a:gd name="connsiteX47" fmla="*/ 5292 w 9459"/>
                <a:gd name="connsiteY47" fmla="*/ 285 h 10000"/>
                <a:gd name="connsiteX48" fmla="*/ 5008 w 9459"/>
                <a:gd name="connsiteY48" fmla="*/ 388 h 10000"/>
                <a:gd name="connsiteX49" fmla="*/ 4760 w 9459"/>
                <a:gd name="connsiteY49" fmla="*/ 532 h 10000"/>
                <a:gd name="connsiteX50" fmla="*/ 4492 w 9459"/>
                <a:gd name="connsiteY50" fmla="*/ 698 h 10000"/>
                <a:gd name="connsiteX51" fmla="*/ 4263 w 9459"/>
                <a:gd name="connsiteY51" fmla="*/ 881 h 10000"/>
                <a:gd name="connsiteX52" fmla="*/ 4016 w 9459"/>
                <a:gd name="connsiteY52" fmla="*/ 1065 h 10000"/>
                <a:gd name="connsiteX53" fmla="*/ 3784 w 9459"/>
                <a:gd name="connsiteY53" fmla="*/ 1271 h 10000"/>
                <a:gd name="connsiteX54" fmla="*/ 3553 w 9459"/>
                <a:gd name="connsiteY54" fmla="*/ 1497 h 10000"/>
                <a:gd name="connsiteX55" fmla="*/ 3340 w 9459"/>
                <a:gd name="connsiteY55" fmla="*/ 1720 h 10000"/>
                <a:gd name="connsiteX56" fmla="*/ 3108 w 9459"/>
                <a:gd name="connsiteY56" fmla="*/ 1989 h 10000"/>
                <a:gd name="connsiteX57" fmla="*/ 2700 w 9459"/>
                <a:gd name="connsiteY57" fmla="*/ 2540 h 10000"/>
                <a:gd name="connsiteX58" fmla="*/ 2310 w 9459"/>
                <a:gd name="connsiteY58" fmla="*/ 3116 h 10000"/>
                <a:gd name="connsiteX59" fmla="*/ 1938 w 9459"/>
                <a:gd name="connsiteY59" fmla="*/ 3730 h 10000"/>
                <a:gd name="connsiteX60" fmla="*/ 1580 w 9459"/>
                <a:gd name="connsiteY60" fmla="*/ 4386 h 10000"/>
                <a:gd name="connsiteX61" fmla="*/ 1244 w 9459"/>
                <a:gd name="connsiteY61" fmla="*/ 5062 h 10000"/>
                <a:gd name="connsiteX62" fmla="*/ 923 w 9459"/>
                <a:gd name="connsiteY62" fmla="*/ 5737 h 10000"/>
                <a:gd name="connsiteX63" fmla="*/ 606 w 9459"/>
                <a:gd name="connsiteY63" fmla="*/ 6455 h 10000"/>
                <a:gd name="connsiteX64" fmla="*/ 0 w 9459"/>
                <a:gd name="connsiteY64" fmla="*/ 7890 h 10000"/>
                <a:gd name="connsiteX0" fmla="*/ 0 w 9821"/>
                <a:gd name="connsiteY0" fmla="*/ 7890 h 10000"/>
                <a:gd name="connsiteX1" fmla="*/ 0 w 9821"/>
                <a:gd name="connsiteY1" fmla="*/ 7890 h 10000"/>
                <a:gd name="connsiteX2" fmla="*/ 470 w 9821"/>
                <a:gd name="connsiteY2" fmla="*/ 8955 h 10000"/>
                <a:gd name="connsiteX3" fmla="*/ 901 w 9821"/>
                <a:gd name="connsiteY3" fmla="*/ 10000 h 10000"/>
                <a:gd name="connsiteX4" fmla="*/ 1334 w 9821"/>
                <a:gd name="connsiteY4" fmla="*/ 9222 h 10000"/>
                <a:gd name="connsiteX5" fmla="*/ 1726 w 9821"/>
                <a:gd name="connsiteY5" fmla="*/ 8403 h 10000"/>
                <a:gd name="connsiteX6" fmla="*/ 2141 w 9821"/>
                <a:gd name="connsiteY6" fmla="*/ 7602 h 10000"/>
                <a:gd name="connsiteX7" fmla="*/ 2496 w 9821"/>
                <a:gd name="connsiteY7" fmla="*/ 6782 h 10000"/>
                <a:gd name="connsiteX8" fmla="*/ 3212 w 9821"/>
                <a:gd name="connsiteY8" fmla="*/ 5165 h 10000"/>
                <a:gd name="connsiteX9" fmla="*/ 3569 w 9821"/>
                <a:gd name="connsiteY9" fmla="*/ 4386 h 10000"/>
                <a:gd name="connsiteX10" fmla="*/ 3906 w 9821"/>
                <a:gd name="connsiteY10" fmla="*/ 3647 h 10000"/>
                <a:gd name="connsiteX11" fmla="*/ 4259 w 9821"/>
                <a:gd name="connsiteY11" fmla="*/ 2972 h 10000"/>
                <a:gd name="connsiteX12" fmla="*/ 4618 w 9821"/>
                <a:gd name="connsiteY12" fmla="*/ 2357 h 10000"/>
                <a:gd name="connsiteX13" fmla="*/ 4807 w 9821"/>
                <a:gd name="connsiteY13" fmla="*/ 2048 h 10000"/>
                <a:gd name="connsiteX14" fmla="*/ 4995 w 9821"/>
                <a:gd name="connsiteY14" fmla="*/ 1803 h 10000"/>
                <a:gd name="connsiteX15" fmla="*/ 5201 w 9821"/>
                <a:gd name="connsiteY15" fmla="*/ 1536 h 10000"/>
                <a:gd name="connsiteX16" fmla="*/ 5390 w 9821"/>
                <a:gd name="connsiteY16" fmla="*/ 1312 h 10000"/>
                <a:gd name="connsiteX17" fmla="*/ 5595 w 9821"/>
                <a:gd name="connsiteY17" fmla="*/ 1109 h 10000"/>
                <a:gd name="connsiteX18" fmla="*/ 5802 w 9821"/>
                <a:gd name="connsiteY18" fmla="*/ 922 h 10000"/>
                <a:gd name="connsiteX19" fmla="*/ 6010 w 9821"/>
                <a:gd name="connsiteY19" fmla="*/ 758 h 10000"/>
                <a:gd name="connsiteX20" fmla="*/ 6235 w 9821"/>
                <a:gd name="connsiteY20" fmla="*/ 634 h 10000"/>
                <a:gd name="connsiteX21" fmla="*/ 6439 w 9821"/>
                <a:gd name="connsiteY21" fmla="*/ 512 h 10000"/>
                <a:gd name="connsiteX22" fmla="*/ 6666 w 9821"/>
                <a:gd name="connsiteY22" fmla="*/ 450 h 10000"/>
                <a:gd name="connsiteX23" fmla="*/ 6908 w 9821"/>
                <a:gd name="connsiteY23" fmla="*/ 388 h 10000"/>
                <a:gd name="connsiteX24" fmla="*/ 7153 w 9821"/>
                <a:gd name="connsiteY24" fmla="*/ 388 h 10000"/>
                <a:gd name="connsiteX25" fmla="*/ 7453 w 9821"/>
                <a:gd name="connsiteY25" fmla="*/ 410 h 10000"/>
                <a:gd name="connsiteX26" fmla="*/ 7752 w 9821"/>
                <a:gd name="connsiteY26" fmla="*/ 492 h 10000"/>
                <a:gd name="connsiteX27" fmla="*/ 8018 w 9821"/>
                <a:gd name="connsiteY27" fmla="*/ 634 h 10000"/>
                <a:gd name="connsiteX28" fmla="*/ 8300 w 9821"/>
                <a:gd name="connsiteY28" fmla="*/ 780 h 10000"/>
                <a:gd name="connsiteX29" fmla="*/ 8542 w 9821"/>
                <a:gd name="connsiteY29" fmla="*/ 985 h 10000"/>
                <a:gd name="connsiteX30" fmla="*/ 8806 w 9821"/>
                <a:gd name="connsiteY30" fmla="*/ 1250 h 10000"/>
                <a:gd name="connsiteX31" fmla="*/ 9032 w 9821"/>
                <a:gd name="connsiteY31" fmla="*/ 1536 h 10000"/>
                <a:gd name="connsiteX32" fmla="*/ 9295 w 9821"/>
                <a:gd name="connsiteY32" fmla="*/ 1864 h 10000"/>
                <a:gd name="connsiteX33" fmla="*/ 9503 w 9821"/>
                <a:gd name="connsiteY33" fmla="*/ 2213 h 10000"/>
                <a:gd name="connsiteX34" fmla="*/ 9726 w 9821"/>
                <a:gd name="connsiteY34" fmla="*/ 2602 h 10000"/>
                <a:gd name="connsiteX35" fmla="*/ 9792 w 9821"/>
                <a:gd name="connsiteY35" fmla="*/ 1086 h 10000"/>
                <a:gd name="connsiteX36" fmla="*/ 9350 w 9821"/>
                <a:gd name="connsiteY36" fmla="*/ 656 h 10000"/>
                <a:gd name="connsiteX37" fmla="*/ 9013 w 9821"/>
                <a:gd name="connsiteY37" fmla="*/ 470 h 10000"/>
                <a:gd name="connsiteX38" fmla="*/ 8675 w 9821"/>
                <a:gd name="connsiteY38" fmla="*/ 307 h 10000"/>
                <a:gd name="connsiteX39" fmla="*/ 8319 w 9821"/>
                <a:gd name="connsiteY39" fmla="*/ 184 h 10000"/>
                <a:gd name="connsiteX40" fmla="*/ 7941 w 9821"/>
                <a:gd name="connsiteY40" fmla="*/ 101 h 10000"/>
                <a:gd name="connsiteX41" fmla="*/ 7548 w 9821"/>
                <a:gd name="connsiteY41" fmla="*/ 21 h 10000"/>
                <a:gd name="connsiteX42" fmla="*/ 7153 w 9821"/>
                <a:gd name="connsiteY42" fmla="*/ 0 h 10000"/>
                <a:gd name="connsiteX43" fmla="*/ 6816 w 9821"/>
                <a:gd name="connsiteY43" fmla="*/ 21 h 10000"/>
                <a:gd name="connsiteX44" fmla="*/ 6498 w 9821"/>
                <a:gd name="connsiteY44" fmla="*/ 61 h 10000"/>
                <a:gd name="connsiteX45" fmla="*/ 6179 w 9821"/>
                <a:gd name="connsiteY45" fmla="*/ 124 h 10000"/>
                <a:gd name="connsiteX46" fmla="*/ 5897 w 9821"/>
                <a:gd name="connsiteY46" fmla="*/ 184 h 10000"/>
                <a:gd name="connsiteX47" fmla="*/ 5595 w 9821"/>
                <a:gd name="connsiteY47" fmla="*/ 285 h 10000"/>
                <a:gd name="connsiteX48" fmla="*/ 5294 w 9821"/>
                <a:gd name="connsiteY48" fmla="*/ 388 h 10000"/>
                <a:gd name="connsiteX49" fmla="*/ 5032 w 9821"/>
                <a:gd name="connsiteY49" fmla="*/ 532 h 10000"/>
                <a:gd name="connsiteX50" fmla="*/ 4749 w 9821"/>
                <a:gd name="connsiteY50" fmla="*/ 698 h 10000"/>
                <a:gd name="connsiteX51" fmla="*/ 4507 w 9821"/>
                <a:gd name="connsiteY51" fmla="*/ 881 h 10000"/>
                <a:gd name="connsiteX52" fmla="*/ 4246 w 9821"/>
                <a:gd name="connsiteY52" fmla="*/ 1065 h 10000"/>
                <a:gd name="connsiteX53" fmla="*/ 4000 w 9821"/>
                <a:gd name="connsiteY53" fmla="*/ 1271 h 10000"/>
                <a:gd name="connsiteX54" fmla="*/ 3756 w 9821"/>
                <a:gd name="connsiteY54" fmla="*/ 1497 h 10000"/>
                <a:gd name="connsiteX55" fmla="*/ 3531 w 9821"/>
                <a:gd name="connsiteY55" fmla="*/ 1720 h 10000"/>
                <a:gd name="connsiteX56" fmla="*/ 3286 w 9821"/>
                <a:gd name="connsiteY56" fmla="*/ 1989 h 10000"/>
                <a:gd name="connsiteX57" fmla="*/ 2854 w 9821"/>
                <a:gd name="connsiteY57" fmla="*/ 2540 h 10000"/>
                <a:gd name="connsiteX58" fmla="*/ 2442 w 9821"/>
                <a:gd name="connsiteY58" fmla="*/ 3116 h 10000"/>
                <a:gd name="connsiteX59" fmla="*/ 2049 w 9821"/>
                <a:gd name="connsiteY59" fmla="*/ 3730 h 10000"/>
                <a:gd name="connsiteX60" fmla="*/ 1670 w 9821"/>
                <a:gd name="connsiteY60" fmla="*/ 4386 h 10000"/>
                <a:gd name="connsiteX61" fmla="*/ 1315 w 9821"/>
                <a:gd name="connsiteY61" fmla="*/ 5062 h 10000"/>
                <a:gd name="connsiteX62" fmla="*/ 976 w 9821"/>
                <a:gd name="connsiteY62" fmla="*/ 5737 h 10000"/>
                <a:gd name="connsiteX63" fmla="*/ 641 w 9821"/>
                <a:gd name="connsiteY63" fmla="*/ 6455 h 10000"/>
                <a:gd name="connsiteX64" fmla="*/ 0 w 9821"/>
                <a:gd name="connsiteY64" fmla="*/ 7890 h 10000"/>
                <a:gd name="connsiteX0" fmla="*/ 0 w 9903"/>
                <a:gd name="connsiteY0" fmla="*/ 7890 h 10000"/>
                <a:gd name="connsiteX1" fmla="*/ 0 w 9903"/>
                <a:gd name="connsiteY1" fmla="*/ 7890 h 10000"/>
                <a:gd name="connsiteX2" fmla="*/ 479 w 9903"/>
                <a:gd name="connsiteY2" fmla="*/ 8955 h 10000"/>
                <a:gd name="connsiteX3" fmla="*/ 917 w 9903"/>
                <a:gd name="connsiteY3" fmla="*/ 10000 h 10000"/>
                <a:gd name="connsiteX4" fmla="*/ 1358 w 9903"/>
                <a:gd name="connsiteY4" fmla="*/ 9222 h 10000"/>
                <a:gd name="connsiteX5" fmla="*/ 1757 w 9903"/>
                <a:gd name="connsiteY5" fmla="*/ 8403 h 10000"/>
                <a:gd name="connsiteX6" fmla="*/ 2180 w 9903"/>
                <a:gd name="connsiteY6" fmla="*/ 7602 h 10000"/>
                <a:gd name="connsiteX7" fmla="*/ 2541 w 9903"/>
                <a:gd name="connsiteY7" fmla="*/ 6782 h 10000"/>
                <a:gd name="connsiteX8" fmla="*/ 3271 w 9903"/>
                <a:gd name="connsiteY8" fmla="*/ 5165 h 10000"/>
                <a:gd name="connsiteX9" fmla="*/ 3634 w 9903"/>
                <a:gd name="connsiteY9" fmla="*/ 4386 h 10000"/>
                <a:gd name="connsiteX10" fmla="*/ 3977 w 9903"/>
                <a:gd name="connsiteY10" fmla="*/ 3647 h 10000"/>
                <a:gd name="connsiteX11" fmla="*/ 4337 w 9903"/>
                <a:gd name="connsiteY11" fmla="*/ 2972 h 10000"/>
                <a:gd name="connsiteX12" fmla="*/ 4702 w 9903"/>
                <a:gd name="connsiteY12" fmla="*/ 2357 h 10000"/>
                <a:gd name="connsiteX13" fmla="*/ 4895 w 9903"/>
                <a:gd name="connsiteY13" fmla="*/ 2048 h 10000"/>
                <a:gd name="connsiteX14" fmla="*/ 5086 w 9903"/>
                <a:gd name="connsiteY14" fmla="*/ 1803 h 10000"/>
                <a:gd name="connsiteX15" fmla="*/ 5296 w 9903"/>
                <a:gd name="connsiteY15" fmla="*/ 1536 h 10000"/>
                <a:gd name="connsiteX16" fmla="*/ 5488 w 9903"/>
                <a:gd name="connsiteY16" fmla="*/ 1312 h 10000"/>
                <a:gd name="connsiteX17" fmla="*/ 5697 w 9903"/>
                <a:gd name="connsiteY17" fmla="*/ 1109 h 10000"/>
                <a:gd name="connsiteX18" fmla="*/ 5908 w 9903"/>
                <a:gd name="connsiteY18" fmla="*/ 922 h 10000"/>
                <a:gd name="connsiteX19" fmla="*/ 6120 w 9903"/>
                <a:gd name="connsiteY19" fmla="*/ 758 h 10000"/>
                <a:gd name="connsiteX20" fmla="*/ 6349 w 9903"/>
                <a:gd name="connsiteY20" fmla="*/ 634 h 10000"/>
                <a:gd name="connsiteX21" fmla="*/ 6556 w 9903"/>
                <a:gd name="connsiteY21" fmla="*/ 512 h 10000"/>
                <a:gd name="connsiteX22" fmla="*/ 6787 w 9903"/>
                <a:gd name="connsiteY22" fmla="*/ 450 h 10000"/>
                <a:gd name="connsiteX23" fmla="*/ 7034 w 9903"/>
                <a:gd name="connsiteY23" fmla="*/ 388 h 10000"/>
                <a:gd name="connsiteX24" fmla="*/ 7283 w 9903"/>
                <a:gd name="connsiteY24" fmla="*/ 388 h 10000"/>
                <a:gd name="connsiteX25" fmla="*/ 7589 w 9903"/>
                <a:gd name="connsiteY25" fmla="*/ 410 h 10000"/>
                <a:gd name="connsiteX26" fmla="*/ 7893 w 9903"/>
                <a:gd name="connsiteY26" fmla="*/ 492 h 10000"/>
                <a:gd name="connsiteX27" fmla="*/ 8164 w 9903"/>
                <a:gd name="connsiteY27" fmla="*/ 634 h 10000"/>
                <a:gd name="connsiteX28" fmla="*/ 8451 w 9903"/>
                <a:gd name="connsiteY28" fmla="*/ 780 h 10000"/>
                <a:gd name="connsiteX29" fmla="*/ 8698 w 9903"/>
                <a:gd name="connsiteY29" fmla="*/ 985 h 10000"/>
                <a:gd name="connsiteX30" fmla="*/ 8967 w 9903"/>
                <a:gd name="connsiteY30" fmla="*/ 1250 h 10000"/>
                <a:gd name="connsiteX31" fmla="*/ 9197 w 9903"/>
                <a:gd name="connsiteY31" fmla="*/ 1536 h 10000"/>
                <a:gd name="connsiteX32" fmla="*/ 9464 w 9903"/>
                <a:gd name="connsiteY32" fmla="*/ 1864 h 10000"/>
                <a:gd name="connsiteX33" fmla="*/ 9676 w 9903"/>
                <a:gd name="connsiteY33" fmla="*/ 2213 h 10000"/>
                <a:gd name="connsiteX34" fmla="*/ 9903 w 9903"/>
                <a:gd name="connsiteY34" fmla="*/ 2602 h 10000"/>
                <a:gd name="connsiteX35" fmla="*/ 9520 w 9903"/>
                <a:gd name="connsiteY35" fmla="*/ 656 h 10000"/>
                <a:gd name="connsiteX36" fmla="*/ 9177 w 9903"/>
                <a:gd name="connsiteY36" fmla="*/ 470 h 10000"/>
                <a:gd name="connsiteX37" fmla="*/ 8833 w 9903"/>
                <a:gd name="connsiteY37" fmla="*/ 307 h 10000"/>
                <a:gd name="connsiteX38" fmla="*/ 8471 w 9903"/>
                <a:gd name="connsiteY38" fmla="*/ 184 h 10000"/>
                <a:gd name="connsiteX39" fmla="*/ 8086 w 9903"/>
                <a:gd name="connsiteY39" fmla="*/ 101 h 10000"/>
                <a:gd name="connsiteX40" fmla="*/ 7686 w 9903"/>
                <a:gd name="connsiteY40" fmla="*/ 21 h 10000"/>
                <a:gd name="connsiteX41" fmla="*/ 7283 w 9903"/>
                <a:gd name="connsiteY41" fmla="*/ 0 h 10000"/>
                <a:gd name="connsiteX42" fmla="*/ 6940 w 9903"/>
                <a:gd name="connsiteY42" fmla="*/ 21 h 10000"/>
                <a:gd name="connsiteX43" fmla="*/ 6616 w 9903"/>
                <a:gd name="connsiteY43" fmla="*/ 61 h 10000"/>
                <a:gd name="connsiteX44" fmla="*/ 6292 w 9903"/>
                <a:gd name="connsiteY44" fmla="*/ 124 h 10000"/>
                <a:gd name="connsiteX45" fmla="*/ 6004 w 9903"/>
                <a:gd name="connsiteY45" fmla="*/ 184 h 10000"/>
                <a:gd name="connsiteX46" fmla="*/ 5697 w 9903"/>
                <a:gd name="connsiteY46" fmla="*/ 285 h 10000"/>
                <a:gd name="connsiteX47" fmla="*/ 5390 w 9903"/>
                <a:gd name="connsiteY47" fmla="*/ 388 h 10000"/>
                <a:gd name="connsiteX48" fmla="*/ 5124 w 9903"/>
                <a:gd name="connsiteY48" fmla="*/ 532 h 10000"/>
                <a:gd name="connsiteX49" fmla="*/ 4836 w 9903"/>
                <a:gd name="connsiteY49" fmla="*/ 698 h 10000"/>
                <a:gd name="connsiteX50" fmla="*/ 4589 w 9903"/>
                <a:gd name="connsiteY50" fmla="*/ 881 h 10000"/>
                <a:gd name="connsiteX51" fmla="*/ 4323 w 9903"/>
                <a:gd name="connsiteY51" fmla="*/ 1065 h 10000"/>
                <a:gd name="connsiteX52" fmla="*/ 4073 w 9903"/>
                <a:gd name="connsiteY52" fmla="*/ 1271 h 10000"/>
                <a:gd name="connsiteX53" fmla="*/ 3824 w 9903"/>
                <a:gd name="connsiteY53" fmla="*/ 1497 h 10000"/>
                <a:gd name="connsiteX54" fmla="*/ 3595 w 9903"/>
                <a:gd name="connsiteY54" fmla="*/ 1720 h 10000"/>
                <a:gd name="connsiteX55" fmla="*/ 3346 w 9903"/>
                <a:gd name="connsiteY55" fmla="*/ 1989 h 10000"/>
                <a:gd name="connsiteX56" fmla="*/ 2906 w 9903"/>
                <a:gd name="connsiteY56" fmla="*/ 2540 h 10000"/>
                <a:gd name="connsiteX57" fmla="*/ 2487 w 9903"/>
                <a:gd name="connsiteY57" fmla="*/ 3116 h 10000"/>
                <a:gd name="connsiteX58" fmla="*/ 2086 w 9903"/>
                <a:gd name="connsiteY58" fmla="*/ 3730 h 10000"/>
                <a:gd name="connsiteX59" fmla="*/ 1700 w 9903"/>
                <a:gd name="connsiteY59" fmla="*/ 4386 h 10000"/>
                <a:gd name="connsiteX60" fmla="*/ 1339 w 9903"/>
                <a:gd name="connsiteY60" fmla="*/ 5062 h 10000"/>
                <a:gd name="connsiteX61" fmla="*/ 994 w 9903"/>
                <a:gd name="connsiteY61" fmla="*/ 5737 h 10000"/>
                <a:gd name="connsiteX62" fmla="*/ 653 w 9903"/>
                <a:gd name="connsiteY62" fmla="*/ 6455 h 10000"/>
                <a:gd name="connsiteX63" fmla="*/ 0 w 9903"/>
                <a:gd name="connsiteY63" fmla="*/ 7890 h 10000"/>
                <a:gd name="connsiteX0" fmla="*/ 0 w 9771"/>
                <a:gd name="connsiteY0" fmla="*/ 7890 h 10000"/>
                <a:gd name="connsiteX1" fmla="*/ 0 w 9771"/>
                <a:gd name="connsiteY1" fmla="*/ 7890 h 10000"/>
                <a:gd name="connsiteX2" fmla="*/ 484 w 9771"/>
                <a:gd name="connsiteY2" fmla="*/ 8955 h 10000"/>
                <a:gd name="connsiteX3" fmla="*/ 926 w 9771"/>
                <a:gd name="connsiteY3" fmla="*/ 10000 h 10000"/>
                <a:gd name="connsiteX4" fmla="*/ 1371 w 9771"/>
                <a:gd name="connsiteY4" fmla="*/ 9222 h 10000"/>
                <a:gd name="connsiteX5" fmla="*/ 1774 w 9771"/>
                <a:gd name="connsiteY5" fmla="*/ 8403 h 10000"/>
                <a:gd name="connsiteX6" fmla="*/ 2201 w 9771"/>
                <a:gd name="connsiteY6" fmla="*/ 7602 h 10000"/>
                <a:gd name="connsiteX7" fmla="*/ 2566 w 9771"/>
                <a:gd name="connsiteY7" fmla="*/ 6782 h 10000"/>
                <a:gd name="connsiteX8" fmla="*/ 3303 w 9771"/>
                <a:gd name="connsiteY8" fmla="*/ 5165 h 10000"/>
                <a:gd name="connsiteX9" fmla="*/ 3670 w 9771"/>
                <a:gd name="connsiteY9" fmla="*/ 4386 h 10000"/>
                <a:gd name="connsiteX10" fmla="*/ 4016 w 9771"/>
                <a:gd name="connsiteY10" fmla="*/ 3647 h 10000"/>
                <a:gd name="connsiteX11" fmla="*/ 4379 w 9771"/>
                <a:gd name="connsiteY11" fmla="*/ 2972 h 10000"/>
                <a:gd name="connsiteX12" fmla="*/ 4748 w 9771"/>
                <a:gd name="connsiteY12" fmla="*/ 2357 h 10000"/>
                <a:gd name="connsiteX13" fmla="*/ 4943 w 9771"/>
                <a:gd name="connsiteY13" fmla="*/ 2048 h 10000"/>
                <a:gd name="connsiteX14" fmla="*/ 5136 w 9771"/>
                <a:gd name="connsiteY14" fmla="*/ 1803 h 10000"/>
                <a:gd name="connsiteX15" fmla="*/ 5348 w 9771"/>
                <a:gd name="connsiteY15" fmla="*/ 1536 h 10000"/>
                <a:gd name="connsiteX16" fmla="*/ 5542 w 9771"/>
                <a:gd name="connsiteY16" fmla="*/ 1312 h 10000"/>
                <a:gd name="connsiteX17" fmla="*/ 5753 w 9771"/>
                <a:gd name="connsiteY17" fmla="*/ 1109 h 10000"/>
                <a:gd name="connsiteX18" fmla="*/ 5966 w 9771"/>
                <a:gd name="connsiteY18" fmla="*/ 922 h 10000"/>
                <a:gd name="connsiteX19" fmla="*/ 6180 w 9771"/>
                <a:gd name="connsiteY19" fmla="*/ 758 h 10000"/>
                <a:gd name="connsiteX20" fmla="*/ 6411 w 9771"/>
                <a:gd name="connsiteY20" fmla="*/ 634 h 10000"/>
                <a:gd name="connsiteX21" fmla="*/ 6620 w 9771"/>
                <a:gd name="connsiteY21" fmla="*/ 512 h 10000"/>
                <a:gd name="connsiteX22" fmla="*/ 6853 w 9771"/>
                <a:gd name="connsiteY22" fmla="*/ 450 h 10000"/>
                <a:gd name="connsiteX23" fmla="*/ 7103 w 9771"/>
                <a:gd name="connsiteY23" fmla="*/ 388 h 10000"/>
                <a:gd name="connsiteX24" fmla="*/ 7354 w 9771"/>
                <a:gd name="connsiteY24" fmla="*/ 388 h 10000"/>
                <a:gd name="connsiteX25" fmla="*/ 7663 w 9771"/>
                <a:gd name="connsiteY25" fmla="*/ 410 h 10000"/>
                <a:gd name="connsiteX26" fmla="*/ 7970 w 9771"/>
                <a:gd name="connsiteY26" fmla="*/ 492 h 10000"/>
                <a:gd name="connsiteX27" fmla="*/ 8244 w 9771"/>
                <a:gd name="connsiteY27" fmla="*/ 634 h 10000"/>
                <a:gd name="connsiteX28" fmla="*/ 8534 w 9771"/>
                <a:gd name="connsiteY28" fmla="*/ 780 h 10000"/>
                <a:gd name="connsiteX29" fmla="*/ 8783 w 9771"/>
                <a:gd name="connsiteY29" fmla="*/ 985 h 10000"/>
                <a:gd name="connsiteX30" fmla="*/ 9055 w 9771"/>
                <a:gd name="connsiteY30" fmla="*/ 1250 h 10000"/>
                <a:gd name="connsiteX31" fmla="*/ 9287 w 9771"/>
                <a:gd name="connsiteY31" fmla="*/ 1536 h 10000"/>
                <a:gd name="connsiteX32" fmla="*/ 9557 w 9771"/>
                <a:gd name="connsiteY32" fmla="*/ 1864 h 10000"/>
                <a:gd name="connsiteX33" fmla="*/ 9771 w 9771"/>
                <a:gd name="connsiteY33" fmla="*/ 2213 h 10000"/>
                <a:gd name="connsiteX34" fmla="*/ 9613 w 9771"/>
                <a:gd name="connsiteY34" fmla="*/ 656 h 10000"/>
                <a:gd name="connsiteX35" fmla="*/ 9267 w 9771"/>
                <a:gd name="connsiteY35" fmla="*/ 470 h 10000"/>
                <a:gd name="connsiteX36" fmla="*/ 8920 w 9771"/>
                <a:gd name="connsiteY36" fmla="*/ 307 h 10000"/>
                <a:gd name="connsiteX37" fmla="*/ 8554 w 9771"/>
                <a:gd name="connsiteY37" fmla="*/ 184 h 10000"/>
                <a:gd name="connsiteX38" fmla="*/ 8165 w 9771"/>
                <a:gd name="connsiteY38" fmla="*/ 101 h 10000"/>
                <a:gd name="connsiteX39" fmla="*/ 7761 w 9771"/>
                <a:gd name="connsiteY39" fmla="*/ 21 h 10000"/>
                <a:gd name="connsiteX40" fmla="*/ 7354 w 9771"/>
                <a:gd name="connsiteY40" fmla="*/ 0 h 10000"/>
                <a:gd name="connsiteX41" fmla="*/ 7008 w 9771"/>
                <a:gd name="connsiteY41" fmla="*/ 21 h 10000"/>
                <a:gd name="connsiteX42" fmla="*/ 6681 w 9771"/>
                <a:gd name="connsiteY42" fmla="*/ 61 h 10000"/>
                <a:gd name="connsiteX43" fmla="*/ 6354 w 9771"/>
                <a:gd name="connsiteY43" fmla="*/ 124 h 10000"/>
                <a:gd name="connsiteX44" fmla="*/ 6063 w 9771"/>
                <a:gd name="connsiteY44" fmla="*/ 184 h 10000"/>
                <a:gd name="connsiteX45" fmla="*/ 5753 w 9771"/>
                <a:gd name="connsiteY45" fmla="*/ 285 h 10000"/>
                <a:gd name="connsiteX46" fmla="*/ 5443 w 9771"/>
                <a:gd name="connsiteY46" fmla="*/ 388 h 10000"/>
                <a:gd name="connsiteX47" fmla="*/ 5174 w 9771"/>
                <a:gd name="connsiteY47" fmla="*/ 532 h 10000"/>
                <a:gd name="connsiteX48" fmla="*/ 4883 w 9771"/>
                <a:gd name="connsiteY48" fmla="*/ 698 h 10000"/>
                <a:gd name="connsiteX49" fmla="*/ 4634 w 9771"/>
                <a:gd name="connsiteY49" fmla="*/ 881 h 10000"/>
                <a:gd name="connsiteX50" fmla="*/ 4365 w 9771"/>
                <a:gd name="connsiteY50" fmla="*/ 1065 h 10000"/>
                <a:gd name="connsiteX51" fmla="*/ 4113 w 9771"/>
                <a:gd name="connsiteY51" fmla="*/ 1271 h 10000"/>
                <a:gd name="connsiteX52" fmla="*/ 3861 w 9771"/>
                <a:gd name="connsiteY52" fmla="*/ 1497 h 10000"/>
                <a:gd name="connsiteX53" fmla="*/ 3630 w 9771"/>
                <a:gd name="connsiteY53" fmla="*/ 1720 h 10000"/>
                <a:gd name="connsiteX54" fmla="*/ 3379 w 9771"/>
                <a:gd name="connsiteY54" fmla="*/ 1989 h 10000"/>
                <a:gd name="connsiteX55" fmla="*/ 2934 w 9771"/>
                <a:gd name="connsiteY55" fmla="*/ 2540 h 10000"/>
                <a:gd name="connsiteX56" fmla="*/ 2511 w 9771"/>
                <a:gd name="connsiteY56" fmla="*/ 3116 h 10000"/>
                <a:gd name="connsiteX57" fmla="*/ 2106 w 9771"/>
                <a:gd name="connsiteY57" fmla="*/ 3730 h 10000"/>
                <a:gd name="connsiteX58" fmla="*/ 1717 w 9771"/>
                <a:gd name="connsiteY58" fmla="*/ 4386 h 10000"/>
                <a:gd name="connsiteX59" fmla="*/ 1352 w 9771"/>
                <a:gd name="connsiteY59" fmla="*/ 5062 h 10000"/>
                <a:gd name="connsiteX60" fmla="*/ 1004 w 9771"/>
                <a:gd name="connsiteY60" fmla="*/ 5737 h 10000"/>
                <a:gd name="connsiteX61" fmla="*/ 659 w 9771"/>
                <a:gd name="connsiteY61" fmla="*/ 6455 h 10000"/>
                <a:gd name="connsiteX62" fmla="*/ 0 w 9771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110 w 10000"/>
                <a:gd name="connsiteY10" fmla="*/ 3647 h 10000"/>
                <a:gd name="connsiteX11" fmla="*/ 4482 w 10000"/>
                <a:gd name="connsiteY11" fmla="*/ 2972 h 10000"/>
                <a:gd name="connsiteX12" fmla="*/ 4859 w 10000"/>
                <a:gd name="connsiteY12" fmla="*/ 2357 h 10000"/>
                <a:gd name="connsiteX13" fmla="*/ 5059 w 10000"/>
                <a:gd name="connsiteY13" fmla="*/ 2048 h 10000"/>
                <a:gd name="connsiteX14" fmla="*/ 5256 w 10000"/>
                <a:gd name="connsiteY14" fmla="*/ 1803 h 10000"/>
                <a:gd name="connsiteX15" fmla="*/ 5473 w 10000"/>
                <a:gd name="connsiteY15" fmla="*/ 1536 h 10000"/>
                <a:gd name="connsiteX16" fmla="*/ 5672 w 10000"/>
                <a:gd name="connsiteY16" fmla="*/ 1312 h 10000"/>
                <a:gd name="connsiteX17" fmla="*/ 5888 w 10000"/>
                <a:gd name="connsiteY17" fmla="*/ 1109 h 10000"/>
                <a:gd name="connsiteX18" fmla="*/ 6106 w 10000"/>
                <a:gd name="connsiteY18" fmla="*/ 922 h 10000"/>
                <a:gd name="connsiteX19" fmla="*/ 6325 w 10000"/>
                <a:gd name="connsiteY19" fmla="*/ 758 h 10000"/>
                <a:gd name="connsiteX20" fmla="*/ 6561 w 10000"/>
                <a:gd name="connsiteY20" fmla="*/ 634 h 10000"/>
                <a:gd name="connsiteX21" fmla="*/ 6775 w 10000"/>
                <a:gd name="connsiteY21" fmla="*/ 512 h 10000"/>
                <a:gd name="connsiteX22" fmla="*/ 7014 w 10000"/>
                <a:gd name="connsiteY22" fmla="*/ 450 h 10000"/>
                <a:gd name="connsiteX23" fmla="*/ 7269 w 10000"/>
                <a:gd name="connsiteY23" fmla="*/ 388 h 10000"/>
                <a:gd name="connsiteX24" fmla="*/ 7526 w 10000"/>
                <a:gd name="connsiteY24" fmla="*/ 388 h 10000"/>
                <a:gd name="connsiteX25" fmla="*/ 7843 w 10000"/>
                <a:gd name="connsiteY25" fmla="*/ 410 h 10000"/>
                <a:gd name="connsiteX26" fmla="*/ 8157 w 10000"/>
                <a:gd name="connsiteY26" fmla="*/ 492 h 10000"/>
                <a:gd name="connsiteX27" fmla="*/ 8437 w 10000"/>
                <a:gd name="connsiteY27" fmla="*/ 634 h 10000"/>
                <a:gd name="connsiteX28" fmla="*/ 8734 w 10000"/>
                <a:gd name="connsiteY28" fmla="*/ 780 h 10000"/>
                <a:gd name="connsiteX29" fmla="*/ 8989 w 10000"/>
                <a:gd name="connsiteY29" fmla="*/ 985 h 10000"/>
                <a:gd name="connsiteX30" fmla="*/ 9267 w 10000"/>
                <a:gd name="connsiteY30" fmla="*/ 1250 h 10000"/>
                <a:gd name="connsiteX31" fmla="*/ 9505 w 10000"/>
                <a:gd name="connsiteY31" fmla="*/ 1536 h 10000"/>
                <a:gd name="connsiteX32" fmla="*/ 9781 w 10000"/>
                <a:gd name="connsiteY32" fmla="*/ 1864 h 10000"/>
                <a:gd name="connsiteX33" fmla="*/ 10000 w 10000"/>
                <a:gd name="connsiteY33" fmla="*/ 2213 h 10000"/>
                <a:gd name="connsiteX34" fmla="*/ 9838 w 10000"/>
                <a:gd name="connsiteY34" fmla="*/ 656 h 10000"/>
                <a:gd name="connsiteX35" fmla="*/ 9484 w 10000"/>
                <a:gd name="connsiteY35" fmla="*/ 470 h 10000"/>
                <a:gd name="connsiteX36" fmla="*/ 9129 w 10000"/>
                <a:gd name="connsiteY36" fmla="*/ 307 h 10000"/>
                <a:gd name="connsiteX37" fmla="*/ 8754 w 10000"/>
                <a:gd name="connsiteY37" fmla="*/ 184 h 10000"/>
                <a:gd name="connsiteX38" fmla="*/ 8356 w 10000"/>
                <a:gd name="connsiteY38" fmla="*/ 101 h 10000"/>
                <a:gd name="connsiteX39" fmla="*/ 7943 w 10000"/>
                <a:gd name="connsiteY39" fmla="*/ 21 h 10000"/>
                <a:gd name="connsiteX40" fmla="*/ 7526 w 10000"/>
                <a:gd name="connsiteY40" fmla="*/ 0 h 10000"/>
                <a:gd name="connsiteX41" fmla="*/ 7172 w 10000"/>
                <a:gd name="connsiteY41" fmla="*/ 21 h 10000"/>
                <a:gd name="connsiteX42" fmla="*/ 6838 w 10000"/>
                <a:gd name="connsiteY42" fmla="*/ 61 h 10000"/>
                <a:gd name="connsiteX43" fmla="*/ 6503 w 10000"/>
                <a:gd name="connsiteY43" fmla="*/ 124 h 10000"/>
                <a:gd name="connsiteX44" fmla="*/ 6205 w 10000"/>
                <a:gd name="connsiteY44" fmla="*/ 184 h 10000"/>
                <a:gd name="connsiteX45" fmla="*/ 5888 w 10000"/>
                <a:gd name="connsiteY45" fmla="*/ 285 h 10000"/>
                <a:gd name="connsiteX46" fmla="*/ 5571 w 10000"/>
                <a:gd name="connsiteY46" fmla="*/ 388 h 10000"/>
                <a:gd name="connsiteX47" fmla="*/ 5295 w 10000"/>
                <a:gd name="connsiteY47" fmla="*/ 532 h 10000"/>
                <a:gd name="connsiteX48" fmla="*/ 4997 w 10000"/>
                <a:gd name="connsiteY48" fmla="*/ 698 h 10000"/>
                <a:gd name="connsiteX49" fmla="*/ 4743 w 10000"/>
                <a:gd name="connsiteY49" fmla="*/ 881 h 10000"/>
                <a:gd name="connsiteX50" fmla="*/ 4467 w 10000"/>
                <a:gd name="connsiteY50" fmla="*/ 1065 h 10000"/>
                <a:gd name="connsiteX51" fmla="*/ 4209 w 10000"/>
                <a:gd name="connsiteY51" fmla="*/ 1271 h 10000"/>
                <a:gd name="connsiteX52" fmla="*/ 3951 w 10000"/>
                <a:gd name="connsiteY52" fmla="*/ 1497 h 10000"/>
                <a:gd name="connsiteX53" fmla="*/ 3715 w 10000"/>
                <a:gd name="connsiteY53" fmla="*/ 1720 h 10000"/>
                <a:gd name="connsiteX54" fmla="*/ 3458 w 10000"/>
                <a:gd name="connsiteY54" fmla="*/ 1989 h 10000"/>
                <a:gd name="connsiteX55" fmla="*/ 3003 w 10000"/>
                <a:gd name="connsiteY55" fmla="*/ 2540 h 10000"/>
                <a:gd name="connsiteX56" fmla="*/ 2570 w 10000"/>
                <a:gd name="connsiteY56" fmla="*/ 3116 h 10000"/>
                <a:gd name="connsiteX57" fmla="*/ 2155 w 10000"/>
                <a:gd name="connsiteY57" fmla="*/ 3730 h 10000"/>
                <a:gd name="connsiteX58" fmla="*/ 1757 w 10000"/>
                <a:gd name="connsiteY58" fmla="*/ 4386 h 10000"/>
                <a:gd name="connsiteX59" fmla="*/ 1384 w 10000"/>
                <a:gd name="connsiteY59" fmla="*/ 5062 h 10000"/>
                <a:gd name="connsiteX60" fmla="*/ 1028 w 10000"/>
                <a:gd name="connsiteY60" fmla="*/ 5737 h 10000"/>
                <a:gd name="connsiteX61" fmla="*/ 674 w 10000"/>
                <a:gd name="connsiteY61" fmla="*/ 6455 h 10000"/>
                <a:gd name="connsiteX62" fmla="*/ 0 w 10000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482 w 10000"/>
                <a:gd name="connsiteY10" fmla="*/ 2972 h 10000"/>
                <a:gd name="connsiteX11" fmla="*/ 4859 w 10000"/>
                <a:gd name="connsiteY11" fmla="*/ 2357 h 10000"/>
                <a:gd name="connsiteX12" fmla="*/ 5059 w 10000"/>
                <a:gd name="connsiteY12" fmla="*/ 2048 h 10000"/>
                <a:gd name="connsiteX13" fmla="*/ 5256 w 10000"/>
                <a:gd name="connsiteY13" fmla="*/ 1803 h 10000"/>
                <a:gd name="connsiteX14" fmla="*/ 5473 w 10000"/>
                <a:gd name="connsiteY14" fmla="*/ 1536 h 10000"/>
                <a:gd name="connsiteX15" fmla="*/ 5672 w 10000"/>
                <a:gd name="connsiteY15" fmla="*/ 1312 h 10000"/>
                <a:gd name="connsiteX16" fmla="*/ 5888 w 10000"/>
                <a:gd name="connsiteY16" fmla="*/ 1109 h 10000"/>
                <a:gd name="connsiteX17" fmla="*/ 6106 w 10000"/>
                <a:gd name="connsiteY17" fmla="*/ 922 h 10000"/>
                <a:gd name="connsiteX18" fmla="*/ 6325 w 10000"/>
                <a:gd name="connsiteY18" fmla="*/ 758 h 10000"/>
                <a:gd name="connsiteX19" fmla="*/ 6561 w 10000"/>
                <a:gd name="connsiteY19" fmla="*/ 634 h 10000"/>
                <a:gd name="connsiteX20" fmla="*/ 6775 w 10000"/>
                <a:gd name="connsiteY20" fmla="*/ 512 h 10000"/>
                <a:gd name="connsiteX21" fmla="*/ 7014 w 10000"/>
                <a:gd name="connsiteY21" fmla="*/ 450 h 10000"/>
                <a:gd name="connsiteX22" fmla="*/ 7269 w 10000"/>
                <a:gd name="connsiteY22" fmla="*/ 388 h 10000"/>
                <a:gd name="connsiteX23" fmla="*/ 7526 w 10000"/>
                <a:gd name="connsiteY23" fmla="*/ 388 h 10000"/>
                <a:gd name="connsiteX24" fmla="*/ 7843 w 10000"/>
                <a:gd name="connsiteY24" fmla="*/ 410 h 10000"/>
                <a:gd name="connsiteX25" fmla="*/ 8157 w 10000"/>
                <a:gd name="connsiteY25" fmla="*/ 492 h 10000"/>
                <a:gd name="connsiteX26" fmla="*/ 8437 w 10000"/>
                <a:gd name="connsiteY26" fmla="*/ 634 h 10000"/>
                <a:gd name="connsiteX27" fmla="*/ 8734 w 10000"/>
                <a:gd name="connsiteY27" fmla="*/ 780 h 10000"/>
                <a:gd name="connsiteX28" fmla="*/ 8989 w 10000"/>
                <a:gd name="connsiteY28" fmla="*/ 985 h 10000"/>
                <a:gd name="connsiteX29" fmla="*/ 9267 w 10000"/>
                <a:gd name="connsiteY29" fmla="*/ 1250 h 10000"/>
                <a:gd name="connsiteX30" fmla="*/ 9505 w 10000"/>
                <a:gd name="connsiteY30" fmla="*/ 1536 h 10000"/>
                <a:gd name="connsiteX31" fmla="*/ 9781 w 10000"/>
                <a:gd name="connsiteY31" fmla="*/ 1864 h 10000"/>
                <a:gd name="connsiteX32" fmla="*/ 10000 w 10000"/>
                <a:gd name="connsiteY32" fmla="*/ 2213 h 10000"/>
                <a:gd name="connsiteX33" fmla="*/ 9838 w 10000"/>
                <a:gd name="connsiteY33" fmla="*/ 656 h 10000"/>
                <a:gd name="connsiteX34" fmla="*/ 9484 w 10000"/>
                <a:gd name="connsiteY34" fmla="*/ 470 h 10000"/>
                <a:gd name="connsiteX35" fmla="*/ 9129 w 10000"/>
                <a:gd name="connsiteY35" fmla="*/ 307 h 10000"/>
                <a:gd name="connsiteX36" fmla="*/ 8754 w 10000"/>
                <a:gd name="connsiteY36" fmla="*/ 184 h 10000"/>
                <a:gd name="connsiteX37" fmla="*/ 8356 w 10000"/>
                <a:gd name="connsiteY37" fmla="*/ 101 h 10000"/>
                <a:gd name="connsiteX38" fmla="*/ 7943 w 10000"/>
                <a:gd name="connsiteY38" fmla="*/ 21 h 10000"/>
                <a:gd name="connsiteX39" fmla="*/ 7526 w 10000"/>
                <a:gd name="connsiteY39" fmla="*/ 0 h 10000"/>
                <a:gd name="connsiteX40" fmla="*/ 7172 w 10000"/>
                <a:gd name="connsiteY40" fmla="*/ 21 h 10000"/>
                <a:gd name="connsiteX41" fmla="*/ 6838 w 10000"/>
                <a:gd name="connsiteY41" fmla="*/ 61 h 10000"/>
                <a:gd name="connsiteX42" fmla="*/ 6503 w 10000"/>
                <a:gd name="connsiteY42" fmla="*/ 124 h 10000"/>
                <a:gd name="connsiteX43" fmla="*/ 6205 w 10000"/>
                <a:gd name="connsiteY43" fmla="*/ 184 h 10000"/>
                <a:gd name="connsiteX44" fmla="*/ 5888 w 10000"/>
                <a:gd name="connsiteY44" fmla="*/ 285 h 10000"/>
                <a:gd name="connsiteX45" fmla="*/ 5571 w 10000"/>
                <a:gd name="connsiteY45" fmla="*/ 388 h 10000"/>
                <a:gd name="connsiteX46" fmla="*/ 5295 w 10000"/>
                <a:gd name="connsiteY46" fmla="*/ 532 h 10000"/>
                <a:gd name="connsiteX47" fmla="*/ 4997 w 10000"/>
                <a:gd name="connsiteY47" fmla="*/ 698 h 10000"/>
                <a:gd name="connsiteX48" fmla="*/ 4743 w 10000"/>
                <a:gd name="connsiteY48" fmla="*/ 881 h 10000"/>
                <a:gd name="connsiteX49" fmla="*/ 4467 w 10000"/>
                <a:gd name="connsiteY49" fmla="*/ 1065 h 10000"/>
                <a:gd name="connsiteX50" fmla="*/ 4209 w 10000"/>
                <a:gd name="connsiteY50" fmla="*/ 1271 h 10000"/>
                <a:gd name="connsiteX51" fmla="*/ 3951 w 10000"/>
                <a:gd name="connsiteY51" fmla="*/ 1497 h 10000"/>
                <a:gd name="connsiteX52" fmla="*/ 3715 w 10000"/>
                <a:gd name="connsiteY52" fmla="*/ 1720 h 10000"/>
                <a:gd name="connsiteX53" fmla="*/ 3458 w 10000"/>
                <a:gd name="connsiteY53" fmla="*/ 1989 h 10000"/>
                <a:gd name="connsiteX54" fmla="*/ 3003 w 10000"/>
                <a:gd name="connsiteY54" fmla="*/ 2540 h 10000"/>
                <a:gd name="connsiteX55" fmla="*/ 2570 w 10000"/>
                <a:gd name="connsiteY55" fmla="*/ 3116 h 10000"/>
                <a:gd name="connsiteX56" fmla="*/ 2155 w 10000"/>
                <a:gd name="connsiteY56" fmla="*/ 3730 h 10000"/>
                <a:gd name="connsiteX57" fmla="*/ 1757 w 10000"/>
                <a:gd name="connsiteY57" fmla="*/ 4386 h 10000"/>
                <a:gd name="connsiteX58" fmla="*/ 1384 w 10000"/>
                <a:gd name="connsiteY58" fmla="*/ 5062 h 10000"/>
                <a:gd name="connsiteX59" fmla="*/ 1028 w 10000"/>
                <a:gd name="connsiteY59" fmla="*/ 5737 h 10000"/>
                <a:gd name="connsiteX60" fmla="*/ 674 w 10000"/>
                <a:gd name="connsiteY60" fmla="*/ 6455 h 10000"/>
                <a:gd name="connsiteX61" fmla="*/ 0 w 10000"/>
                <a:gd name="connsiteY6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256 w 10000"/>
                <a:gd name="connsiteY12" fmla="*/ 1803 h 10000"/>
                <a:gd name="connsiteX13" fmla="*/ 5473 w 10000"/>
                <a:gd name="connsiteY13" fmla="*/ 1536 h 10000"/>
                <a:gd name="connsiteX14" fmla="*/ 5672 w 10000"/>
                <a:gd name="connsiteY14" fmla="*/ 1312 h 10000"/>
                <a:gd name="connsiteX15" fmla="*/ 5888 w 10000"/>
                <a:gd name="connsiteY15" fmla="*/ 1109 h 10000"/>
                <a:gd name="connsiteX16" fmla="*/ 6106 w 10000"/>
                <a:gd name="connsiteY16" fmla="*/ 922 h 10000"/>
                <a:gd name="connsiteX17" fmla="*/ 6325 w 10000"/>
                <a:gd name="connsiteY17" fmla="*/ 758 h 10000"/>
                <a:gd name="connsiteX18" fmla="*/ 6561 w 10000"/>
                <a:gd name="connsiteY18" fmla="*/ 634 h 10000"/>
                <a:gd name="connsiteX19" fmla="*/ 6775 w 10000"/>
                <a:gd name="connsiteY19" fmla="*/ 512 h 10000"/>
                <a:gd name="connsiteX20" fmla="*/ 7014 w 10000"/>
                <a:gd name="connsiteY20" fmla="*/ 450 h 10000"/>
                <a:gd name="connsiteX21" fmla="*/ 7269 w 10000"/>
                <a:gd name="connsiteY21" fmla="*/ 388 h 10000"/>
                <a:gd name="connsiteX22" fmla="*/ 7526 w 10000"/>
                <a:gd name="connsiteY22" fmla="*/ 388 h 10000"/>
                <a:gd name="connsiteX23" fmla="*/ 7843 w 10000"/>
                <a:gd name="connsiteY23" fmla="*/ 410 h 10000"/>
                <a:gd name="connsiteX24" fmla="*/ 8157 w 10000"/>
                <a:gd name="connsiteY24" fmla="*/ 492 h 10000"/>
                <a:gd name="connsiteX25" fmla="*/ 8437 w 10000"/>
                <a:gd name="connsiteY25" fmla="*/ 634 h 10000"/>
                <a:gd name="connsiteX26" fmla="*/ 8734 w 10000"/>
                <a:gd name="connsiteY26" fmla="*/ 780 h 10000"/>
                <a:gd name="connsiteX27" fmla="*/ 8989 w 10000"/>
                <a:gd name="connsiteY27" fmla="*/ 985 h 10000"/>
                <a:gd name="connsiteX28" fmla="*/ 9267 w 10000"/>
                <a:gd name="connsiteY28" fmla="*/ 1250 h 10000"/>
                <a:gd name="connsiteX29" fmla="*/ 9505 w 10000"/>
                <a:gd name="connsiteY29" fmla="*/ 1536 h 10000"/>
                <a:gd name="connsiteX30" fmla="*/ 9781 w 10000"/>
                <a:gd name="connsiteY30" fmla="*/ 1864 h 10000"/>
                <a:gd name="connsiteX31" fmla="*/ 10000 w 10000"/>
                <a:gd name="connsiteY31" fmla="*/ 2213 h 10000"/>
                <a:gd name="connsiteX32" fmla="*/ 9838 w 10000"/>
                <a:gd name="connsiteY32" fmla="*/ 656 h 10000"/>
                <a:gd name="connsiteX33" fmla="*/ 9484 w 10000"/>
                <a:gd name="connsiteY33" fmla="*/ 470 h 10000"/>
                <a:gd name="connsiteX34" fmla="*/ 9129 w 10000"/>
                <a:gd name="connsiteY34" fmla="*/ 307 h 10000"/>
                <a:gd name="connsiteX35" fmla="*/ 8754 w 10000"/>
                <a:gd name="connsiteY35" fmla="*/ 184 h 10000"/>
                <a:gd name="connsiteX36" fmla="*/ 8356 w 10000"/>
                <a:gd name="connsiteY36" fmla="*/ 101 h 10000"/>
                <a:gd name="connsiteX37" fmla="*/ 7943 w 10000"/>
                <a:gd name="connsiteY37" fmla="*/ 21 h 10000"/>
                <a:gd name="connsiteX38" fmla="*/ 7526 w 10000"/>
                <a:gd name="connsiteY38" fmla="*/ 0 h 10000"/>
                <a:gd name="connsiteX39" fmla="*/ 7172 w 10000"/>
                <a:gd name="connsiteY39" fmla="*/ 21 h 10000"/>
                <a:gd name="connsiteX40" fmla="*/ 6838 w 10000"/>
                <a:gd name="connsiteY40" fmla="*/ 61 h 10000"/>
                <a:gd name="connsiteX41" fmla="*/ 6503 w 10000"/>
                <a:gd name="connsiteY41" fmla="*/ 124 h 10000"/>
                <a:gd name="connsiteX42" fmla="*/ 6205 w 10000"/>
                <a:gd name="connsiteY42" fmla="*/ 184 h 10000"/>
                <a:gd name="connsiteX43" fmla="*/ 5888 w 10000"/>
                <a:gd name="connsiteY43" fmla="*/ 285 h 10000"/>
                <a:gd name="connsiteX44" fmla="*/ 5571 w 10000"/>
                <a:gd name="connsiteY44" fmla="*/ 388 h 10000"/>
                <a:gd name="connsiteX45" fmla="*/ 5295 w 10000"/>
                <a:gd name="connsiteY45" fmla="*/ 532 h 10000"/>
                <a:gd name="connsiteX46" fmla="*/ 4997 w 10000"/>
                <a:gd name="connsiteY46" fmla="*/ 698 h 10000"/>
                <a:gd name="connsiteX47" fmla="*/ 4743 w 10000"/>
                <a:gd name="connsiteY47" fmla="*/ 881 h 10000"/>
                <a:gd name="connsiteX48" fmla="*/ 4467 w 10000"/>
                <a:gd name="connsiteY48" fmla="*/ 1065 h 10000"/>
                <a:gd name="connsiteX49" fmla="*/ 4209 w 10000"/>
                <a:gd name="connsiteY49" fmla="*/ 1271 h 10000"/>
                <a:gd name="connsiteX50" fmla="*/ 3951 w 10000"/>
                <a:gd name="connsiteY50" fmla="*/ 1497 h 10000"/>
                <a:gd name="connsiteX51" fmla="*/ 3715 w 10000"/>
                <a:gd name="connsiteY51" fmla="*/ 1720 h 10000"/>
                <a:gd name="connsiteX52" fmla="*/ 3458 w 10000"/>
                <a:gd name="connsiteY52" fmla="*/ 1989 h 10000"/>
                <a:gd name="connsiteX53" fmla="*/ 3003 w 10000"/>
                <a:gd name="connsiteY53" fmla="*/ 2540 h 10000"/>
                <a:gd name="connsiteX54" fmla="*/ 2570 w 10000"/>
                <a:gd name="connsiteY54" fmla="*/ 3116 h 10000"/>
                <a:gd name="connsiteX55" fmla="*/ 2155 w 10000"/>
                <a:gd name="connsiteY55" fmla="*/ 3730 h 10000"/>
                <a:gd name="connsiteX56" fmla="*/ 1757 w 10000"/>
                <a:gd name="connsiteY56" fmla="*/ 4386 h 10000"/>
                <a:gd name="connsiteX57" fmla="*/ 1384 w 10000"/>
                <a:gd name="connsiteY57" fmla="*/ 5062 h 10000"/>
                <a:gd name="connsiteX58" fmla="*/ 1028 w 10000"/>
                <a:gd name="connsiteY58" fmla="*/ 5737 h 10000"/>
                <a:gd name="connsiteX59" fmla="*/ 674 w 10000"/>
                <a:gd name="connsiteY59" fmla="*/ 6455 h 10000"/>
                <a:gd name="connsiteX60" fmla="*/ 0 w 10000"/>
                <a:gd name="connsiteY6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5888 w 10000"/>
                <a:gd name="connsiteY14" fmla="*/ 1109 h 10000"/>
                <a:gd name="connsiteX15" fmla="*/ 6106 w 10000"/>
                <a:gd name="connsiteY15" fmla="*/ 922 h 10000"/>
                <a:gd name="connsiteX16" fmla="*/ 6325 w 10000"/>
                <a:gd name="connsiteY16" fmla="*/ 758 h 10000"/>
                <a:gd name="connsiteX17" fmla="*/ 6561 w 10000"/>
                <a:gd name="connsiteY17" fmla="*/ 634 h 10000"/>
                <a:gd name="connsiteX18" fmla="*/ 6775 w 10000"/>
                <a:gd name="connsiteY18" fmla="*/ 512 h 10000"/>
                <a:gd name="connsiteX19" fmla="*/ 7014 w 10000"/>
                <a:gd name="connsiteY19" fmla="*/ 450 h 10000"/>
                <a:gd name="connsiteX20" fmla="*/ 7269 w 10000"/>
                <a:gd name="connsiteY20" fmla="*/ 388 h 10000"/>
                <a:gd name="connsiteX21" fmla="*/ 7526 w 10000"/>
                <a:gd name="connsiteY21" fmla="*/ 388 h 10000"/>
                <a:gd name="connsiteX22" fmla="*/ 7843 w 10000"/>
                <a:gd name="connsiteY22" fmla="*/ 410 h 10000"/>
                <a:gd name="connsiteX23" fmla="*/ 8157 w 10000"/>
                <a:gd name="connsiteY23" fmla="*/ 492 h 10000"/>
                <a:gd name="connsiteX24" fmla="*/ 8437 w 10000"/>
                <a:gd name="connsiteY24" fmla="*/ 634 h 10000"/>
                <a:gd name="connsiteX25" fmla="*/ 8734 w 10000"/>
                <a:gd name="connsiteY25" fmla="*/ 780 h 10000"/>
                <a:gd name="connsiteX26" fmla="*/ 8989 w 10000"/>
                <a:gd name="connsiteY26" fmla="*/ 985 h 10000"/>
                <a:gd name="connsiteX27" fmla="*/ 9267 w 10000"/>
                <a:gd name="connsiteY27" fmla="*/ 1250 h 10000"/>
                <a:gd name="connsiteX28" fmla="*/ 9505 w 10000"/>
                <a:gd name="connsiteY28" fmla="*/ 1536 h 10000"/>
                <a:gd name="connsiteX29" fmla="*/ 9781 w 10000"/>
                <a:gd name="connsiteY29" fmla="*/ 1864 h 10000"/>
                <a:gd name="connsiteX30" fmla="*/ 10000 w 10000"/>
                <a:gd name="connsiteY30" fmla="*/ 2213 h 10000"/>
                <a:gd name="connsiteX31" fmla="*/ 9838 w 10000"/>
                <a:gd name="connsiteY31" fmla="*/ 656 h 10000"/>
                <a:gd name="connsiteX32" fmla="*/ 9484 w 10000"/>
                <a:gd name="connsiteY32" fmla="*/ 470 h 10000"/>
                <a:gd name="connsiteX33" fmla="*/ 9129 w 10000"/>
                <a:gd name="connsiteY33" fmla="*/ 307 h 10000"/>
                <a:gd name="connsiteX34" fmla="*/ 8754 w 10000"/>
                <a:gd name="connsiteY34" fmla="*/ 184 h 10000"/>
                <a:gd name="connsiteX35" fmla="*/ 8356 w 10000"/>
                <a:gd name="connsiteY35" fmla="*/ 101 h 10000"/>
                <a:gd name="connsiteX36" fmla="*/ 7943 w 10000"/>
                <a:gd name="connsiteY36" fmla="*/ 21 h 10000"/>
                <a:gd name="connsiteX37" fmla="*/ 7526 w 10000"/>
                <a:gd name="connsiteY37" fmla="*/ 0 h 10000"/>
                <a:gd name="connsiteX38" fmla="*/ 7172 w 10000"/>
                <a:gd name="connsiteY38" fmla="*/ 21 h 10000"/>
                <a:gd name="connsiteX39" fmla="*/ 6838 w 10000"/>
                <a:gd name="connsiteY39" fmla="*/ 61 h 10000"/>
                <a:gd name="connsiteX40" fmla="*/ 6503 w 10000"/>
                <a:gd name="connsiteY40" fmla="*/ 124 h 10000"/>
                <a:gd name="connsiteX41" fmla="*/ 6205 w 10000"/>
                <a:gd name="connsiteY41" fmla="*/ 184 h 10000"/>
                <a:gd name="connsiteX42" fmla="*/ 5888 w 10000"/>
                <a:gd name="connsiteY42" fmla="*/ 285 h 10000"/>
                <a:gd name="connsiteX43" fmla="*/ 5571 w 10000"/>
                <a:gd name="connsiteY43" fmla="*/ 388 h 10000"/>
                <a:gd name="connsiteX44" fmla="*/ 5295 w 10000"/>
                <a:gd name="connsiteY44" fmla="*/ 532 h 10000"/>
                <a:gd name="connsiteX45" fmla="*/ 4997 w 10000"/>
                <a:gd name="connsiteY45" fmla="*/ 698 h 10000"/>
                <a:gd name="connsiteX46" fmla="*/ 4743 w 10000"/>
                <a:gd name="connsiteY46" fmla="*/ 881 h 10000"/>
                <a:gd name="connsiteX47" fmla="*/ 4467 w 10000"/>
                <a:gd name="connsiteY47" fmla="*/ 1065 h 10000"/>
                <a:gd name="connsiteX48" fmla="*/ 4209 w 10000"/>
                <a:gd name="connsiteY48" fmla="*/ 1271 h 10000"/>
                <a:gd name="connsiteX49" fmla="*/ 3951 w 10000"/>
                <a:gd name="connsiteY49" fmla="*/ 1497 h 10000"/>
                <a:gd name="connsiteX50" fmla="*/ 3715 w 10000"/>
                <a:gd name="connsiteY50" fmla="*/ 1720 h 10000"/>
                <a:gd name="connsiteX51" fmla="*/ 3458 w 10000"/>
                <a:gd name="connsiteY51" fmla="*/ 1989 h 10000"/>
                <a:gd name="connsiteX52" fmla="*/ 3003 w 10000"/>
                <a:gd name="connsiteY52" fmla="*/ 2540 h 10000"/>
                <a:gd name="connsiteX53" fmla="*/ 2570 w 10000"/>
                <a:gd name="connsiteY53" fmla="*/ 3116 h 10000"/>
                <a:gd name="connsiteX54" fmla="*/ 2155 w 10000"/>
                <a:gd name="connsiteY54" fmla="*/ 3730 h 10000"/>
                <a:gd name="connsiteX55" fmla="*/ 1757 w 10000"/>
                <a:gd name="connsiteY55" fmla="*/ 4386 h 10000"/>
                <a:gd name="connsiteX56" fmla="*/ 1384 w 10000"/>
                <a:gd name="connsiteY56" fmla="*/ 5062 h 10000"/>
                <a:gd name="connsiteX57" fmla="*/ 1028 w 10000"/>
                <a:gd name="connsiteY57" fmla="*/ 5737 h 10000"/>
                <a:gd name="connsiteX58" fmla="*/ 674 w 10000"/>
                <a:gd name="connsiteY58" fmla="*/ 6455 h 10000"/>
                <a:gd name="connsiteX59" fmla="*/ 0 w 10000"/>
                <a:gd name="connsiteY5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6106 w 10000"/>
                <a:gd name="connsiteY14" fmla="*/ 922 h 10000"/>
                <a:gd name="connsiteX15" fmla="*/ 6325 w 10000"/>
                <a:gd name="connsiteY15" fmla="*/ 758 h 10000"/>
                <a:gd name="connsiteX16" fmla="*/ 6561 w 10000"/>
                <a:gd name="connsiteY16" fmla="*/ 634 h 10000"/>
                <a:gd name="connsiteX17" fmla="*/ 6775 w 10000"/>
                <a:gd name="connsiteY17" fmla="*/ 512 h 10000"/>
                <a:gd name="connsiteX18" fmla="*/ 7014 w 10000"/>
                <a:gd name="connsiteY18" fmla="*/ 450 h 10000"/>
                <a:gd name="connsiteX19" fmla="*/ 7269 w 10000"/>
                <a:gd name="connsiteY19" fmla="*/ 388 h 10000"/>
                <a:gd name="connsiteX20" fmla="*/ 7526 w 10000"/>
                <a:gd name="connsiteY20" fmla="*/ 388 h 10000"/>
                <a:gd name="connsiteX21" fmla="*/ 7843 w 10000"/>
                <a:gd name="connsiteY21" fmla="*/ 410 h 10000"/>
                <a:gd name="connsiteX22" fmla="*/ 8157 w 10000"/>
                <a:gd name="connsiteY22" fmla="*/ 492 h 10000"/>
                <a:gd name="connsiteX23" fmla="*/ 8437 w 10000"/>
                <a:gd name="connsiteY23" fmla="*/ 634 h 10000"/>
                <a:gd name="connsiteX24" fmla="*/ 8734 w 10000"/>
                <a:gd name="connsiteY24" fmla="*/ 780 h 10000"/>
                <a:gd name="connsiteX25" fmla="*/ 8989 w 10000"/>
                <a:gd name="connsiteY25" fmla="*/ 985 h 10000"/>
                <a:gd name="connsiteX26" fmla="*/ 9267 w 10000"/>
                <a:gd name="connsiteY26" fmla="*/ 1250 h 10000"/>
                <a:gd name="connsiteX27" fmla="*/ 9505 w 10000"/>
                <a:gd name="connsiteY27" fmla="*/ 1536 h 10000"/>
                <a:gd name="connsiteX28" fmla="*/ 9781 w 10000"/>
                <a:gd name="connsiteY28" fmla="*/ 1864 h 10000"/>
                <a:gd name="connsiteX29" fmla="*/ 10000 w 10000"/>
                <a:gd name="connsiteY29" fmla="*/ 2213 h 10000"/>
                <a:gd name="connsiteX30" fmla="*/ 9838 w 10000"/>
                <a:gd name="connsiteY30" fmla="*/ 656 h 10000"/>
                <a:gd name="connsiteX31" fmla="*/ 9484 w 10000"/>
                <a:gd name="connsiteY31" fmla="*/ 470 h 10000"/>
                <a:gd name="connsiteX32" fmla="*/ 9129 w 10000"/>
                <a:gd name="connsiteY32" fmla="*/ 307 h 10000"/>
                <a:gd name="connsiteX33" fmla="*/ 8754 w 10000"/>
                <a:gd name="connsiteY33" fmla="*/ 184 h 10000"/>
                <a:gd name="connsiteX34" fmla="*/ 8356 w 10000"/>
                <a:gd name="connsiteY34" fmla="*/ 101 h 10000"/>
                <a:gd name="connsiteX35" fmla="*/ 7943 w 10000"/>
                <a:gd name="connsiteY35" fmla="*/ 21 h 10000"/>
                <a:gd name="connsiteX36" fmla="*/ 7526 w 10000"/>
                <a:gd name="connsiteY36" fmla="*/ 0 h 10000"/>
                <a:gd name="connsiteX37" fmla="*/ 7172 w 10000"/>
                <a:gd name="connsiteY37" fmla="*/ 21 h 10000"/>
                <a:gd name="connsiteX38" fmla="*/ 6838 w 10000"/>
                <a:gd name="connsiteY38" fmla="*/ 61 h 10000"/>
                <a:gd name="connsiteX39" fmla="*/ 6503 w 10000"/>
                <a:gd name="connsiteY39" fmla="*/ 124 h 10000"/>
                <a:gd name="connsiteX40" fmla="*/ 6205 w 10000"/>
                <a:gd name="connsiteY40" fmla="*/ 184 h 10000"/>
                <a:gd name="connsiteX41" fmla="*/ 5888 w 10000"/>
                <a:gd name="connsiteY41" fmla="*/ 285 h 10000"/>
                <a:gd name="connsiteX42" fmla="*/ 5571 w 10000"/>
                <a:gd name="connsiteY42" fmla="*/ 388 h 10000"/>
                <a:gd name="connsiteX43" fmla="*/ 5295 w 10000"/>
                <a:gd name="connsiteY43" fmla="*/ 532 h 10000"/>
                <a:gd name="connsiteX44" fmla="*/ 4997 w 10000"/>
                <a:gd name="connsiteY44" fmla="*/ 698 h 10000"/>
                <a:gd name="connsiteX45" fmla="*/ 4743 w 10000"/>
                <a:gd name="connsiteY45" fmla="*/ 881 h 10000"/>
                <a:gd name="connsiteX46" fmla="*/ 4467 w 10000"/>
                <a:gd name="connsiteY46" fmla="*/ 1065 h 10000"/>
                <a:gd name="connsiteX47" fmla="*/ 4209 w 10000"/>
                <a:gd name="connsiteY47" fmla="*/ 1271 h 10000"/>
                <a:gd name="connsiteX48" fmla="*/ 3951 w 10000"/>
                <a:gd name="connsiteY48" fmla="*/ 1497 h 10000"/>
                <a:gd name="connsiteX49" fmla="*/ 3715 w 10000"/>
                <a:gd name="connsiteY49" fmla="*/ 1720 h 10000"/>
                <a:gd name="connsiteX50" fmla="*/ 3458 w 10000"/>
                <a:gd name="connsiteY50" fmla="*/ 1989 h 10000"/>
                <a:gd name="connsiteX51" fmla="*/ 3003 w 10000"/>
                <a:gd name="connsiteY51" fmla="*/ 2540 h 10000"/>
                <a:gd name="connsiteX52" fmla="*/ 2570 w 10000"/>
                <a:gd name="connsiteY52" fmla="*/ 3116 h 10000"/>
                <a:gd name="connsiteX53" fmla="*/ 2155 w 10000"/>
                <a:gd name="connsiteY53" fmla="*/ 3730 h 10000"/>
                <a:gd name="connsiteX54" fmla="*/ 1757 w 10000"/>
                <a:gd name="connsiteY54" fmla="*/ 4386 h 10000"/>
                <a:gd name="connsiteX55" fmla="*/ 1384 w 10000"/>
                <a:gd name="connsiteY55" fmla="*/ 5062 h 10000"/>
                <a:gd name="connsiteX56" fmla="*/ 1028 w 10000"/>
                <a:gd name="connsiteY56" fmla="*/ 5737 h 10000"/>
                <a:gd name="connsiteX57" fmla="*/ 674 w 10000"/>
                <a:gd name="connsiteY57" fmla="*/ 6455 h 10000"/>
                <a:gd name="connsiteX58" fmla="*/ 0 w 10000"/>
                <a:gd name="connsiteY5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715 w 10000"/>
                <a:gd name="connsiteY48" fmla="*/ 1720 h 10000"/>
                <a:gd name="connsiteX49" fmla="*/ 3458 w 10000"/>
                <a:gd name="connsiteY49" fmla="*/ 1989 h 10000"/>
                <a:gd name="connsiteX50" fmla="*/ 3003 w 10000"/>
                <a:gd name="connsiteY50" fmla="*/ 2540 h 10000"/>
                <a:gd name="connsiteX51" fmla="*/ 2570 w 10000"/>
                <a:gd name="connsiteY51" fmla="*/ 3116 h 10000"/>
                <a:gd name="connsiteX52" fmla="*/ 2155 w 10000"/>
                <a:gd name="connsiteY52" fmla="*/ 3730 h 10000"/>
                <a:gd name="connsiteX53" fmla="*/ 1757 w 10000"/>
                <a:gd name="connsiteY53" fmla="*/ 4386 h 10000"/>
                <a:gd name="connsiteX54" fmla="*/ 1384 w 10000"/>
                <a:gd name="connsiteY54" fmla="*/ 5062 h 10000"/>
                <a:gd name="connsiteX55" fmla="*/ 1028 w 10000"/>
                <a:gd name="connsiteY55" fmla="*/ 5737 h 10000"/>
                <a:gd name="connsiteX56" fmla="*/ 674 w 10000"/>
                <a:gd name="connsiteY56" fmla="*/ 6455 h 10000"/>
                <a:gd name="connsiteX57" fmla="*/ 0 w 10000"/>
                <a:gd name="connsiteY5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458 w 10000"/>
                <a:gd name="connsiteY48" fmla="*/ 1989 h 10000"/>
                <a:gd name="connsiteX49" fmla="*/ 3003 w 10000"/>
                <a:gd name="connsiteY49" fmla="*/ 2540 h 10000"/>
                <a:gd name="connsiteX50" fmla="*/ 2570 w 10000"/>
                <a:gd name="connsiteY50" fmla="*/ 3116 h 10000"/>
                <a:gd name="connsiteX51" fmla="*/ 2155 w 10000"/>
                <a:gd name="connsiteY51" fmla="*/ 3730 h 10000"/>
                <a:gd name="connsiteX52" fmla="*/ 1757 w 10000"/>
                <a:gd name="connsiteY52" fmla="*/ 4386 h 10000"/>
                <a:gd name="connsiteX53" fmla="*/ 1384 w 10000"/>
                <a:gd name="connsiteY53" fmla="*/ 5062 h 10000"/>
                <a:gd name="connsiteX54" fmla="*/ 1028 w 10000"/>
                <a:gd name="connsiteY54" fmla="*/ 5737 h 10000"/>
                <a:gd name="connsiteX55" fmla="*/ 674 w 10000"/>
                <a:gd name="connsiteY55" fmla="*/ 6455 h 10000"/>
                <a:gd name="connsiteX56" fmla="*/ 0 w 10000"/>
                <a:gd name="connsiteY5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458 w 10000"/>
                <a:gd name="connsiteY47" fmla="*/ 1989 h 10000"/>
                <a:gd name="connsiteX48" fmla="*/ 3003 w 10000"/>
                <a:gd name="connsiteY48" fmla="*/ 2540 h 10000"/>
                <a:gd name="connsiteX49" fmla="*/ 2570 w 10000"/>
                <a:gd name="connsiteY49" fmla="*/ 3116 h 10000"/>
                <a:gd name="connsiteX50" fmla="*/ 2155 w 10000"/>
                <a:gd name="connsiteY50" fmla="*/ 3730 h 10000"/>
                <a:gd name="connsiteX51" fmla="*/ 1757 w 10000"/>
                <a:gd name="connsiteY51" fmla="*/ 4386 h 10000"/>
                <a:gd name="connsiteX52" fmla="*/ 1384 w 10000"/>
                <a:gd name="connsiteY52" fmla="*/ 5062 h 10000"/>
                <a:gd name="connsiteX53" fmla="*/ 1028 w 10000"/>
                <a:gd name="connsiteY53" fmla="*/ 5737 h 10000"/>
                <a:gd name="connsiteX54" fmla="*/ 674 w 10000"/>
                <a:gd name="connsiteY54" fmla="*/ 6455 h 10000"/>
                <a:gd name="connsiteX55" fmla="*/ 0 w 10000"/>
                <a:gd name="connsiteY5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3458 w 10000"/>
                <a:gd name="connsiteY46" fmla="*/ 1989 h 10000"/>
                <a:gd name="connsiteX47" fmla="*/ 3003 w 10000"/>
                <a:gd name="connsiteY47" fmla="*/ 2540 h 10000"/>
                <a:gd name="connsiteX48" fmla="*/ 2570 w 10000"/>
                <a:gd name="connsiteY48" fmla="*/ 3116 h 10000"/>
                <a:gd name="connsiteX49" fmla="*/ 2155 w 10000"/>
                <a:gd name="connsiteY49" fmla="*/ 3730 h 10000"/>
                <a:gd name="connsiteX50" fmla="*/ 1757 w 10000"/>
                <a:gd name="connsiteY50" fmla="*/ 4386 h 10000"/>
                <a:gd name="connsiteX51" fmla="*/ 1384 w 10000"/>
                <a:gd name="connsiteY51" fmla="*/ 5062 h 10000"/>
                <a:gd name="connsiteX52" fmla="*/ 1028 w 10000"/>
                <a:gd name="connsiteY52" fmla="*/ 5737 h 10000"/>
                <a:gd name="connsiteX53" fmla="*/ 674 w 10000"/>
                <a:gd name="connsiteY53" fmla="*/ 6455 h 10000"/>
                <a:gd name="connsiteX54" fmla="*/ 0 w 10000"/>
                <a:gd name="connsiteY5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3458 w 10000"/>
                <a:gd name="connsiteY45" fmla="*/ 1989 h 10000"/>
                <a:gd name="connsiteX46" fmla="*/ 3003 w 10000"/>
                <a:gd name="connsiteY46" fmla="*/ 2540 h 10000"/>
                <a:gd name="connsiteX47" fmla="*/ 2570 w 10000"/>
                <a:gd name="connsiteY47" fmla="*/ 3116 h 10000"/>
                <a:gd name="connsiteX48" fmla="*/ 2155 w 10000"/>
                <a:gd name="connsiteY48" fmla="*/ 3730 h 10000"/>
                <a:gd name="connsiteX49" fmla="*/ 1757 w 10000"/>
                <a:gd name="connsiteY49" fmla="*/ 4386 h 10000"/>
                <a:gd name="connsiteX50" fmla="*/ 1384 w 10000"/>
                <a:gd name="connsiteY50" fmla="*/ 5062 h 10000"/>
                <a:gd name="connsiteX51" fmla="*/ 1028 w 10000"/>
                <a:gd name="connsiteY51" fmla="*/ 5737 h 10000"/>
                <a:gd name="connsiteX52" fmla="*/ 674 w 10000"/>
                <a:gd name="connsiteY52" fmla="*/ 6455 h 10000"/>
                <a:gd name="connsiteX53" fmla="*/ 0 w 10000"/>
                <a:gd name="connsiteY5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3458 w 10000"/>
                <a:gd name="connsiteY44" fmla="*/ 1989 h 10000"/>
                <a:gd name="connsiteX45" fmla="*/ 3003 w 10000"/>
                <a:gd name="connsiteY45" fmla="*/ 2540 h 10000"/>
                <a:gd name="connsiteX46" fmla="*/ 2570 w 10000"/>
                <a:gd name="connsiteY46" fmla="*/ 3116 h 10000"/>
                <a:gd name="connsiteX47" fmla="*/ 2155 w 10000"/>
                <a:gd name="connsiteY47" fmla="*/ 3730 h 10000"/>
                <a:gd name="connsiteX48" fmla="*/ 1757 w 10000"/>
                <a:gd name="connsiteY48" fmla="*/ 4386 h 10000"/>
                <a:gd name="connsiteX49" fmla="*/ 1384 w 10000"/>
                <a:gd name="connsiteY49" fmla="*/ 5062 h 10000"/>
                <a:gd name="connsiteX50" fmla="*/ 1028 w 10000"/>
                <a:gd name="connsiteY50" fmla="*/ 5737 h 10000"/>
                <a:gd name="connsiteX51" fmla="*/ 674 w 10000"/>
                <a:gd name="connsiteY51" fmla="*/ 6455 h 10000"/>
                <a:gd name="connsiteX52" fmla="*/ 0 w 10000"/>
                <a:gd name="connsiteY5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3458 w 10000"/>
                <a:gd name="connsiteY43" fmla="*/ 1989 h 10000"/>
                <a:gd name="connsiteX44" fmla="*/ 3003 w 10000"/>
                <a:gd name="connsiteY44" fmla="*/ 2540 h 10000"/>
                <a:gd name="connsiteX45" fmla="*/ 2570 w 10000"/>
                <a:gd name="connsiteY45" fmla="*/ 3116 h 10000"/>
                <a:gd name="connsiteX46" fmla="*/ 2155 w 10000"/>
                <a:gd name="connsiteY46" fmla="*/ 3730 h 10000"/>
                <a:gd name="connsiteX47" fmla="*/ 1757 w 10000"/>
                <a:gd name="connsiteY47" fmla="*/ 4386 h 10000"/>
                <a:gd name="connsiteX48" fmla="*/ 1384 w 10000"/>
                <a:gd name="connsiteY48" fmla="*/ 5062 h 10000"/>
                <a:gd name="connsiteX49" fmla="*/ 1028 w 10000"/>
                <a:gd name="connsiteY49" fmla="*/ 5737 h 10000"/>
                <a:gd name="connsiteX50" fmla="*/ 674 w 10000"/>
                <a:gd name="connsiteY50" fmla="*/ 6455 h 10000"/>
                <a:gd name="connsiteX51" fmla="*/ 0 w 10000"/>
                <a:gd name="connsiteY5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3458 w 10000"/>
                <a:gd name="connsiteY42" fmla="*/ 1989 h 10000"/>
                <a:gd name="connsiteX43" fmla="*/ 3003 w 10000"/>
                <a:gd name="connsiteY43" fmla="*/ 2540 h 10000"/>
                <a:gd name="connsiteX44" fmla="*/ 2570 w 10000"/>
                <a:gd name="connsiteY44" fmla="*/ 3116 h 10000"/>
                <a:gd name="connsiteX45" fmla="*/ 2155 w 10000"/>
                <a:gd name="connsiteY45" fmla="*/ 3730 h 10000"/>
                <a:gd name="connsiteX46" fmla="*/ 1757 w 10000"/>
                <a:gd name="connsiteY46" fmla="*/ 4386 h 10000"/>
                <a:gd name="connsiteX47" fmla="*/ 1384 w 10000"/>
                <a:gd name="connsiteY47" fmla="*/ 5062 h 10000"/>
                <a:gd name="connsiteX48" fmla="*/ 1028 w 10000"/>
                <a:gd name="connsiteY48" fmla="*/ 5737 h 10000"/>
                <a:gd name="connsiteX49" fmla="*/ 674 w 10000"/>
                <a:gd name="connsiteY49" fmla="*/ 6455 h 10000"/>
                <a:gd name="connsiteX50" fmla="*/ 0 w 10000"/>
                <a:gd name="connsiteY5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3458 w 10000"/>
                <a:gd name="connsiteY41" fmla="*/ 1989 h 10000"/>
                <a:gd name="connsiteX42" fmla="*/ 3003 w 10000"/>
                <a:gd name="connsiteY42" fmla="*/ 2540 h 10000"/>
                <a:gd name="connsiteX43" fmla="*/ 2570 w 10000"/>
                <a:gd name="connsiteY43" fmla="*/ 3116 h 10000"/>
                <a:gd name="connsiteX44" fmla="*/ 2155 w 10000"/>
                <a:gd name="connsiteY44" fmla="*/ 3730 h 10000"/>
                <a:gd name="connsiteX45" fmla="*/ 1757 w 10000"/>
                <a:gd name="connsiteY45" fmla="*/ 4386 h 10000"/>
                <a:gd name="connsiteX46" fmla="*/ 1384 w 10000"/>
                <a:gd name="connsiteY46" fmla="*/ 5062 h 10000"/>
                <a:gd name="connsiteX47" fmla="*/ 1028 w 10000"/>
                <a:gd name="connsiteY47" fmla="*/ 5737 h 10000"/>
                <a:gd name="connsiteX48" fmla="*/ 674 w 10000"/>
                <a:gd name="connsiteY48" fmla="*/ 6455 h 10000"/>
                <a:gd name="connsiteX49" fmla="*/ 0 w 10000"/>
                <a:gd name="connsiteY4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3458 w 10000"/>
                <a:gd name="connsiteY40" fmla="*/ 1989 h 10000"/>
                <a:gd name="connsiteX41" fmla="*/ 3003 w 10000"/>
                <a:gd name="connsiteY41" fmla="*/ 2540 h 10000"/>
                <a:gd name="connsiteX42" fmla="*/ 2570 w 10000"/>
                <a:gd name="connsiteY42" fmla="*/ 3116 h 10000"/>
                <a:gd name="connsiteX43" fmla="*/ 2155 w 10000"/>
                <a:gd name="connsiteY43" fmla="*/ 3730 h 10000"/>
                <a:gd name="connsiteX44" fmla="*/ 1757 w 10000"/>
                <a:gd name="connsiteY44" fmla="*/ 4386 h 10000"/>
                <a:gd name="connsiteX45" fmla="*/ 1384 w 10000"/>
                <a:gd name="connsiteY45" fmla="*/ 5062 h 10000"/>
                <a:gd name="connsiteX46" fmla="*/ 1028 w 10000"/>
                <a:gd name="connsiteY46" fmla="*/ 5737 h 10000"/>
                <a:gd name="connsiteX47" fmla="*/ 674 w 10000"/>
                <a:gd name="connsiteY47" fmla="*/ 6455 h 10000"/>
                <a:gd name="connsiteX48" fmla="*/ 0 w 10000"/>
                <a:gd name="connsiteY4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3458 w 10000"/>
                <a:gd name="connsiteY39" fmla="*/ 1989 h 10000"/>
                <a:gd name="connsiteX40" fmla="*/ 3003 w 10000"/>
                <a:gd name="connsiteY40" fmla="*/ 2540 h 10000"/>
                <a:gd name="connsiteX41" fmla="*/ 2570 w 10000"/>
                <a:gd name="connsiteY41" fmla="*/ 3116 h 10000"/>
                <a:gd name="connsiteX42" fmla="*/ 2155 w 10000"/>
                <a:gd name="connsiteY42" fmla="*/ 3730 h 10000"/>
                <a:gd name="connsiteX43" fmla="*/ 1757 w 10000"/>
                <a:gd name="connsiteY43" fmla="*/ 4386 h 10000"/>
                <a:gd name="connsiteX44" fmla="*/ 1384 w 10000"/>
                <a:gd name="connsiteY44" fmla="*/ 5062 h 10000"/>
                <a:gd name="connsiteX45" fmla="*/ 1028 w 10000"/>
                <a:gd name="connsiteY45" fmla="*/ 5737 h 10000"/>
                <a:gd name="connsiteX46" fmla="*/ 674 w 10000"/>
                <a:gd name="connsiteY46" fmla="*/ 6455 h 10000"/>
                <a:gd name="connsiteX47" fmla="*/ 0 w 10000"/>
                <a:gd name="connsiteY4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3458 w 10000"/>
                <a:gd name="connsiteY38" fmla="*/ 1989 h 10000"/>
                <a:gd name="connsiteX39" fmla="*/ 3003 w 10000"/>
                <a:gd name="connsiteY39" fmla="*/ 2540 h 10000"/>
                <a:gd name="connsiteX40" fmla="*/ 2570 w 10000"/>
                <a:gd name="connsiteY40" fmla="*/ 3116 h 10000"/>
                <a:gd name="connsiteX41" fmla="*/ 2155 w 10000"/>
                <a:gd name="connsiteY41" fmla="*/ 3730 h 10000"/>
                <a:gd name="connsiteX42" fmla="*/ 1757 w 10000"/>
                <a:gd name="connsiteY42" fmla="*/ 4386 h 10000"/>
                <a:gd name="connsiteX43" fmla="*/ 1384 w 10000"/>
                <a:gd name="connsiteY43" fmla="*/ 5062 h 10000"/>
                <a:gd name="connsiteX44" fmla="*/ 1028 w 10000"/>
                <a:gd name="connsiteY44" fmla="*/ 5737 h 10000"/>
                <a:gd name="connsiteX45" fmla="*/ 674 w 10000"/>
                <a:gd name="connsiteY45" fmla="*/ 6455 h 10000"/>
                <a:gd name="connsiteX46" fmla="*/ 0 w 10000"/>
                <a:gd name="connsiteY4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3458 w 10000"/>
                <a:gd name="connsiteY37" fmla="*/ 1989 h 10000"/>
                <a:gd name="connsiteX38" fmla="*/ 3003 w 10000"/>
                <a:gd name="connsiteY38" fmla="*/ 2540 h 10000"/>
                <a:gd name="connsiteX39" fmla="*/ 2570 w 10000"/>
                <a:gd name="connsiteY39" fmla="*/ 3116 h 10000"/>
                <a:gd name="connsiteX40" fmla="*/ 2155 w 10000"/>
                <a:gd name="connsiteY40" fmla="*/ 3730 h 10000"/>
                <a:gd name="connsiteX41" fmla="*/ 1757 w 10000"/>
                <a:gd name="connsiteY41" fmla="*/ 4386 h 10000"/>
                <a:gd name="connsiteX42" fmla="*/ 1384 w 10000"/>
                <a:gd name="connsiteY42" fmla="*/ 5062 h 10000"/>
                <a:gd name="connsiteX43" fmla="*/ 1028 w 10000"/>
                <a:gd name="connsiteY43" fmla="*/ 5737 h 10000"/>
                <a:gd name="connsiteX44" fmla="*/ 674 w 10000"/>
                <a:gd name="connsiteY44" fmla="*/ 6455 h 10000"/>
                <a:gd name="connsiteX45" fmla="*/ 0 w 10000"/>
                <a:gd name="connsiteY4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5672 w 10000"/>
                <a:gd name="connsiteY11" fmla="*/ 1312 h 10000"/>
                <a:gd name="connsiteX12" fmla="*/ 6106 w 10000"/>
                <a:gd name="connsiteY12" fmla="*/ 922 h 10000"/>
                <a:gd name="connsiteX13" fmla="*/ 6325 w 10000"/>
                <a:gd name="connsiteY13" fmla="*/ 758 h 10000"/>
                <a:gd name="connsiteX14" fmla="*/ 6561 w 10000"/>
                <a:gd name="connsiteY14" fmla="*/ 634 h 10000"/>
                <a:gd name="connsiteX15" fmla="*/ 6775 w 10000"/>
                <a:gd name="connsiteY15" fmla="*/ 512 h 10000"/>
                <a:gd name="connsiteX16" fmla="*/ 7014 w 10000"/>
                <a:gd name="connsiteY16" fmla="*/ 450 h 10000"/>
                <a:gd name="connsiteX17" fmla="*/ 7269 w 10000"/>
                <a:gd name="connsiteY17" fmla="*/ 388 h 10000"/>
                <a:gd name="connsiteX18" fmla="*/ 7526 w 10000"/>
                <a:gd name="connsiteY18" fmla="*/ 388 h 10000"/>
                <a:gd name="connsiteX19" fmla="*/ 7843 w 10000"/>
                <a:gd name="connsiteY19" fmla="*/ 410 h 10000"/>
                <a:gd name="connsiteX20" fmla="*/ 8157 w 10000"/>
                <a:gd name="connsiteY20" fmla="*/ 492 h 10000"/>
                <a:gd name="connsiteX21" fmla="*/ 8437 w 10000"/>
                <a:gd name="connsiteY21" fmla="*/ 634 h 10000"/>
                <a:gd name="connsiteX22" fmla="*/ 8734 w 10000"/>
                <a:gd name="connsiteY22" fmla="*/ 780 h 10000"/>
                <a:gd name="connsiteX23" fmla="*/ 8989 w 10000"/>
                <a:gd name="connsiteY23" fmla="*/ 985 h 10000"/>
                <a:gd name="connsiteX24" fmla="*/ 9267 w 10000"/>
                <a:gd name="connsiteY24" fmla="*/ 1250 h 10000"/>
                <a:gd name="connsiteX25" fmla="*/ 9505 w 10000"/>
                <a:gd name="connsiteY25" fmla="*/ 1536 h 10000"/>
                <a:gd name="connsiteX26" fmla="*/ 9781 w 10000"/>
                <a:gd name="connsiteY26" fmla="*/ 1864 h 10000"/>
                <a:gd name="connsiteX27" fmla="*/ 10000 w 10000"/>
                <a:gd name="connsiteY27" fmla="*/ 2213 h 10000"/>
                <a:gd name="connsiteX28" fmla="*/ 9838 w 10000"/>
                <a:gd name="connsiteY28" fmla="*/ 656 h 10000"/>
                <a:gd name="connsiteX29" fmla="*/ 9484 w 10000"/>
                <a:gd name="connsiteY29" fmla="*/ 470 h 10000"/>
                <a:gd name="connsiteX30" fmla="*/ 9129 w 10000"/>
                <a:gd name="connsiteY30" fmla="*/ 307 h 10000"/>
                <a:gd name="connsiteX31" fmla="*/ 8754 w 10000"/>
                <a:gd name="connsiteY31" fmla="*/ 184 h 10000"/>
                <a:gd name="connsiteX32" fmla="*/ 8356 w 10000"/>
                <a:gd name="connsiteY32" fmla="*/ 101 h 10000"/>
                <a:gd name="connsiteX33" fmla="*/ 7943 w 10000"/>
                <a:gd name="connsiteY33" fmla="*/ 21 h 10000"/>
                <a:gd name="connsiteX34" fmla="*/ 7526 w 10000"/>
                <a:gd name="connsiteY34" fmla="*/ 0 h 10000"/>
                <a:gd name="connsiteX35" fmla="*/ 7172 w 10000"/>
                <a:gd name="connsiteY35" fmla="*/ 21 h 10000"/>
                <a:gd name="connsiteX36" fmla="*/ 3458 w 10000"/>
                <a:gd name="connsiteY36" fmla="*/ 1989 h 10000"/>
                <a:gd name="connsiteX37" fmla="*/ 3003 w 10000"/>
                <a:gd name="connsiteY37" fmla="*/ 2540 h 10000"/>
                <a:gd name="connsiteX38" fmla="*/ 2570 w 10000"/>
                <a:gd name="connsiteY38" fmla="*/ 3116 h 10000"/>
                <a:gd name="connsiteX39" fmla="*/ 2155 w 10000"/>
                <a:gd name="connsiteY39" fmla="*/ 3730 h 10000"/>
                <a:gd name="connsiteX40" fmla="*/ 1757 w 10000"/>
                <a:gd name="connsiteY40" fmla="*/ 4386 h 10000"/>
                <a:gd name="connsiteX41" fmla="*/ 1384 w 10000"/>
                <a:gd name="connsiteY41" fmla="*/ 5062 h 10000"/>
                <a:gd name="connsiteX42" fmla="*/ 1028 w 10000"/>
                <a:gd name="connsiteY42" fmla="*/ 5737 h 10000"/>
                <a:gd name="connsiteX43" fmla="*/ 674 w 10000"/>
                <a:gd name="connsiteY43" fmla="*/ 6455 h 10000"/>
                <a:gd name="connsiteX44" fmla="*/ 0 w 10000"/>
                <a:gd name="connsiteY4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6106 w 10000"/>
                <a:gd name="connsiteY11" fmla="*/ 922 h 10000"/>
                <a:gd name="connsiteX12" fmla="*/ 6325 w 10000"/>
                <a:gd name="connsiteY12" fmla="*/ 758 h 10000"/>
                <a:gd name="connsiteX13" fmla="*/ 6561 w 10000"/>
                <a:gd name="connsiteY13" fmla="*/ 634 h 10000"/>
                <a:gd name="connsiteX14" fmla="*/ 6775 w 10000"/>
                <a:gd name="connsiteY14" fmla="*/ 512 h 10000"/>
                <a:gd name="connsiteX15" fmla="*/ 7014 w 10000"/>
                <a:gd name="connsiteY15" fmla="*/ 450 h 10000"/>
                <a:gd name="connsiteX16" fmla="*/ 7269 w 10000"/>
                <a:gd name="connsiteY16" fmla="*/ 388 h 10000"/>
                <a:gd name="connsiteX17" fmla="*/ 7526 w 10000"/>
                <a:gd name="connsiteY17" fmla="*/ 388 h 10000"/>
                <a:gd name="connsiteX18" fmla="*/ 7843 w 10000"/>
                <a:gd name="connsiteY18" fmla="*/ 410 h 10000"/>
                <a:gd name="connsiteX19" fmla="*/ 8157 w 10000"/>
                <a:gd name="connsiteY19" fmla="*/ 492 h 10000"/>
                <a:gd name="connsiteX20" fmla="*/ 8437 w 10000"/>
                <a:gd name="connsiteY20" fmla="*/ 634 h 10000"/>
                <a:gd name="connsiteX21" fmla="*/ 8734 w 10000"/>
                <a:gd name="connsiteY21" fmla="*/ 780 h 10000"/>
                <a:gd name="connsiteX22" fmla="*/ 8989 w 10000"/>
                <a:gd name="connsiteY22" fmla="*/ 985 h 10000"/>
                <a:gd name="connsiteX23" fmla="*/ 9267 w 10000"/>
                <a:gd name="connsiteY23" fmla="*/ 1250 h 10000"/>
                <a:gd name="connsiteX24" fmla="*/ 9505 w 10000"/>
                <a:gd name="connsiteY24" fmla="*/ 1536 h 10000"/>
                <a:gd name="connsiteX25" fmla="*/ 9781 w 10000"/>
                <a:gd name="connsiteY25" fmla="*/ 1864 h 10000"/>
                <a:gd name="connsiteX26" fmla="*/ 10000 w 10000"/>
                <a:gd name="connsiteY26" fmla="*/ 2213 h 10000"/>
                <a:gd name="connsiteX27" fmla="*/ 9838 w 10000"/>
                <a:gd name="connsiteY27" fmla="*/ 656 h 10000"/>
                <a:gd name="connsiteX28" fmla="*/ 9484 w 10000"/>
                <a:gd name="connsiteY28" fmla="*/ 470 h 10000"/>
                <a:gd name="connsiteX29" fmla="*/ 9129 w 10000"/>
                <a:gd name="connsiteY29" fmla="*/ 307 h 10000"/>
                <a:gd name="connsiteX30" fmla="*/ 8754 w 10000"/>
                <a:gd name="connsiteY30" fmla="*/ 184 h 10000"/>
                <a:gd name="connsiteX31" fmla="*/ 8356 w 10000"/>
                <a:gd name="connsiteY31" fmla="*/ 101 h 10000"/>
                <a:gd name="connsiteX32" fmla="*/ 7943 w 10000"/>
                <a:gd name="connsiteY32" fmla="*/ 21 h 10000"/>
                <a:gd name="connsiteX33" fmla="*/ 7526 w 10000"/>
                <a:gd name="connsiteY33" fmla="*/ 0 h 10000"/>
                <a:gd name="connsiteX34" fmla="*/ 7172 w 10000"/>
                <a:gd name="connsiteY34" fmla="*/ 21 h 10000"/>
                <a:gd name="connsiteX35" fmla="*/ 3458 w 10000"/>
                <a:gd name="connsiteY35" fmla="*/ 1989 h 10000"/>
                <a:gd name="connsiteX36" fmla="*/ 3003 w 10000"/>
                <a:gd name="connsiteY36" fmla="*/ 2540 h 10000"/>
                <a:gd name="connsiteX37" fmla="*/ 2570 w 10000"/>
                <a:gd name="connsiteY37" fmla="*/ 3116 h 10000"/>
                <a:gd name="connsiteX38" fmla="*/ 2155 w 10000"/>
                <a:gd name="connsiteY38" fmla="*/ 3730 h 10000"/>
                <a:gd name="connsiteX39" fmla="*/ 1757 w 10000"/>
                <a:gd name="connsiteY39" fmla="*/ 4386 h 10000"/>
                <a:gd name="connsiteX40" fmla="*/ 1384 w 10000"/>
                <a:gd name="connsiteY40" fmla="*/ 5062 h 10000"/>
                <a:gd name="connsiteX41" fmla="*/ 1028 w 10000"/>
                <a:gd name="connsiteY41" fmla="*/ 5737 h 10000"/>
                <a:gd name="connsiteX42" fmla="*/ 674 w 10000"/>
                <a:gd name="connsiteY42" fmla="*/ 6455 h 10000"/>
                <a:gd name="connsiteX43" fmla="*/ 0 w 10000"/>
                <a:gd name="connsiteY4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325 w 10000"/>
                <a:gd name="connsiteY11" fmla="*/ 758 h 10000"/>
                <a:gd name="connsiteX12" fmla="*/ 6561 w 10000"/>
                <a:gd name="connsiteY12" fmla="*/ 634 h 10000"/>
                <a:gd name="connsiteX13" fmla="*/ 6775 w 10000"/>
                <a:gd name="connsiteY13" fmla="*/ 512 h 10000"/>
                <a:gd name="connsiteX14" fmla="*/ 7014 w 10000"/>
                <a:gd name="connsiteY14" fmla="*/ 450 h 10000"/>
                <a:gd name="connsiteX15" fmla="*/ 7269 w 10000"/>
                <a:gd name="connsiteY15" fmla="*/ 388 h 10000"/>
                <a:gd name="connsiteX16" fmla="*/ 7526 w 10000"/>
                <a:gd name="connsiteY16" fmla="*/ 388 h 10000"/>
                <a:gd name="connsiteX17" fmla="*/ 7843 w 10000"/>
                <a:gd name="connsiteY17" fmla="*/ 410 h 10000"/>
                <a:gd name="connsiteX18" fmla="*/ 8157 w 10000"/>
                <a:gd name="connsiteY18" fmla="*/ 492 h 10000"/>
                <a:gd name="connsiteX19" fmla="*/ 8437 w 10000"/>
                <a:gd name="connsiteY19" fmla="*/ 634 h 10000"/>
                <a:gd name="connsiteX20" fmla="*/ 8734 w 10000"/>
                <a:gd name="connsiteY20" fmla="*/ 780 h 10000"/>
                <a:gd name="connsiteX21" fmla="*/ 8989 w 10000"/>
                <a:gd name="connsiteY21" fmla="*/ 985 h 10000"/>
                <a:gd name="connsiteX22" fmla="*/ 9267 w 10000"/>
                <a:gd name="connsiteY22" fmla="*/ 1250 h 10000"/>
                <a:gd name="connsiteX23" fmla="*/ 9505 w 10000"/>
                <a:gd name="connsiteY23" fmla="*/ 1536 h 10000"/>
                <a:gd name="connsiteX24" fmla="*/ 9781 w 10000"/>
                <a:gd name="connsiteY24" fmla="*/ 1864 h 10000"/>
                <a:gd name="connsiteX25" fmla="*/ 10000 w 10000"/>
                <a:gd name="connsiteY25" fmla="*/ 2213 h 10000"/>
                <a:gd name="connsiteX26" fmla="*/ 9838 w 10000"/>
                <a:gd name="connsiteY26" fmla="*/ 656 h 10000"/>
                <a:gd name="connsiteX27" fmla="*/ 9484 w 10000"/>
                <a:gd name="connsiteY27" fmla="*/ 470 h 10000"/>
                <a:gd name="connsiteX28" fmla="*/ 9129 w 10000"/>
                <a:gd name="connsiteY28" fmla="*/ 307 h 10000"/>
                <a:gd name="connsiteX29" fmla="*/ 8754 w 10000"/>
                <a:gd name="connsiteY29" fmla="*/ 184 h 10000"/>
                <a:gd name="connsiteX30" fmla="*/ 8356 w 10000"/>
                <a:gd name="connsiteY30" fmla="*/ 101 h 10000"/>
                <a:gd name="connsiteX31" fmla="*/ 7943 w 10000"/>
                <a:gd name="connsiteY31" fmla="*/ 21 h 10000"/>
                <a:gd name="connsiteX32" fmla="*/ 7526 w 10000"/>
                <a:gd name="connsiteY32" fmla="*/ 0 h 10000"/>
                <a:gd name="connsiteX33" fmla="*/ 7172 w 10000"/>
                <a:gd name="connsiteY33" fmla="*/ 21 h 10000"/>
                <a:gd name="connsiteX34" fmla="*/ 3458 w 10000"/>
                <a:gd name="connsiteY34" fmla="*/ 1989 h 10000"/>
                <a:gd name="connsiteX35" fmla="*/ 3003 w 10000"/>
                <a:gd name="connsiteY35" fmla="*/ 2540 h 10000"/>
                <a:gd name="connsiteX36" fmla="*/ 2570 w 10000"/>
                <a:gd name="connsiteY36" fmla="*/ 3116 h 10000"/>
                <a:gd name="connsiteX37" fmla="*/ 2155 w 10000"/>
                <a:gd name="connsiteY37" fmla="*/ 3730 h 10000"/>
                <a:gd name="connsiteX38" fmla="*/ 1757 w 10000"/>
                <a:gd name="connsiteY38" fmla="*/ 4386 h 10000"/>
                <a:gd name="connsiteX39" fmla="*/ 1384 w 10000"/>
                <a:gd name="connsiteY39" fmla="*/ 5062 h 10000"/>
                <a:gd name="connsiteX40" fmla="*/ 1028 w 10000"/>
                <a:gd name="connsiteY40" fmla="*/ 5737 h 10000"/>
                <a:gd name="connsiteX41" fmla="*/ 674 w 10000"/>
                <a:gd name="connsiteY41" fmla="*/ 6455 h 10000"/>
                <a:gd name="connsiteX42" fmla="*/ 0 w 10000"/>
                <a:gd name="connsiteY4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561 w 10000"/>
                <a:gd name="connsiteY11" fmla="*/ 634 h 10000"/>
                <a:gd name="connsiteX12" fmla="*/ 6775 w 10000"/>
                <a:gd name="connsiteY12" fmla="*/ 512 h 10000"/>
                <a:gd name="connsiteX13" fmla="*/ 7014 w 10000"/>
                <a:gd name="connsiteY13" fmla="*/ 450 h 10000"/>
                <a:gd name="connsiteX14" fmla="*/ 7269 w 10000"/>
                <a:gd name="connsiteY14" fmla="*/ 388 h 10000"/>
                <a:gd name="connsiteX15" fmla="*/ 7526 w 10000"/>
                <a:gd name="connsiteY15" fmla="*/ 388 h 10000"/>
                <a:gd name="connsiteX16" fmla="*/ 7843 w 10000"/>
                <a:gd name="connsiteY16" fmla="*/ 410 h 10000"/>
                <a:gd name="connsiteX17" fmla="*/ 8157 w 10000"/>
                <a:gd name="connsiteY17" fmla="*/ 492 h 10000"/>
                <a:gd name="connsiteX18" fmla="*/ 8437 w 10000"/>
                <a:gd name="connsiteY18" fmla="*/ 634 h 10000"/>
                <a:gd name="connsiteX19" fmla="*/ 8734 w 10000"/>
                <a:gd name="connsiteY19" fmla="*/ 780 h 10000"/>
                <a:gd name="connsiteX20" fmla="*/ 8989 w 10000"/>
                <a:gd name="connsiteY20" fmla="*/ 985 h 10000"/>
                <a:gd name="connsiteX21" fmla="*/ 9267 w 10000"/>
                <a:gd name="connsiteY21" fmla="*/ 1250 h 10000"/>
                <a:gd name="connsiteX22" fmla="*/ 9505 w 10000"/>
                <a:gd name="connsiteY22" fmla="*/ 1536 h 10000"/>
                <a:gd name="connsiteX23" fmla="*/ 9781 w 10000"/>
                <a:gd name="connsiteY23" fmla="*/ 1864 h 10000"/>
                <a:gd name="connsiteX24" fmla="*/ 10000 w 10000"/>
                <a:gd name="connsiteY24" fmla="*/ 2213 h 10000"/>
                <a:gd name="connsiteX25" fmla="*/ 9838 w 10000"/>
                <a:gd name="connsiteY25" fmla="*/ 656 h 10000"/>
                <a:gd name="connsiteX26" fmla="*/ 9484 w 10000"/>
                <a:gd name="connsiteY26" fmla="*/ 470 h 10000"/>
                <a:gd name="connsiteX27" fmla="*/ 9129 w 10000"/>
                <a:gd name="connsiteY27" fmla="*/ 307 h 10000"/>
                <a:gd name="connsiteX28" fmla="*/ 8754 w 10000"/>
                <a:gd name="connsiteY28" fmla="*/ 184 h 10000"/>
                <a:gd name="connsiteX29" fmla="*/ 8356 w 10000"/>
                <a:gd name="connsiteY29" fmla="*/ 101 h 10000"/>
                <a:gd name="connsiteX30" fmla="*/ 7943 w 10000"/>
                <a:gd name="connsiteY30" fmla="*/ 21 h 10000"/>
                <a:gd name="connsiteX31" fmla="*/ 7526 w 10000"/>
                <a:gd name="connsiteY31" fmla="*/ 0 h 10000"/>
                <a:gd name="connsiteX32" fmla="*/ 7172 w 10000"/>
                <a:gd name="connsiteY32" fmla="*/ 21 h 10000"/>
                <a:gd name="connsiteX33" fmla="*/ 3458 w 10000"/>
                <a:gd name="connsiteY33" fmla="*/ 1989 h 10000"/>
                <a:gd name="connsiteX34" fmla="*/ 3003 w 10000"/>
                <a:gd name="connsiteY34" fmla="*/ 2540 h 10000"/>
                <a:gd name="connsiteX35" fmla="*/ 2570 w 10000"/>
                <a:gd name="connsiteY35" fmla="*/ 3116 h 10000"/>
                <a:gd name="connsiteX36" fmla="*/ 2155 w 10000"/>
                <a:gd name="connsiteY36" fmla="*/ 3730 h 10000"/>
                <a:gd name="connsiteX37" fmla="*/ 1757 w 10000"/>
                <a:gd name="connsiteY37" fmla="*/ 4386 h 10000"/>
                <a:gd name="connsiteX38" fmla="*/ 1384 w 10000"/>
                <a:gd name="connsiteY38" fmla="*/ 5062 h 10000"/>
                <a:gd name="connsiteX39" fmla="*/ 1028 w 10000"/>
                <a:gd name="connsiteY39" fmla="*/ 5737 h 10000"/>
                <a:gd name="connsiteX40" fmla="*/ 674 w 10000"/>
                <a:gd name="connsiteY40" fmla="*/ 6455 h 10000"/>
                <a:gd name="connsiteX41" fmla="*/ 0 w 10000"/>
                <a:gd name="connsiteY4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6775 w 10000"/>
                <a:gd name="connsiteY11" fmla="*/ 512 h 10000"/>
                <a:gd name="connsiteX12" fmla="*/ 7014 w 10000"/>
                <a:gd name="connsiteY12" fmla="*/ 450 h 10000"/>
                <a:gd name="connsiteX13" fmla="*/ 7269 w 10000"/>
                <a:gd name="connsiteY13" fmla="*/ 388 h 10000"/>
                <a:gd name="connsiteX14" fmla="*/ 7526 w 10000"/>
                <a:gd name="connsiteY14" fmla="*/ 388 h 10000"/>
                <a:gd name="connsiteX15" fmla="*/ 7843 w 10000"/>
                <a:gd name="connsiteY15" fmla="*/ 410 h 10000"/>
                <a:gd name="connsiteX16" fmla="*/ 8157 w 10000"/>
                <a:gd name="connsiteY16" fmla="*/ 492 h 10000"/>
                <a:gd name="connsiteX17" fmla="*/ 8437 w 10000"/>
                <a:gd name="connsiteY17" fmla="*/ 634 h 10000"/>
                <a:gd name="connsiteX18" fmla="*/ 8734 w 10000"/>
                <a:gd name="connsiteY18" fmla="*/ 780 h 10000"/>
                <a:gd name="connsiteX19" fmla="*/ 8989 w 10000"/>
                <a:gd name="connsiteY19" fmla="*/ 985 h 10000"/>
                <a:gd name="connsiteX20" fmla="*/ 9267 w 10000"/>
                <a:gd name="connsiteY20" fmla="*/ 1250 h 10000"/>
                <a:gd name="connsiteX21" fmla="*/ 9505 w 10000"/>
                <a:gd name="connsiteY21" fmla="*/ 1536 h 10000"/>
                <a:gd name="connsiteX22" fmla="*/ 9781 w 10000"/>
                <a:gd name="connsiteY22" fmla="*/ 1864 h 10000"/>
                <a:gd name="connsiteX23" fmla="*/ 10000 w 10000"/>
                <a:gd name="connsiteY23" fmla="*/ 2213 h 10000"/>
                <a:gd name="connsiteX24" fmla="*/ 9838 w 10000"/>
                <a:gd name="connsiteY24" fmla="*/ 656 h 10000"/>
                <a:gd name="connsiteX25" fmla="*/ 9484 w 10000"/>
                <a:gd name="connsiteY25" fmla="*/ 470 h 10000"/>
                <a:gd name="connsiteX26" fmla="*/ 9129 w 10000"/>
                <a:gd name="connsiteY26" fmla="*/ 307 h 10000"/>
                <a:gd name="connsiteX27" fmla="*/ 8754 w 10000"/>
                <a:gd name="connsiteY27" fmla="*/ 184 h 10000"/>
                <a:gd name="connsiteX28" fmla="*/ 8356 w 10000"/>
                <a:gd name="connsiteY28" fmla="*/ 101 h 10000"/>
                <a:gd name="connsiteX29" fmla="*/ 7943 w 10000"/>
                <a:gd name="connsiteY29" fmla="*/ 21 h 10000"/>
                <a:gd name="connsiteX30" fmla="*/ 7526 w 10000"/>
                <a:gd name="connsiteY30" fmla="*/ 0 h 10000"/>
                <a:gd name="connsiteX31" fmla="*/ 7172 w 10000"/>
                <a:gd name="connsiteY31" fmla="*/ 21 h 10000"/>
                <a:gd name="connsiteX32" fmla="*/ 3458 w 10000"/>
                <a:gd name="connsiteY32" fmla="*/ 1989 h 10000"/>
                <a:gd name="connsiteX33" fmla="*/ 3003 w 10000"/>
                <a:gd name="connsiteY33" fmla="*/ 2540 h 10000"/>
                <a:gd name="connsiteX34" fmla="*/ 2570 w 10000"/>
                <a:gd name="connsiteY34" fmla="*/ 3116 h 10000"/>
                <a:gd name="connsiteX35" fmla="*/ 2155 w 10000"/>
                <a:gd name="connsiteY35" fmla="*/ 3730 h 10000"/>
                <a:gd name="connsiteX36" fmla="*/ 1757 w 10000"/>
                <a:gd name="connsiteY36" fmla="*/ 4386 h 10000"/>
                <a:gd name="connsiteX37" fmla="*/ 1384 w 10000"/>
                <a:gd name="connsiteY37" fmla="*/ 5062 h 10000"/>
                <a:gd name="connsiteX38" fmla="*/ 1028 w 10000"/>
                <a:gd name="connsiteY38" fmla="*/ 5737 h 10000"/>
                <a:gd name="connsiteX39" fmla="*/ 674 w 10000"/>
                <a:gd name="connsiteY39" fmla="*/ 6455 h 10000"/>
                <a:gd name="connsiteX40" fmla="*/ 0 w 10000"/>
                <a:gd name="connsiteY4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526 w 10000"/>
                <a:gd name="connsiteY13" fmla="*/ 388 h 10000"/>
                <a:gd name="connsiteX14" fmla="*/ 7843 w 10000"/>
                <a:gd name="connsiteY14" fmla="*/ 410 h 10000"/>
                <a:gd name="connsiteX15" fmla="*/ 8157 w 10000"/>
                <a:gd name="connsiteY15" fmla="*/ 492 h 10000"/>
                <a:gd name="connsiteX16" fmla="*/ 8437 w 10000"/>
                <a:gd name="connsiteY16" fmla="*/ 634 h 10000"/>
                <a:gd name="connsiteX17" fmla="*/ 8734 w 10000"/>
                <a:gd name="connsiteY17" fmla="*/ 780 h 10000"/>
                <a:gd name="connsiteX18" fmla="*/ 8989 w 10000"/>
                <a:gd name="connsiteY18" fmla="*/ 985 h 10000"/>
                <a:gd name="connsiteX19" fmla="*/ 9267 w 10000"/>
                <a:gd name="connsiteY19" fmla="*/ 1250 h 10000"/>
                <a:gd name="connsiteX20" fmla="*/ 9505 w 10000"/>
                <a:gd name="connsiteY20" fmla="*/ 1536 h 10000"/>
                <a:gd name="connsiteX21" fmla="*/ 9781 w 10000"/>
                <a:gd name="connsiteY21" fmla="*/ 1864 h 10000"/>
                <a:gd name="connsiteX22" fmla="*/ 10000 w 10000"/>
                <a:gd name="connsiteY22" fmla="*/ 2213 h 10000"/>
                <a:gd name="connsiteX23" fmla="*/ 9838 w 10000"/>
                <a:gd name="connsiteY23" fmla="*/ 656 h 10000"/>
                <a:gd name="connsiteX24" fmla="*/ 9484 w 10000"/>
                <a:gd name="connsiteY24" fmla="*/ 470 h 10000"/>
                <a:gd name="connsiteX25" fmla="*/ 9129 w 10000"/>
                <a:gd name="connsiteY25" fmla="*/ 307 h 10000"/>
                <a:gd name="connsiteX26" fmla="*/ 8754 w 10000"/>
                <a:gd name="connsiteY26" fmla="*/ 184 h 10000"/>
                <a:gd name="connsiteX27" fmla="*/ 8356 w 10000"/>
                <a:gd name="connsiteY27" fmla="*/ 101 h 10000"/>
                <a:gd name="connsiteX28" fmla="*/ 7943 w 10000"/>
                <a:gd name="connsiteY28" fmla="*/ 21 h 10000"/>
                <a:gd name="connsiteX29" fmla="*/ 7526 w 10000"/>
                <a:gd name="connsiteY29" fmla="*/ 0 h 10000"/>
                <a:gd name="connsiteX30" fmla="*/ 7172 w 10000"/>
                <a:gd name="connsiteY30" fmla="*/ 21 h 10000"/>
                <a:gd name="connsiteX31" fmla="*/ 3458 w 10000"/>
                <a:gd name="connsiteY31" fmla="*/ 1989 h 10000"/>
                <a:gd name="connsiteX32" fmla="*/ 3003 w 10000"/>
                <a:gd name="connsiteY32" fmla="*/ 2540 h 10000"/>
                <a:gd name="connsiteX33" fmla="*/ 2570 w 10000"/>
                <a:gd name="connsiteY33" fmla="*/ 3116 h 10000"/>
                <a:gd name="connsiteX34" fmla="*/ 2155 w 10000"/>
                <a:gd name="connsiteY34" fmla="*/ 3730 h 10000"/>
                <a:gd name="connsiteX35" fmla="*/ 1757 w 10000"/>
                <a:gd name="connsiteY35" fmla="*/ 4386 h 10000"/>
                <a:gd name="connsiteX36" fmla="*/ 1384 w 10000"/>
                <a:gd name="connsiteY36" fmla="*/ 5062 h 10000"/>
                <a:gd name="connsiteX37" fmla="*/ 1028 w 10000"/>
                <a:gd name="connsiteY37" fmla="*/ 5737 h 10000"/>
                <a:gd name="connsiteX38" fmla="*/ 674 w 10000"/>
                <a:gd name="connsiteY38" fmla="*/ 6455 h 10000"/>
                <a:gd name="connsiteX39" fmla="*/ 0 w 10000"/>
                <a:gd name="connsiteY3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843 w 10000"/>
                <a:gd name="connsiteY13" fmla="*/ 410 h 10000"/>
                <a:gd name="connsiteX14" fmla="*/ 8157 w 10000"/>
                <a:gd name="connsiteY14" fmla="*/ 492 h 10000"/>
                <a:gd name="connsiteX15" fmla="*/ 8437 w 10000"/>
                <a:gd name="connsiteY15" fmla="*/ 634 h 10000"/>
                <a:gd name="connsiteX16" fmla="*/ 8734 w 10000"/>
                <a:gd name="connsiteY16" fmla="*/ 780 h 10000"/>
                <a:gd name="connsiteX17" fmla="*/ 8989 w 10000"/>
                <a:gd name="connsiteY17" fmla="*/ 985 h 10000"/>
                <a:gd name="connsiteX18" fmla="*/ 9267 w 10000"/>
                <a:gd name="connsiteY18" fmla="*/ 1250 h 10000"/>
                <a:gd name="connsiteX19" fmla="*/ 9505 w 10000"/>
                <a:gd name="connsiteY19" fmla="*/ 1536 h 10000"/>
                <a:gd name="connsiteX20" fmla="*/ 9781 w 10000"/>
                <a:gd name="connsiteY20" fmla="*/ 1864 h 10000"/>
                <a:gd name="connsiteX21" fmla="*/ 10000 w 10000"/>
                <a:gd name="connsiteY21" fmla="*/ 2213 h 10000"/>
                <a:gd name="connsiteX22" fmla="*/ 9838 w 10000"/>
                <a:gd name="connsiteY22" fmla="*/ 656 h 10000"/>
                <a:gd name="connsiteX23" fmla="*/ 9484 w 10000"/>
                <a:gd name="connsiteY23" fmla="*/ 470 h 10000"/>
                <a:gd name="connsiteX24" fmla="*/ 9129 w 10000"/>
                <a:gd name="connsiteY24" fmla="*/ 307 h 10000"/>
                <a:gd name="connsiteX25" fmla="*/ 8754 w 10000"/>
                <a:gd name="connsiteY25" fmla="*/ 184 h 10000"/>
                <a:gd name="connsiteX26" fmla="*/ 8356 w 10000"/>
                <a:gd name="connsiteY26" fmla="*/ 101 h 10000"/>
                <a:gd name="connsiteX27" fmla="*/ 7943 w 10000"/>
                <a:gd name="connsiteY27" fmla="*/ 21 h 10000"/>
                <a:gd name="connsiteX28" fmla="*/ 7526 w 10000"/>
                <a:gd name="connsiteY28" fmla="*/ 0 h 10000"/>
                <a:gd name="connsiteX29" fmla="*/ 7172 w 10000"/>
                <a:gd name="connsiteY29" fmla="*/ 21 h 10000"/>
                <a:gd name="connsiteX30" fmla="*/ 3458 w 10000"/>
                <a:gd name="connsiteY30" fmla="*/ 1989 h 10000"/>
                <a:gd name="connsiteX31" fmla="*/ 3003 w 10000"/>
                <a:gd name="connsiteY31" fmla="*/ 2540 h 10000"/>
                <a:gd name="connsiteX32" fmla="*/ 2570 w 10000"/>
                <a:gd name="connsiteY32" fmla="*/ 3116 h 10000"/>
                <a:gd name="connsiteX33" fmla="*/ 2155 w 10000"/>
                <a:gd name="connsiteY33" fmla="*/ 3730 h 10000"/>
                <a:gd name="connsiteX34" fmla="*/ 1757 w 10000"/>
                <a:gd name="connsiteY34" fmla="*/ 4386 h 10000"/>
                <a:gd name="connsiteX35" fmla="*/ 1384 w 10000"/>
                <a:gd name="connsiteY35" fmla="*/ 5062 h 10000"/>
                <a:gd name="connsiteX36" fmla="*/ 1028 w 10000"/>
                <a:gd name="connsiteY36" fmla="*/ 5737 h 10000"/>
                <a:gd name="connsiteX37" fmla="*/ 674 w 10000"/>
                <a:gd name="connsiteY37" fmla="*/ 6455 h 10000"/>
                <a:gd name="connsiteX38" fmla="*/ 0 w 10000"/>
                <a:gd name="connsiteY3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7172 w 10000"/>
                <a:gd name="connsiteY28" fmla="*/ 21 h 10000"/>
                <a:gd name="connsiteX29" fmla="*/ 3458 w 10000"/>
                <a:gd name="connsiteY29" fmla="*/ 1989 h 10000"/>
                <a:gd name="connsiteX30" fmla="*/ 3003 w 10000"/>
                <a:gd name="connsiteY30" fmla="*/ 2540 h 10000"/>
                <a:gd name="connsiteX31" fmla="*/ 2570 w 10000"/>
                <a:gd name="connsiteY31" fmla="*/ 3116 h 10000"/>
                <a:gd name="connsiteX32" fmla="*/ 2155 w 10000"/>
                <a:gd name="connsiteY32" fmla="*/ 3730 h 10000"/>
                <a:gd name="connsiteX33" fmla="*/ 1757 w 10000"/>
                <a:gd name="connsiteY33" fmla="*/ 4386 h 10000"/>
                <a:gd name="connsiteX34" fmla="*/ 1384 w 10000"/>
                <a:gd name="connsiteY34" fmla="*/ 5062 h 10000"/>
                <a:gd name="connsiteX35" fmla="*/ 1028 w 10000"/>
                <a:gd name="connsiteY35" fmla="*/ 5737 h 10000"/>
                <a:gd name="connsiteX36" fmla="*/ 674 w 10000"/>
                <a:gd name="connsiteY36" fmla="*/ 6455 h 10000"/>
                <a:gd name="connsiteX37" fmla="*/ 0 w 10000"/>
                <a:gd name="connsiteY3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3458 w 10000"/>
                <a:gd name="connsiteY28" fmla="*/ 1989 h 10000"/>
                <a:gd name="connsiteX29" fmla="*/ 3003 w 10000"/>
                <a:gd name="connsiteY29" fmla="*/ 2540 h 10000"/>
                <a:gd name="connsiteX30" fmla="*/ 2570 w 10000"/>
                <a:gd name="connsiteY30" fmla="*/ 3116 h 10000"/>
                <a:gd name="connsiteX31" fmla="*/ 2155 w 10000"/>
                <a:gd name="connsiteY31" fmla="*/ 3730 h 10000"/>
                <a:gd name="connsiteX32" fmla="*/ 1757 w 10000"/>
                <a:gd name="connsiteY32" fmla="*/ 4386 h 10000"/>
                <a:gd name="connsiteX33" fmla="*/ 1384 w 10000"/>
                <a:gd name="connsiteY33" fmla="*/ 5062 h 10000"/>
                <a:gd name="connsiteX34" fmla="*/ 1028 w 10000"/>
                <a:gd name="connsiteY34" fmla="*/ 5737 h 10000"/>
                <a:gd name="connsiteX35" fmla="*/ 674 w 10000"/>
                <a:gd name="connsiteY35" fmla="*/ 6455 h 10000"/>
                <a:gd name="connsiteX36" fmla="*/ 0 w 10000"/>
                <a:gd name="connsiteY3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269 w 10000"/>
                <a:gd name="connsiteY10" fmla="*/ 388 h 10000"/>
                <a:gd name="connsiteX11" fmla="*/ 7843 w 10000"/>
                <a:gd name="connsiteY11" fmla="*/ 410 h 10000"/>
                <a:gd name="connsiteX12" fmla="*/ 8157 w 10000"/>
                <a:gd name="connsiteY12" fmla="*/ 492 h 10000"/>
                <a:gd name="connsiteX13" fmla="*/ 8437 w 10000"/>
                <a:gd name="connsiteY13" fmla="*/ 634 h 10000"/>
                <a:gd name="connsiteX14" fmla="*/ 8734 w 10000"/>
                <a:gd name="connsiteY14" fmla="*/ 780 h 10000"/>
                <a:gd name="connsiteX15" fmla="*/ 8989 w 10000"/>
                <a:gd name="connsiteY15" fmla="*/ 985 h 10000"/>
                <a:gd name="connsiteX16" fmla="*/ 9267 w 10000"/>
                <a:gd name="connsiteY16" fmla="*/ 1250 h 10000"/>
                <a:gd name="connsiteX17" fmla="*/ 9505 w 10000"/>
                <a:gd name="connsiteY17" fmla="*/ 1536 h 10000"/>
                <a:gd name="connsiteX18" fmla="*/ 9781 w 10000"/>
                <a:gd name="connsiteY18" fmla="*/ 1864 h 10000"/>
                <a:gd name="connsiteX19" fmla="*/ 10000 w 10000"/>
                <a:gd name="connsiteY19" fmla="*/ 2213 h 10000"/>
                <a:gd name="connsiteX20" fmla="*/ 9838 w 10000"/>
                <a:gd name="connsiteY20" fmla="*/ 656 h 10000"/>
                <a:gd name="connsiteX21" fmla="*/ 9484 w 10000"/>
                <a:gd name="connsiteY21" fmla="*/ 470 h 10000"/>
                <a:gd name="connsiteX22" fmla="*/ 9129 w 10000"/>
                <a:gd name="connsiteY22" fmla="*/ 307 h 10000"/>
                <a:gd name="connsiteX23" fmla="*/ 8754 w 10000"/>
                <a:gd name="connsiteY23" fmla="*/ 184 h 10000"/>
                <a:gd name="connsiteX24" fmla="*/ 8356 w 10000"/>
                <a:gd name="connsiteY24" fmla="*/ 101 h 10000"/>
                <a:gd name="connsiteX25" fmla="*/ 7943 w 10000"/>
                <a:gd name="connsiteY25" fmla="*/ 21 h 10000"/>
                <a:gd name="connsiteX26" fmla="*/ 7526 w 10000"/>
                <a:gd name="connsiteY26" fmla="*/ 0 h 10000"/>
                <a:gd name="connsiteX27" fmla="*/ 3458 w 10000"/>
                <a:gd name="connsiteY27" fmla="*/ 1989 h 10000"/>
                <a:gd name="connsiteX28" fmla="*/ 3003 w 10000"/>
                <a:gd name="connsiteY28" fmla="*/ 2540 h 10000"/>
                <a:gd name="connsiteX29" fmla="*/ 2570 w 10000"/>
                <a:gd name="connsiteY29" fmla="*/ 3116 h 10000"/>
                <a:gd name="connsiteX30" fmla="*/ 2155 w 10000"/>
                <a:gd name="connsiteY30" fmla="*/ 3730 h 10000"/>
                <a:gd name="connsiteX31" fmla="*/ 1757 w 10000"/>
                <a:gd name="connsiteY31" fmla="*/ 4386 h 10000"/>
                <a:gd name="connsiteX32" fmla="*/ 1384 w 10000"/>
                <a:gd name="connsiteY32" fmla="*/ 5062 h 10000"/>
                <a:gd name="connsiteX33" fmla="*/ 1028 w 10000"/>
                <a:gd name="connsiteY33" fmla="*/ 5737 h 10000"/>
                <a:gd name="connsiteX34" fmla="*/ 674 w 10000"/>
                <a:gd name="connsiteY34" fmla="*/ 6455 h 10000"/>
                <a:gd name="connsiteX35" fmla="*/ 0 w 10000"/>
                <a:gd name="connsiteY3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843 w 10000"/>
                <a:gd name="connsiteY10" fmla="*/ 410 h 10000"/>
                <a:gd name="connsiteX11" fmla="*/ 8157 w 10000"/>
                <a:gd name="connsiteY11" fmla="*/ 492 h 10000"/>
                <a:gd name="connsiteX12" fmla="*/ 8437 w 10000"/>
                <a:gd name="connsiteY12" fmla="*/ 634 h 10000"/>
                <a:gd name="connsiteX13" fmla="*/ 8734 w 10000"/>
                <a:gd name="connsiteY13" fmla="*/ 780 h 10000"/>
                <a:gd name="connsiteX14" fmla="*/ 8989 w 10000"/>
                <a:gd name="connsiteY14" fmla="*/ 985 h 10000"/>
                <a:gd name="connsiteX15" fmla="*/ 9267 w 10000"/>
                <a:gd name="connsiteY15" fmla="*/ 1250 h 10000"/>
                <a:gd name="connsiteX16" fmla="*/ 9505 w 10000"/>
                <a:gd name="connsiteY16" fmla="*/ 1536 h 10000"/>
                <a:gd name="connsiteX17" fmla="*/ 9781 w 10000"/>
                <a:gd name="connsiteY17" fmla="*/ 1864 h 10000"/>
                <a:gd name="connsiteX18" fmla="*/ 10000 w 10000"/>
                <a:gd name="connsiteY18" fmla="*/ 2213 h 10000"/>
                <a:gd name="connsiteX19" fmla="*/ 9838 w 10000"/>
                <a:gd name="connsiteY19" fmla="*/ 656 h 10000"/>
                <a:gd name="connsiteX20" fmla="*/ 9484 w 10000"/>
                <a:gd name="connsiteY20" fmla="*/ 470 h 10000"/>
                <a:gd name="connsiteX21" fmla="*/ 9129 w 10000"/>
                <a:gd name="connsiteY21" fmla="*/ 307 h 10000"/>
                <a:gd name="connsiteX22" fmla="*/ 8754 w 10000"/>
                <a:gd name="connsiteY22" fmla="*/ 184 h 10000"/>
                <a:gd name="connsiteX23" fmla="*/ 8356 w 10000"/>
                <a:gd name="connsiteY23" fmla="*/ 101 h 10000"/>
                <a:gd name="connsiteX24" fmla="*/ 7943 w 10000"/>
                <a:gd name="connsiteY24" fmla="*/ 21 h 10000"/>
                <a:gd name="connsiteX25" fmla="*/ 7526 w 10000"/>
                <a:gd name="connsiteY25" fmla="*/ 0 h 10000"/>
                <a:gd name="connsiteX26" fmla="*/ 3458 w 10000"/>
                <a:gd name="connsiteY26" fmla="*/ 1989 h 10000"/>
                <a:gd name="connsiteX27" fmla="*/ 3003 w 10000"/>
                <a:gd name="connsiteY27" fmla="*/ 2540 h 10000"/>
                <a:gd name="connsiteX28" fmla="*/ 2570 w 10000"/>
                <a:gd name="connsiteY28" fmla="*/ 3116 h 10000"/>
                <a:gd name="connsiteX29" fmla="*/ 2155 w 10000"/>
                <a:gd name="connsiteY29" fmla="*/ 3730 h 10000"/>
                <a:gd name="connsiteX30" fmla="*/ 1757 w 10000"/>
                <a:gd name="connsiteY30" fmla="*/ 4386 h 10000"/>
                <a:gd name="connsiteX31" fmla="*/ 1384 w 10000"/>
                <a:gd name="connsiteY31" fmla="*/ 5062 h 10000"/>
                <a:gd name="connsiteX32" fmla="*/ 1028 w 10000"/>
                <a:gd name="connsiteY32" fmla="*/ 5737 h 10000"/>
                <a:gd name="connsiteX33" fmla="*/ 674 w 10000"/>
                <a:gd name="connsiteY33" fmla="*/ 6455 h 10000"/>
                <a:gd name="connsiteX34" fmla="*/ 0 w 10000"/>
                <a:gd name="connsiteY34" fmla="*/ 7890 h 10000"/>
                <a:gd name="connsiteX0" fmla="*/ 0 w 10000"/>
                <a:gd name="connsiteY0" fmla="*/ 7869 h 9979"/>
                <a:gd name="connsiteX1" fmla="*/ 0 w 10000"/>
                <a:gd name="connsiteY1" fmla="*/ 7869 h 9979"/>
                <a:gd name="connsiteX2" fmla="*/ 495 w 10000"/>
                <a:gd name="connsiteY2" fmla="*/ 8934 h 9979"/>
                <a:gd name="connsiteX3" fmla="*/ 948 w 10000"/>
                <a:gd name="connsiteY3" fmla="*/ 9979 h 9979"/>
                <a:gd name="connsiteX4" fmla="*/ 1403 w 10000"/>
                <a:gd name="connsiteY4" fmla="*/ 9201 h 9979"/>
                <a:gd name="connsiteX5" fmla="*/ 1816 w 10000"/>
                <a:gd name="connsiteY5" fmla="*/ 8382 h 9979"/>
                <a:gd name="connsiteX6" fmla="*/ 2253 w 10000"/>
                <a:gd name="connsiteY6" fmla="*/ 7581 h 9979"/>
                <a:gd name="connsiteX7" fmla="*/ 2626 w 10000"/>
                <a:gd name="connsiteY7" fmla="*/ 6761 h 9979"/>
                <a:gd name="connsiteX8" fmla="*/ 3380 w 10000"/>
                <a:gd name="connsiteY8" fmla="*/ 5144 h 9979"/>
                <a:gd name="connsiteX9" fmla="*/ 3756 w 10000"/>
                <a:gd name="connsiteY9" fmla="*/ 4365 h 9979"/>
                <a:gd name="connsiteX10" fmla="*/ 7843 w 10000"/>
                <a:gd name="connsiteY10" fmla="*/ 389 h 9979"/>
                <a:gd name="connsiteX11" fmla="*/ 8157 w 10000"/>
                <a:gd name="connsiteY11" fmla="*/ 471 h 9979"/>
                <a:gd name="connsiteX12" fmla="*/ 8437 w 10000"/>
                <a:gd name="connsiteY12" fmla="*/ 613 h 9979"/>
                <a:gd name="connsiteX13" fmla="*/ 8734 w 10000"/>
                <a:gd name="connsiteY13" fmla="*/ 759 h 9979"/>
                <a:gd name="connsiteX14" fmla="*/ 8989 w 10000"/>
                <a:gd name="connsiteY14" fmla="*/ 964 h 9979"/>
                <a:gd name="connsiteX15" fmla="*/ 9267 w 10000"/>
                <a:gd name="connsiteY15" fmla="*/ 1229 h 9979"/>
                <a:gd name="connsiteX16" fmla="*/ 9505 w 10000"/>
                <a:gd name="connsiteY16" fmla="*/ 1515 h 9979"/>
                <a:gd name="connsiteX17" fmla="*/ 9781 w 10000"/>
                <a:gd name="connsiteY17" fmla="*/ 1843 h 9979"/>
                <a:gd name="connsiteX18" fmla="*/ 10000 w 10000"/>
                <a:gd name="connsiteY18" fmla="*/ 2192 h 9979"/>
                <a:gd name="connsiteX19" fmla="*/ 9838 w 10000"/>
                <a:gd name="connsiteY19" fmla="*/ 635 h 9979"/>
                <a:gd name="connsiteX20" fmla="*/ 9484 w 10000"/>
                <a:gd name="connsiteY20" fmla="*/ 449 h 9979"/>
                <a:gd name="connsiteX21" fmla="*/ 9129 w 10000"/>
                <a:gd name="connsiteY21" fmla="*/ 286 h 9979"/>
                <a:gd name="connsiteX22" fmla="*/ 8754 w 10000"/>
                <a:gd name="connsiteY22" fmla="*/ 163 h 9979"/>
                <a:gd name="connsiteX23" fmla="*/ 8356 w 10000"/>
                <a:gd name="connsiteY23" fmla="*/ 80 h 9979"/>
                <a:gd name="connsiteX24" fmla="*/ 7943 w 10000"/>
                <a:gd name="connsiteY24" fmla="*/ 0 h 9979"/>
                <a:gd name="connsiteX25" fmla="*/ 3458 w 10000"/>
                <a:gd name="connsiteY25" fmla="*/ 1968 h 9979"/>
                <a:gd name="connsiteX26" fmla="*/ 3003 w 10000"/>
                <a:gd name="connsiteY26" fmla="*/ 2519 h 9979"/>
                <a:gd name="connsiteX27" fmla="*/ 2570 w 10000"/>
                <a:gd name="connsiteY27" fmla="*/ 3095 h 9979"/>
                <a:gd name="connsiteX28" fmla="*/ 2155 w 10000"/>
                <a:gd name="connsiteY28" fmla="*/ 3709 h 9979"/>
                <a:gd name="connsiteX29" fmla="*/ 1757 w 10000"/>
                <a:gd name="connsiteY29" fmla="*/ 4365 h 9979"/>
                <a:gd name="connsiteX30" fmla="*/ 1384 w 10000"/>
                <a:gd name="connsiteY30" fmla="*/ 5041 h 9979"/>
                <a:gd name="connsiteX31" fmla="*/ 1028 w 10000"/>
                <a:gd name="connsiteY31" fmla="*/ 5716 h 9979"/>
                <a:gd name="connsiteX32" fmla="*/ 674 w 10000"/>
                <a:gd name="connsiteY32" fmla="*/ 6434 h 9979"/>
                <a:gd name="connsiteX33" fmla="*/ 0 w 10000"/>
                <a:gd name="connsiteY33" fmla="*/ 7869 h 9979"/>
                <a:gd name="connsiteX0" fmla="*/ 0 w 10000"/>
                <a:gd name="connsiteY0" fmla="*/ 7806 h 9920"/>
                <a:gd name="connsiteX1" fmla="*/ 0 w 10000"/>
                <a:gd name="connsiteY1" fmla="*/ 7806 h 9920"/>
                <a:gd name="connsiteX2" fmla="*/ 495 w 10000"/>
                <a:gd name="connsiteY2" fmla="*/ 8873 h 9920"/>
                <a:gd name="connsiteX3" fmla="*/ 948 w 10000"/>
                <a:gd name="connsiteY3" fmla="*/ 9920 h 9920"/>
                <a:gd name="connsiteX4" fmla="*/ 1403 w 10000"/>
                <a:gd name="connsiteY4" fmla="*/ 9140 h 9920"/>
                <a:gd name="connsiteX5" fmla="*/ 1816 w 10000"/>
                <a:gd name="connsiteY5" fmla="*/ 8320 h 9920"/>
                <a:gd name="connsiteX6" fmla="*/ 2253 w 10000"/>
                <a:gd name="connsiteY6" fmla="*/ 7517 h 9920"/>
                <a:gd name="connsiteX7" fmla="*/ 2626 w 10000"/>
                <a:gd name="connsiteY7" fmla="*/ 6695 h 9920"/>
                <a:gd name="connsiteX8" fmla="*/ 3380 w 10000"/>
                <a:gd name="connsiteY8" fmla="*/ 5075 h 9920"/>
                <a:gd name="connsiteX9" fmla="*/ 3756 w 10000"/>
                <a:gd name="connsiteY9" fmla="*/ 4294 h 9920"/>
                <a:gd name="connsiteX10" fmla="*/ 7843 w 10000"/>
                <a:gd name="connsiteY10" fmla="*/ 310 h 9920"/>
                <a:gd name="connsiteX11" fmla="*/ 8157 w 10000"/>
                <a:gd name="connsiteY11" fmla="*/ 392 h 9920"/>
                <a:gd name="connsiteX12" fmla="*/ 8437 w 10000"/>
                <a:gd name="connsiteY12" fmla="*/ 534 h 9920"/>
                <a:gd name="connsiteX13" fmla="*/ 8734 w 10000"/>
                <a:gd name="connsiteY13" fmla="*/ 681 h 9920"/>
                <a:gd name="connsiteX14" fmla="*/ 8989 w 10000"/>
                <a:gd name="connsiteY14" fmla="*/ 886 h 9920"/>
                <a:gd name="connsiteX15" fmla="*/ 9267 w 10000"/>
                <a:gd name="connsiteY15" fmla="*/ 1152 h 9920"/>
                <a:gd name="connsiteX16" fmla="*/ 9505 w 10000"/>
                <a:gd name="connsiteY16" fmla="*/ 1438 h 9920"/>
                <a:gd name="connsiteX17" fmla="*/ 9781 w 10000"/>
                <a:gd name="connsiteY17" fmla="*/ 1767 h 9920"/>
                <a:gd name="connsiteX18" fmla="*/ 10000 w 10000"/>
                <a:gd name="connsiteY18" fmla="*/ 2117 h 9920"/>
                <a:gd name="connsiteX19" fmla="*/ 9838 w 10000"/>
                <a:gd name="connsiteY19" fmla="*/ 556 h 9920"/>
                <a:gd name="connsiteX20" fmla="*/ 9484 w 10000"/>
                <a:gd name="connsiteY20" fmla="*/ 370 h 9920"/>
                <a:gd name="connsiteX21" fmla="*/ 9129 w 10000"/>
                <a:gd name="connsiteY21" fmla="*/ 207 h 9920"/>
                <a:gd name="connsiteX22" fmla="*/ 8754 w 10000"/>
                <a:gd name="connsiteY22" fmla="*/ 83 h 9920"/>
                <a:gd name="connsiteX23" fmla="*/ 8356 w 10000"/>
                <a:gd name="connsiteY23" fmla="*/ 0 h 9920"/>
                <a:gd name="connsiteX24" fmla="*/ 3458 w 10000"/>
                <a:gd name="connsiteY24" fmla="*/ 1892 h 9920"/>
                <a:gd name="connsiteX25" fmla="*/ 3003 w 10000"/>
                <a:gd name="connsiteY25" fmla="*/ 2444 h 9920"/>
                <a:gd name="connsiteX26" fmla="*/ 2570 w 10000"/>
                <a:gd name="connsiteY26" fmla="*/ 3022 h 9920"/>
                <a:gd name="connsiteX27" fmla="*/ 2155 w 10000"/>
                <a:gd name="connsiteY27" fmla="*/ 3637 h 9920"/>
                <a:gd name="connsiteX28" fmla="*/ 1757 w 10000"/>
                <a:gd name="connsiteY28" fmla="*/ 4294 h 9920"/>
                <a:gd name="connsiteX29" fmla="*/ 1384 w 10000"/>
                <a:gd name="connsiteY29" fmla="*/ 4972 h 9920"/>
                <a:gd name="connsiteX30" fmla="*/ 1028 w 10000"/>
                <a:gd name="connsiteY30" fmla="*/ 5648 h 9920"/>
                <a:gd name="connsiteX31" fmla="*/ 674 w 10000"/>
                <a:gd name="connsiteY31" fmla="*/ 6368 h 9920"/>
                <a:gd name="connsiteX32" fmla="*/ 0 w 10000"/>
                <a:gd name="connsiteY32" fmla="*/ 7806 h 992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437 w 10000"/>
                <a:gd name="connsiteY11" fmla="*/ 538 h 10000"/>
                <a:gd name="connsiteX12" fmla="*/ 8734 w 10000"/>
                <a:gd name="connsiteY12" fmla="*/ 686 h 10000"/>
                <a:gd name="connsiteX13" fmla="*/ 8989 w 10000"/>
                <a:gd name="connsiteY13" fmla="*/ 893 h 10000"/>
                <a:gd name="connsiteX14" fmla="*/ 9267 w 10000"/>
                <a:gd name="connsiteY14" fmla="*/ 1161 h 10000"/>
                <a:gd name="connsiteX15" fmla="*/ 9505 w 10000"/>
                <a:gd name="connsiteY15" fmla="*/ 1450 h 10000"/>
                <a:gd name="connsiteX16" fmla="*/ 9781 w 10000"/>
                <a:gd name="connsiteY16" fmla="*/ 1781 h 10000"/>
                <a:gd name="connsiteX17" fmla="*/ 10000 w 10000"/>
                <a:gd name="connsiteY17" fmla="*/ 2134 h 10000"/>
                <a:gd name="connsiteX18" fmla="*/ 9838 w 10000"/>
                <a:gd name="connsiteY18" fmla="*/ 560 h 10000"/>
                <a:gd name="connsiteX19" fmla="*/ 9484 w 10000"/>
                <a:gd name="connsiteY19" fmla="*/ 373 h 10000"/>
                <a:gd name="connsiteX20" fmla="*/ 9129 w 10000"/>
                <a:gd name="connsiteY20" fmla="*/ 209 h 10000"/>
                <a:gd name="connsiteX21" fmla="*/ 8754 w 10000"/>
                <a:gd name="connsiteY21" fmla="*/ 84 h 10000"/>
                <a:gd name="connsiteX22" fmla="*/ 8356 w 10000"/>
                <a:gd name="connsiteY22" fmla="*/ 0 h 10000"/>
                <a:gd name="connsiteX23" fmla="*/ 3458 w 10000"/>
                <a:gd name="connsiteY23" fmla="*/ 1907 h 10000"/>
                <a:gd name="connsiteX24" fmla="*/ 3003 w 10000"/>
                <a:gd name="connsiteY24" fmla="*/ 2464 h 10000"/>
                <a:gd name="connsiteX25" fmla="*/ 2570 w 10000"/>
                <a:gd name="connsiteY25" fmla="*/ 3046 h 10000"/>
                <a:gd name="connsiteX26" fmla="*/ 2155 w 10000"/>
                <a:gd name="connsiteY26" fmla="*/ 3666 h 10000"/>
                <a:gd name="connsiteX27" fmla="*/ 1757 w 10000"/>
                <a:gd name="connsiteY27" fmla="*/ 4329 h 10000"/>
                <a:gd name="connsiteX28" fmla="*/ 1384 w 10000"/>
                <a:gd name="connsiteY28" fmla="*/ 5012 h 10000"/>
                <a:gd name="connsiteX29" fmla="*/ 1028 w 10000"/>
                <a:gd name="connsiteY29" fmla="*/ 5694 h 10000"/>
                <a:gd name="connsiteX30" fmla="*/ 674 w 10000"/>
                <a:gd name="connsiteY30" fmla="*/ 6419 h 10000"/>
                <a:gd name="connsiteX31" fmla="*/ 0 w 10000"/>
                <a:gd name="connsiteY31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734 w 10000"/>
                <a:gd name="connsiteY11" fmla="*/ 686 h 10000"/>
                <a:gd name="connsiteX12" fmla="*/ 8989 w 10000"/>
                <a:gd name="connsiteY12" fmla="*/ 893 h 10000"/>
                <a:gd name="connsiteX13" fmla="*/ 9267 w 10000"/>
                <a:gd name="connsiteY13" fmla="*/ 1161 h 10000"/>
                <a:gd name="connsiteX14" fmla="*/ 9505 w 10000"/>
                <a:gd name="connsiteY14" fmla="*/ 1450 h 10000"/>
                <a:gd name="connsiteX15" fmla="*/ 9781 w 10000"/>
                <a:gd name="connsiteY15" fmla="*/ 1781 h 10000"/>
                <a:gd name="connsiteX16" fmla="*/ 10000 w 10000"/>
                <a:gd name="connsiteY16" fmla="*/ 2134 h 10000"/>
                <a:gd name="connsiteX17" fmla="*/ 9838 w 10000"/>
                <a:gd name="connsiteY17" fmla="*/ 560 h 10000"/>
                <a:gd name="connsiteX18" fmla="*/ 9484 w 10000"/>
                <a:gd name="connsiteY18" fmla="*/ 373 h 10000"/>
                <a:gd name="connsiteX19" fmla="*/ 9129 w 10000"/>
                <a:gd name="connsiteY19" fmla="*/ 209 h 10000"/>
                <a:gd name="connsiteX20" fmla="*/ 8754 w 10000"/>
                <a:gd name="connsiteY20" fmla="*/ 84 h 10000"/>
                <a:gd name="connsiteX21" fmla="*/ 8356 w 10000"/>
                <a:gd name="connsiteY21" fmla="*/ 0 h 10000"/>
                <a:gd name="connsiteX22" fmla="*/ 3458 w 10000"/>
                <a:gd name="connsiteY22" fmla="*/ 1907 h 10000"/>
                <a:gd name="connsiteX23" fmla="*/ 3003 w 10000"/>
                <a:gd name="connsiteY23" fmla="*/ 2464 h 10000"/>
                <a:gd name="connsiteX24" fmla="*/ 2570 w 10000"/>
                <a:gd name="connsiteY24" fmla="*/ 3046 h 10000"/>
                <a:gd name="connsiteX25" fmla="*/ 2155 w 10000"/>
                <a:gd name="connsiteY25" fmla="*/ 3666 h 10000"/>
                <a:gd name="connsiteX26" fmla="*/ 1757 w 10000"/>
                <a:gd name="connsiteY26" fmla="*/ 4329 h 10000"/>
                <a:gd name="connsiteX27" fmla="*/ 1384 w 10000"/>
                <a:gd name="connsiteY27" fmla="*/ 5012 h 10000"/>
                <a:gd name="connsiteX28" fmla="*/ 1028 w 10000"/>
                <a:gd name="connsiteY28" fmla="*/ 5694 h 10000"/>
                <a:gd name="connsiteX29" fmla="*/ 674 w 10000"/>
                <a:gd name="connsiteY29" fmla="*/ 6419 h 10000"/>
                <a:gd name="connsiteX30" fmla="*/ 0 w 10000"/>
                <a:gd name="connsiteY30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734 w 10000"/>
                <a:gd name="connsiteY10" fmla="*/ 686 h 10000"/>
                <a:gd name="connsiteX11" fmla="*/ 8989 w 10000"/>
                <a:gd name="connsiteY11" fmla="*/ 893 h 10000"/>
                <a:gd name="connsiteX12" fmla="*/ 9267 w 10000"/>
                <a:gd name="connsiteY12" fmla="*/ 1161 h 10000"/>
                <a:gd name="connsiteX13" fmla="*/ 9505 w 10000"/>
                <a:gd name="connsiteY13" fmla="*/ 1450 h 10000"/>
                <a:gd name="connsiteX14" fmla="*/ 9781 w 10000"/>
                <a:gd name="connsiteY14" fmla="*/ 1781 h 10000"/>
                <a:gd name="connsiteX15" fmla="*/ 10000 w 10000"/>
                <a:gd name="connsiteY15" fmla="*/ 2134 h 10000"/>
                <a:gd name="connsiteX16" fmla="*/ 9838 w 10000"/>
                <a:gd name="connsiteY16" fmla="*/ 560 h 10000"/>
                <a:gd name="connsiteX17" fmla="*/ 9484 w 10000"/>
                <a:gd name="connsiteY17" fmla="*/ 373 h 10000"/>
                <a:gd name="connsiteX18" fmla="*/ 9129 w 10000"/>
                <a:gd name="connsiteY18" fmla="*/ 209 h 10000"/>
                <a:gd name="connsiteX19" fmla="*/ 8754 w 10000"/>
                <a:gd name="connsiteY19" fmla="*/ 84 h 10000"/>
                <a:gd name="connsiteX20" fmla="*/ 8356 w 10000"/>
                <a:gd name="connsiteY20" fmla="*/ 0 h 10000"/>
                <a:gd name="connsiteX21" fmla="*/ 3458 w 10000"/>
                <a:gd name="connsiteY21" fmla="*/ 1907 h 10000"/>
                <a:gd name="connsiteX22" fmla="*/ 3003 w 10000"/>
                <a:gd name="connsiteY22" fmla="*/ 2464 h 10000"/>
                <a:gd name="connsiteX23" fmla="*/ 2570 w 10000"/>
                <a:gd name="connsiteY23" fmla="*/ 3046 h 10000"/>
                <a:gd name="connsiteX24" fmla="*/ 2155 w 10000"/>
                <a:gd name="connsiteY24" fmla="*/ 3666 h 10000"/>
                <a:gd name="connsiteX25" fmla="*/ 1757 w 10000"/>
                <a:gd name="connsiteY25" fmla="*/ 4329 h 10000"/>
                <a:gd name="connsiteX26" fmla="*/ 1384 w 10000"/>
                <a:gd name="connsiteY26" fmla="*/ 5012 h 10000"/>
                <a:gd name="connsiteX27" fmla="*/ 1028 w 10000"/>
                <a:gd name="connsiteY27" fmla="*/ 5694 h 10000"/>
                <a:gd name="connsiteX28" fmla="*/ 674 w 10000"/>
                <a:gd name="connsiteY28" fmla="*/ 6419 h 10000"/>
                <a:gd name="connsiteX29" fmla="*/ 0 w 10000"/>
                <a:gd name="connsiteY29" fmla="*/ 7869 h 10000"/>
                <a:gd name="connsiteX0" fmla="*/ 0 w 10000"/>
                <a:gd name="connsiteY0" fmla="*/ 7785 h 9916"/>
                <a:gd name="connsiteX1" fmla="*/ 0 w 10000"/>
                <a:gd name="connsiteY1" fmla="*/ 7785 h 9916"/>
                <a:gd name="connsiteX2" fmla="*/ 495 w 10000"/>
                <a:gd name="connsiteY2" fmla="*/ 8861 h 9916"/>
                <a:gd name="connsiteX3" fmla="*/ 948 w 10000"/>
                <a:gd name="connsiteY3" fmla="*/ 9916 h 9916"/>
                <a:gd name="connsiteX4" fmla="*/ 1403 w 10000"/>
                <a:gd name="connsiteY4" fmla="*/ 9130 h 9916"/>
                <a:gd name="connsiteX5" fmla="*/ 1816 w 10000"/>
                <a:gd name="connsiteY5" fmla="*/ 8303 h 9916"/>
                <a:gd name="connsiteX6" fmla="*/ 2253 w 10000"/>
                <a:gd name="connsiteY6" fmla="*/ 7494 h 9916"/>
                <a:gd name="connsiteX7" fmla="*/ 2626 w 10000"/>
                <a:gd name="connsiteY7" fmla="*/ 6665 h 9916"/>
                <a:gd name="connsiteX8" fmla="*/ 3380 w 10000"/>
                <a:gd name="connsiteY8" fmla="*/ 5032 h 9916"/>
                <a:gd name="connsiteX9" fmla="*/ 3756 w 10000"/>
                <a:gd name="connsiteY9" fmla="*/ 4245 h 9916"/>
                <a:gd name="connsiteX10" fmla="*/ 8734 w 10000"/>
                <a:gd name="connsiteY10" fmla="*/ 602 h 9916"/>
                <a:gd name="connsiteX11" fmla="*/ 8989 w 10000"/>
                <a:gd name="connsiteY11" fmla="*/ 809 h 9916"/>
                <a:gd name="connsiteX12" fmla="*/ 9267 w 10000"/>
                <a:gd name="connsiteY12" fmla="*/ 1077 h 9916"/>
                <a:gd name="connsiteX13" fmla="*/ 9505 w 10000"/>
                <a:gd name="connsiteY13" fmla="*/ 1366 h 9916"/>
                <a:gd name="connsiteX14" fmla="*/ 9781 w 10000"/>
                <a:gd name="connsiteY14" fmla="*/ 1697 h 9916"/>
                <a:gd name="connsiteX15" fmla="*/ 10000 w 10000"/>
                <a:gd name="connsiteY15" fmla="*/ 2050 h 9916"/>
                <a:gd name="connsiteX16" fmla="*/ 9838 w 10000"/>
                <a:gd name="connsiteY16" fmla="*/ 476 h 9916"/>
                <a:gd name="connsiteX17" fmla="*/ 9484 w 10000"/>
                <a:gd name="connsiteY17" fmla="*/ 289 h 9916"/>
                <a:gd name="connsiteX18" fmla="*/ 9129 w 10000"/>
                <a:gd name="connsiteY18" fmla="*/ 125 h 9916"/>
                <a:gd name="connsiteX19" fmla="*/ 8754 w 10000"/>
                <a:gd name="connsiteY19" fmla="*/ 0 h 9916"/>
                <a:gd name="connsiteX20" fmla="*/ 3458 w 10000"/>
                <a:gd name="connsiteY20" fmla="*/ 1823 h 9916"/>
                <a:gd name="connsiteX21" fmla="*/ 3003 w 10000"/>
                <a:gd name="connsiteY21" fmla="*/ 2380 h 9916"/>
                <a:gd name="connsiteX22" fmla="*/ 2570 w 10000"/>
                <a:gd name="connsiteY22" fmla="*/ 2962 h 9916"/>
                <a:gd name="connsiteX23" fmla="*/ 2155 w 10000"/>
                <a:gd name="connsiteY23" fmla="*/ 3582 h 9916"/>
                <a:gd name="connsiteX24" fmla="*/ 1757 w 10000"/>
                <a:gd name="connsiteY24" fmla="*/ 4245 h 9916"/>
                <a:gd name="connsiteX25" fmla="*/ 1384 w 10000"/>
                <a:gd name="connsiteY25" fmla="*/ 4928 h 9916"/>
                <a:gd name="connsiteX26" fmla="*/ 1028 w 10000"/>
                <a:gd name="connsiteY26" fmla="*/ 5610 h 9916"/>
                <a:gd name="connsiteX27" fmla="*/ 674 w 10000"/>
                <a:gd name="connsiteY27" fmla="*/ 6335 h 9916"/>
                <a:gd name="connsiteX28" fmla="*/ 0 w 10000"/>
                <a:gd name="connsiteY28" fmla="*/ 7785 h 9916"/>
                <a:gd name="connsiteX0" fmla="*/ 0 w 10000"/>
                <a:gd name="connsiteY0" fmla="*/ 7725 h 9874"/>
                <a:gd name="connsiteX1" fmla="*/ 0 w 10000"/>
                <a:gd name="connsiteY1" fmla="*/ 7725 h 9874"/>
                <a:gd name="connsiteX2" fmla="*/ 495 w 10000"/>
                <a:gd name="connsiteY2" fmla="*/ 8810 h 9874"/>
                <a:gd name="connsiteX3" fmla="*/ 948 w 10000"/>
                <a:gd name="connsiteY3" fmla="*/ 9874 h 9874"/>
                <a:gd name="connsiteX4" fmla="*/ 1403 w 10000"/>
                <a:gd name="connsiteY4" fmla="*/ 9081 h 9874"/>
                <a:gd name="connsiteX5" fmla="*/ 1816 w 10000"/>
                <a:gd name="connsiteY5" fmla="*/ 8247 h 9874"/>
                <a:gd name="connsiteX6" fmla="*/ 2253 w 10000"/>
                <a:gd name="connsiteY6" fmla="*/ 7431 h 9874"/>
                <a:gd name="connsiteX7" fmla="*/ 2626 w 10000"/>
                <a:gd name="connsiteY7" fmla="*/ 6595 h 9874"/>
                <a:gd name="connsiteX8" fmla="*/ 3380 w 10000"/>
                <a:gd name="connsiteY8" fmla="*/ 4949 h 9874"/>
                <a:gd name="connsiteX9" fmla="*/ 3756 w 10000"/>
                <a:gd name="connsiteY9" fmla="*/ 4155 h 9874"/>
                <a:gd name="connsiteX10" fmla="*/ 8734 w 10000"/>
                <a:gd name="connsiteY10" fmla="*/ 481 h 9874"/>
                <a:gd name="connsiteX11" fmla="*/ 8989 w 10000"/>
                <a:gd name="connsiteY11" fmla="*/ 690 h 9874"/>
                <a:gd name="connsiteX12" fmla="*/ 9267 w 10000"/>
                <a:gd name="connsiteY12" fmla="*/ 960 h 9874"/>
                <a:gd name="connsiteX13" fmla="*/ 9505 w 10000"/>
                <a:gd name="connsiteY13" fmla="*/ 1252 h 9874"/>
                <a:gd name="connsiteX14" fmla="*/ 9781 w 10000"/>
                <a:gd name="connsiteY14" fmla="*/ 1585 h 9874"/>
                <a:gd name="connsiteX15" fmla="*/ 10000 w 10000"/>
                <a:gd name="connsiteY15" fmla="*/ 1941 h 9874"/>
                <a:gd name="connsiteX16" fmla="*/ 9838 w 10000"/>
                <a:gd name="connsiteY16" fmla="*/ 354 h 9874"/>
                <a:gd name="connsiteX17" fmla="*/ 9484 w 10000"/>
                <a:gd name="connsiteY17" fmla="*/ 165 h 9874"/>
                <a:gd name="connsiteX18" fmla="*/ 9129 w 10000"/>
                <a:gd name="connsiteY18" fmla="*/ 0 h 9874"/>
                <a:gd name="connsiteX19" fmla="*/ 3458 w 10000"/>
                <a:gd name="connsiteY19" fmla="*/ 1712 h 9874"/>
                <a:gd name="connsiteX20" fmla="*/ 3003 w 10000"/>
                <a:gd name="connsiteY20" fmla="*/ 2274 h 9874"/>
                <a:gd name="connsiteX21" fmla="*/ 2570 w 10000"/>
                <a:gd name="connsiteY21" fmla="*/ 2861 h 9874"/>
                <a:gd name="connsiteX22" fmla="*/ 2155 w 10000"/>
                <a:gd name="connsiteY22" fmla="*/ 3486 h 9874"/>
                <a:gd name="connsiteX23" fmla="*/ 1757 w 10000"/>
                <a:gd name="connsiteY23" fmla="*/ 4155 h 9874"/>
                <a:gd name="connsiteX24" fmla="*/ 1384 w 10000"/>
                <a:gd name="connsiteY24" fmla="*/ 4844 h 9874"/>
                <a:gd name="connsiteX25" fmla="*/ 1028 w 10000"/>
                <a:gd name="connsiteY25" fmla="*/ 5532 h 9874"/>
                <a:gd name="connsiteX26" fmla="*/ 674 w 10000"/>
                <a:gd name="connsiteY26" fmla="*/ 6263 h 9874"/>
                <a:gd name="connsiteX27" fmla="*/ 0 w 10000"/>
                <a:gd name="connsiteY27" fmla="*/ 7725 h 9874"/>
                <a:gd name="connsiteX0" fmla="*/ 0 w 10000"/>
                <a:gd name="connsiteY0" fmla="*/ 7657 h 9833"/>
                <a:gd name="connsiteX1" fmla="*/ 0 w 10000"/>
                <a:gd name="connsiteY1" fmla="*/ 7657 h 9833"/>
                <a:gd name="connsiteX2" fmla="*/ 495 w 10000"/>
                <a:gd name="connsiteY2" fmla="*/ 8755 h 9833"/>
                <a:gd name="connsiteX3" fmla="*/ 948 w 10000"/>
                <a:gd name="connsiteY3" fmla="*/ 9833 h 9833"/>
                <a:gd name="connsiteX4" fmla="*/ 1403 w 10000"/>
                <a:gd name="connsiteY4" fmla="*/ 9030 h 9833"/>
                <a:gd name="connsiteX5" fmla="*/ 1816 w 10000"/>
                <a:gd name="connsiteY5" fmla="*/ 8185 h 9833"/>
                <a:gd name="connsiteX6" fmla="*/ 2253 w 10000"/>
                <a:gd name="connsiteY6" fmla="*/ 7359 h 9833"/>
                <a:gd name="connsiteX7" fmla="*/ 2626 w 10000"/>
                <a:gd name="connsiteY7" fmla="*/ 6512 h 9833"/>
                <a:gd name="connsiteX8" fmla="*/ 3380 w 10000"/>
                <a:gd name="connsiteY8" fmla="*/ 4845 h 9833"/>
                <a:gd name="connsiteX9" fmla="*/ 3756 w 10000"/>
                <a:gd name="connsiteY9" fmla="*/ 4041 h 9833"/>
                <a:gd name="connsiteX10" fmla="*/ 8734 w 10000"/>
                <a:gd name="connsiteY10" fmla="*/ 320 h 9833"/>
                <a:gd name="connsiteX11" fmla="*/ 8989 w 10000"/>
                <a:gd name="connsiteY11" fmla="*/ 532 h 9833"/>
                <a:gd name="connsiteX12" fmla="*/ 9267 w 10000"/>
                <a:gd name="connsiteY12" fmla="*/ 805 h 9833"/>
                <a:gd name="connsiteX13" fmla="*/ 9505 w 10000"/>
                <a:gd name="connsiteY13" fmla="*/ 1101 h 9833"/>
                <a:gd name="connsiteX14" fmla="*/ 9781 w 10000"/>
                <a:gd name="connsiteY14" fmla="*/ 1438 h 9833"/>
                <a:gd name="connsiteX15" fmla="*/ 10000 w 10000"/>
                <a:gd name="connsiteY15" fmla="*/ 1799 h 9833"/>
                <a:gd name="connsiteX16" fmla="*/ 9838 w 10000"/>
                <a:gd name="connsiteY16" fmla="*/ 192 h 9833"/>
                <a:gd name="connsiteX17" fmla="*/ 9484 w 10000"/>
                <a:gd name="connsiteY17" fmla="*/ 0 h 9833"/>
                <a:gd name="connsiteX18" fmla="*/ 3458 w 10000"/>
                <a:gd name="connsiteY18" fmla="*/ 1567 h 9833"/>
                <a:gd name="connsiteX19" fmla="*/ 3003 w 10000"/>
                <a:gd name="connsiteY19" fmla="*/ 2136 h 9833"/>
                <a:gd name="connsiteX20" fmla="*/ 2570 w 10000"/>
                <a:gd name="connsiteY20" fmla="*/ 2731 h 9833"/>
                <a:gd name="connsiteX21" fmla="*/ 2155 w 10000"/>
                <a:gd name="connsiteY21" fmla="*/ 3363 h 9833"/>
                <a:gd name="connsiteX22" fmla="*/ 1757 w 10000"/>
                <a:gd name="connsiteY22" fmla="*/ 4041 h 9833"/>
                <a:gd name="connsiteX23" fmla="*/ 1384 w 10000"/>
                <a:gd name="connsiteY23" fmla="*/ 4739 h 9833"/>
                <a:gd name="connsiteX24" fmla="*/ 1028 w 10000"/>
                <a:gd name="connsiteY24" fmla="*/ 5436 h 9833"/>
                <a:gd name="connsiteX25" fmla="*/ 674 w 10000"/>
                <a:gd name="connsiteY25" fmla="*/ 6176 h 9833"/>
                <a:gd name="connsiteX26" fmla="*/ 0 w 10000"/>
                <a:gd name="connsiteY26" fmla="*/ 7657 h 9833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8734 w 10000"/>
                <a:gd name="connsiteY10" fmla="*/ 325 h 10000"/>
                <a:gd name="connsiteX11" fmla="*/ 9267 w 10000"/>
                <a:gd name="connsiteY11" fmla="*/ 819 h 10000"/>
                <a:gd name="connsiteX12" fmla="*/ 9505 w 10000"/>
                <a:gd name="connsiteY12" fmla="*/ 1120 h 10000"/>
                <a:gd name="connsiteX13" fmla="*/ 9781 w 10000"/>
                <a:gd name="connsiteY13" fmla="*/ 1462 h 10000"/>
                <a:gd name="connsiteX14" fmla="*/ 10000 w 10000"/>
                <a:gd name="connsiteY14" fmla="*/ 1830 h 10000"/>
                <a:gd name="connsiteX15" fmla="*/ 9838 w 10000"/>
                <a:gd name="connsiteY15" fmla="*/ 195 h 10000"/>
                <a:gd name="connsiteX16" fmla="*/ 9484 w 10000"/>
                <a:gd name="connsiteY16" fmla="*/ 0 h 10000"/>
                <a:gd name="connsiteX17" fmla="*/ 3458 w 10000"/>
                <a:gd name="connsiteY17" fmla="*/ 1594 h 10000"/>
                <a:gd name="connsiteX18" fmla="*/ 3003 w 10000"/>
                <a:gd name="connsiteY18" fmla="*/ 2172 h 10000"/>
                <a:gd name="connsiteX19" fmla="*/ 2570 w 10000"/>
                <a:gd name="connsiteY19" fmla="*/ 2777 h 10000"/>
                <a:gd name="connsiteX20" fmla="*/ 2155 w 10000"/>
                <a:gd name="connsiteY20" fmla="*/ 3420 h 10000"/>
                <a:gd name="connsiteX21" fmla="*/ 1757 w 10000"/>
                <a:gd name="connsiteY21" fmla="*/ 4110 h 10000"/>
                <a:gd name="connsiteX22" fmla="*/ 1384 w 10000"/>
                <a:gd name="connsiteY22" fmla="*/ 4819 h 10000"/>
                <a:gd name="connsiteX23" fmla="*/ 1028 w 10000"/>
                <a:gd name="connsiteY23" fmla="*/ 5528 h 10000"/>
                <a:gd name="connsiteX24" fmla="*/ 674 w 10000"/>
                <a:gd name="connsiteY24" fmla="*/ 6281 h 10000"/>
                <a:gd name="connsiteX25" fmla="*/ 0 w 10000"/>
                <a:gd name="connsiteY25" fmla="*/ 7787 h 10000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9267 w 10000"/>
                <a:gd name="connsiteY10" fmla="*/ 819 h 10000"/>
                <a:gd name="connsiteX11" fmla="*/ 9505 w 10000"/>
                <a:gd name="connsiteY11" fmla="*/ 1120 h 10000"/>
                <a:gd name="connsiteX12" fmla="*/ 9781 w 10000"/>
                <a:gd name="connsiteY12" fmla="*/ 1462 h 10000"/>
                <a:gd name="connsiteX13" fmla="*/ 10000 w 10000"/>
                <a:gd name="connsiteY13" fmla="*/ 1830 h 10000"/>
                <a:gd name="connsiteX14" fmla="*/ 9838 w 10000"/>
                <a:gd name="connsiteY14" fmla="*/ 195 h 10000"/>
                <a:gd name="connsiteX15" fmla="*/ 9484 w 10000"/>
                <a:gd name="connsiteY15" fmla="*/ 0 h 10000"/>
                <a:gd name="connsiteX16" fmla="*/ 3458 w 10000"/>
                <a:gd name="connsiteY16" fmla="*/ 1594 h 10000"/>
                <a:gd name="connsiteX17" fmla="*/ 3003 w 10000"/>
                <a:gd name="connsiteY17" fmla="*/ 2172 h 10000"/>
                <a:gd name="connsiteX18" fmla="*/ 2570 w 10000"/>
                <a:gd name="connsiteY18" fmla="*/ 2777 h 10000"/>
                <a:gd name="connsiteX19" fmla="*/ 2155 w 10000"/>
                <a:gd name="connsiteY19" fmla="*/ 3420 h 10000"/>
                <a:gd name="connsiteX20" fmla="*/ 1757 w 10000"/>
                <a:gd name="connsiteY20" fmla="*/ 4110 h 10000"/>
                <a:gd name="connsiteX21" fmla="*/ 1384 w 10000"/>
                <a:gd name="connsiteY21" fmla="*/ 4819 h 10000"/>
                <a:gd name="connsiteX22" fmla="*/ 1028 w 10000"/>
                <a:gd name="connsiteY22" fmla="*/ 5528 h 10000"/>
                <a:gd name="connsiteX23" fmla="*/ 674 w 10000"/>
                <a:gd name="connsiteY23" fmla="*/ 6281 h 10000"/>
                <a:gd name="connsiteX24" fmla="*/ 0 w 10000"/>
                <a:gd name="connsiteY24" fmla="*/ 7787 h 10000"/>
                <a:gd name="connsiteX0" fmla="*/ 0 w 10000"/>
                <a:gd name="connsiteY0" fmla="*/ 7592 h 9805"/>
                <a:gd name="connsiteX1" fmla="*/ 0 w 10000"/>
                <a:gd name="connsiteY1" fmla="*/ 7592 h 9805"/>
                <a:gd name="connsiteX2" fmla="*/ 495 w 10000"/>
                <a:gd name="connsiteY2" fmla="*/ 8709 h 9805"/>
                <a:gd name="connsiteX3" fmla="*/ 948 w 10000"/>
                <a:gd name="connsiteY3" fmla="*/ 9805 h 9805"/>
                <a:gd name="connsiteX4" fmla="*/ 1403 w 10000"/>
                <a:gd name="connsiteY4" fmla="*/ 8988 h 9805"/>
                <a:gd name="connsiteX5" fmla="*/ 1816 w 10000"/>
                <a:gd name="connsiteY5" fmla="*/ 8129 h 9805"/>
                <a:gd name="connsiteX6" fmla="*/ 2253 w 10000"/>
                <a:gd name="connsiteY6" fmla="*/ 7289 h 9805"/>
                <a:gd name="connsiteX7" fmla="*/ 2626 w 10000"/>
                <a:gd name="connsiteY7" fmla="*/ 6428 h 9805"/>
                <a:gd name="connsiteX8" fmla="*/ 3380 w 10000"/>
                <a:gd name="connsiteY8" fmla="*/ 4732 h 9805"/>
                <a:gd name="connsiteX9" fmla="*/ 3756 w 10000"/>
                <a:gd name="connsiteY9" fmla="*/ 3915 h 9805"/>
                <a:gd name="connsiteX10" fmla="*/ 9267 w 10000"/>
                <a:gd name="connsiteY10" fmla="*/ 624 h 9805"/>
                <a:gd name="connsiteX11" fmla="*/ 9505 w 10000"/>
                <a:gd name="connsiteY11" fmla="*/ 925 h 9805"/>
                <a:gd name="connsiteX12" fmla="*/ 9781 w 10000"/>
                <a:gd name="connsiteY12" fmla="*/ 1267 h 9805"/>
                <a:gd name="connsiteX13" fmla="*/ 10000 w 10000"/>
                <a:gd name="connsiteY13" fmla="*/ 1635 h 9805"/>
                <a:gd name="connsiteX14" fmla="*/ 9838 w 10000"/>
                <a:gd name="connsiteY14" fmla="*/ 0 h 9805"/>
                <a:gd name="connsiteX15" fmla="*/ 3458 w 10000"/>
                <a:gd name="connsiteY15" fmla="*/ 1399 h 9805"/>
                <a:gd name="connsiteX16" fmla="*/ 3003 w 10000"/>
                <a:gd name="connsiteY16" fmla="*/ 1977 h 9805"/>
                <a:gd name="connsiteX17" fmla="*/ 2570 w 10000"/>
                <a:gd name="connsiteY17" fmla="*/ 2582 h 9805"/>
                <a:gd name="connsiteX18" fmla="*/ 2155 w 10000"/>
                <a:gd name="connsiteY18" fmla="*/ 3225 h 9805"/>
                <a:gd name="connsiteX19" fmla="*/ 1757 w 10000"/>
                <a:gd name="connsiteY19" fmla="*/ 3915 h 9805"/>
                <a:gd name="connsiteX20" fmla="*/ 1384 w 10000"/>
                <a:gd name="connsiteY20" fmla="*/ 4624 h 9805"/>
                <a:gd name="connsiteX21" fmla="*/ 1028 w 10000"/>
                <a:gd name="connsiteY21" fmla="*/ 5333 h 9805"/>
                <a:gd name="connsiteX22" fmla="*/ 674 w 10000"/>
                <a:gd name="connsiteY22" fmla="*/ 6086 h 9805"/>
                <a:gd name="connsiteX23" fmla="*/ 0 w 10000"/>
                <a:gd name="connsiteY23" fmla="*/ 7592 h 9805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267 w 10000"/>
                <a:gd name="connsiteY10" fmla="*/ 636 h 10000"/>
                <a:gd name="connsiteX11" fmla="*/ 9781 w 10000"/>
                <a:gd name="connsiteY11" fmla="*/ 1292 h 10000"/>
                <a:gd name="connsiteX12" fmla="*/ 10000 w 10000"/>
                <a:gd name="connsiteY12" fmla="*/ 1668 h 10000"/>
                <a:gd name="connsiteX13" fmla="*/ 9838 w 10000"/>
                <a:gd name="connsiteY13" fmla="*/ 0 h 10000"/>
                <a:gd name="connsiteX14" fmla="*/ 3458 w 10000"/>
                <a:gd name="connsiteY14" fmla="*/ 1427 h 10000"/>
                <a:gd name="connsiteX15" fmla="*/ 3003 w 10000"/>
                <a:gd name="connsiteY15" fmla="*/ 2016 h 10000"/>
                <a:gd name="connsiteX16" fmla="*/ 2570 w 10000"/>
                <a:gd name="connsiteY16" fmla="*/ 2633 h 10000"/>
                <a:gd name="connsiteX17" fmla="*/ 2155 w 10000"/>
                <a:gd name="connsiteY17" fmla="*/ 3289 h 10000"/>
                <a:gd name="connsiteX18" fmla="*/ 1757 w 10000"/>
                <a:gd name="connsiteY18" fmla="*/ 3993 h 10000"/>
                <a:gd name="connsiteX19" fmla="*/ 1384 w 10000"/>
                <a:gd name="connsiteY19" fmla="*/ 4716 h 10000"/>
                <a:gd name="connsiteX20" fmla="*/ 1028 w 10000"/>
                <a:gd name="connsiteY20" fmla="*/ 5439 h 10000"/>
                <a:gd name="connsiteX21" fmla="*/ 674 w 10000"/>
                <a:gd name="connsiteY21" fmla="*/ 6207 h 10000"/>
                <a:gd name="connsiteX22" fmla="*/ 0 w 10000"/>
                <a:gd name="connsiteY22" fmla="*/ 7743 h 10000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781 w 10000"/>
                <a:gd name="connsiteY10" fmla="*/ 1292 h 10000"/>
                <a:gd name="connsiteX11" fmla="*/ 10000 w 10000"/>
                <a:gd name="connsiteY11" fmla="*/ 1668 h 10000"/>
                <a:gd name="connsiteX12" fmla="*/ 9838 w 10000"/>
                <a:gd name="connsiteY12" fmla="*/ 0 h 10000"/>
                <a:gd name="connsiteX13" fmla="*/ 3458 w 10000"/>
                <a:gd name="connsiteY13" fmla="*/ 1427 h 10000"/>
                <a:gd name="connsiteX14" fmla="*/ 3003 w 10000"/>
                <a:gd name="connsiteY14" fmla="*/ 2016 h 10000"/>
                <a:gd name="connsiteX15" fmla="*/ 2570 w 10000"/>
                <a:gd name="connsiteY15" fmla="*/ 2633 h 10000"/>
                <a:gd name="connsiteX16" fmla="*/ 2155 w 10000"/>
                <a:gd name="connsiteY16" fmla="*/ 3289 h 10000"/>
                <a:gd name="connsiteX17" fmla="*/ 1757 w 10000"/>
                <a:gd name="connsiteY17" fmla="*/ 3993 h 10000"/>
                <a:gd name="connsiteX18" fmla="*/ 1384 w 10000"/>
                <a:gd name="connsiteY18" fmla="*/ 4716 h 10000"/>
                <a:gd name="connsiteX19" fmla="*/ 1028 w 10000"/>
                <a:gd name="connsiteY19" fmla="*/ 5439 h 10000"/>
                <a:gd name="connsiteX20" fmla="*/ 674 w 10000"/>
                <a:gd name="connsiteY20" fmla="*/ 6207 h 10000"/>
                <a:gd name="connsiteX21" fmla="*/ 0 w 10000"/>
                <a:gd name="connsiteY21" fmla="*/ 7743 h 10000"/>
                <a:gd name="connsiteX0" fmla="*/ 0 w 10000"/>
                <a:gd name="connsiteY0" fmla="*/ 6451 h 8708"/>
                <a:gd name="connsiteX1" fmla="*/ 0 w 10000"/>
                <a:gd name="connsiteY1" fmla="*/ 6451 h 8708"/>
                <a:gd name="connsiteX2" fmla="*/ 495 w 10000"/>
                <a:gd name="connsiteY2" fmla="*/ 7590 h 8708"/>
                <a:gd name="connsiteX3" fmla="*/ 948 w 10000"/>
                <a:gd name="connsiteY3" fmla="*/ 8708 h 8708"/>
                <a:gd name="connsiteX4" fmla="*/ 1403 w 10000"/>
                <a:gd name="connsiteY4" fmla="*/ 7875 h 8708"/>
                <a:gd name="connsiteX5" fmla="*/ 1816 w 10000"/>
                <a:gd name="connsiteY5" fmla="*/ 6999 h 8708"/>
                <a:gd name="connsiteX6" fmla="*/ 2253 w 10000"/>
                <a:gd name="connsiteY6" fmla="*/ 6142 h 8708"/>
                <a:gd name="connsiteX7" fmla="*/ 2626 w 10000"/>
                <a:gd name="connsiteY7" fmla="*/ 5264 h 8708"/>
                <a:gd name="connsiteX8" fmla="*/ 3380 w 10000"/>
                <a:gd name="connsiteY8" fmla="*/ 3534 h 8708"/>
                <a:gd name="connsiteX9" fmla="*/ 3756 w 10000"/>
                <a:gd name="connsiteY9" fmla="*/ 2701 h 8708"/>
                <a:gd name="connsiteX10" fmla="*/ 9781 w 10000"/>
                <a:gd name="connsiteY10" fmla="*/ 0 h 8708"/>
                <a:gd name="connsiteX11" fmla="*/ 10000 w 10000"/>
                <a:gd name="connsiteY11" fmla="*/ 376 h 8708"/>
                <a:gd name="connsiteX12" fmla="*/ 3458 w 10000"/>
                <a:gd name="connsiteY12" fmla="*/ 135 h 8708"/>
                <a:gd name="connsiteX13" fmla="*/ 3003 w 10000"/>
                <a:gd name="connsiteY13" fmla="*/ 724 h 8708"/>
                <a:gd name="connsiteX14" fmla="*/ 2570 w 10000"/>
                <a:gd name="connsiteY14" fmla="*/ 1341 h 8708"/>
                <a:gd name="connsiteX15" fmla="*/ 2155 w 10000"/>
                <a:gd name="connsiteY15" fmla="*/ 1997 h 8708"/>
                <a:gd name="connsiteX16" fmla="*/ 1757 w 10000"/>
                <a:gd name="connsiteY16" fmla="*/ 2701 h 8708"/>
                <a:gd name="connsiteX17" fmla="*/ 1384 w 10000"/>
                <a:gd name="connsiteY17" fmla="*/ 3424 h 8708"/>
                <a:gd name="connsiteX18" fmla="*/ 1028 w 10000"/>
                <a:gd name="connsiteY18" fmla="*/ 4147 h 8708"/>
                <a:gd name="connsiteX19" fmla="*/ 674 w 10000"/>
                <a:gd name="connsiteY19" fmla="*/ 4915 h 8708"/>
                <a:gd name="connsiteX20" fmla="*/ 0 w 10000"/>
                <a:gd name="connsiteY20" fmla="*/ 6451 h 8708"/>
                <a:gd name="connsiteX0" fmla="*/ 0 w 9781"/>
                <a:gd name="connsiteY0" fmla="*/ 7617 h 10209"/>
                <a:gd name="connsiteX1" fmla="*/ 0 w 9781"/>
                <a:gd name="connsiteY1" fmla="*/ 7617 h 10209"/>
                <a:gd name="connsiteX2" fmla="*/ 495 w 9781"/>
                <a:gd name="connsiteY2" fmla="*/ 8925 h 10209"/>
                <a:gd name="connsiteX3" fmla="*/ 948 w 9781"/>
                <a:gd name="connsiteY3" fmla="*/ 10209 h 10209"/>
                <a:gd name="connsiteX4" fmla="*/ 1403 w 9781"/>
                <a:gd name="connsiteY4" fmla="*/ 9252 h 10209"/>
                <a:gd name="connsiteX5" fmla="*/ 1816 w 9781"/>
                <a:gd name="connsiteY5" fmla="*/ 8246 h 10209"/>
                <a:gd name="connsiteX6" fmla="*/ 2253 w 9781"/>
                <a:gd name="connsiteY6" fmla="*/ 7262 h 10209"/>
                <a:gd name="connsiteX7" fmla="*/ 2626 w 9781"/>
                <a:gd name="connsiteY7" fmla="*/ 6254 h 10209"/>
                <a:gd name="connsiteX8" fmla="*/ 3380 w 9781"/>
                <a:gd name="connsiteY8" fmla="*/ 4267 h 10209"/>
                <a:gd name="connsiteX9" fmla="*/ 3756 w 9781"/>
                <a:gd name="connsiteY9" fmla="*/ 3311 h 10209"/>
                <a:gd name="connsiteX10" fmla="*/ 9781 w 9781"/>
                <a:gd name="connsiteY10" fmla="*/ 209 h 10209"/>
                <a:gd name="connsiteX11" fmla="*/ 3458 w 9781"/>
                <a:gd name="connsiteY11" fmla="*/ 364 h 10209"/>
                <a:gd name="connsiteX12" fmla="*/ 3003 w 9781"/>
                <a:gd name="connsiteY12" fmla="*/ 1040 h 10209"/>
                <a:gd name="connsiteX13" fmla="*/ 2570 w 9781"/>
                <a:gd name="connsiteY13" fmla="*/ 1749 h 10209"/>
                <a:gd name="connsiteX14" fmla="*/ 2155 w 9781"/>
                <a:gd name="connsiteY14" fmla="*/ 2502 h 10209"/>
                <a:gd name="connsiteX15" fmla="*/ 1757 w 9781"/>
                <a:gd name="connsiteY15" fmla="*/ 3311 h 10209"/>
                <a:gd name="connsiteX16" fmla="*/ 1384 w 9781"/>
                <a:gd name="connsiteY16" fmla="*/ 4141 h 10209"/>
                <a:gd name="connsiteX17" fmla="*/ 1028 w 9781"/>
                <a:gd name="connsiteY17" fmla="*/ 4971 h 10209"/>
                <a:gd name="connsiteX18" fmla="*/ 674 w 9781"/>
                <a:gd name="connsiteY18" fmla="*/ 5853 h 10209"/>
                <a:gd name="connsiteX19" fmla="*/ 0 w 9781"/>
                <a:gd name="connsiteY19" fmla="*/ 7617 h 10209"/>
                <a:gd name="connsiteX0" fmla="*/ 0 w 3840"/>
                <a:gd name="connsiteY0" fmla="*/ 7104 h 9643"/>
                <a:gd name="connsiteX1" fmla="*/ 0 w 3840"/>
                <a:gd name="connsiteY1" fmla="*/ 7104 h 9643"/>
                <a:gd name="connsiteX2" fmla="*/ 506 w 3840"/>
                <a:gd name="connsiteY2" fmla="*/ 8385 h 9643"/>
                <a:gd name="connsiteX3" fmla="*/ 969 w 3840"/>
                <a:gd name="connsiteY3" fmla="*/ 9643 h 9643"/>
                <a:gd name="connsiteX4" fmla="*/ 1434 w 3840"/>
                <a:gd name="connsiteY4" fmla="*/ 8706 h 9643"/>
                <a:gd name="connsiteX5" fmla="*/ 1857 w 3840"/>
                <a:gd name="connsiteY5" fmla="*/ 7720 h 9643"/>
                <a:gd name="connsiteX6" fmla="*/ 2303 w 3840"/>
                <a:gd name="connsiteY6" fmla="*/ 6756 h 9643"/>
                <a:gd name="connsiteX7" fmla="*/ 2685 w 3840"/>
                <a:gd name="connsiteY7" fmla="*/ 5769 h 9643"/>
                <a:gd name="connsiteX8" fmla="*/ 3456 w 3840"/>
                <a:gd name="connsiteY8" fmla="*/ 3823 h 9643"/>
                <a:gd name="connsiteX9" fmla="*/ 3840 w 3840"/>
                <a:gd name="connsiteY9" fmla="*/ 2886 h 9643"/>
                <a:gd name="connsiteX10" fmla="*/ 3535 w 3840"/>
                <a:gd name="connsiteY10" fmla="*/ 0 h 9643"/>
                <a:gd name="connsiteX11" fmla="*/ 3070 w 3840"/>
                <a:gd name="connsiteY11" fmla="*/ 662 h 9643"/>
                <a:gd name="connsiteX12" fmla="*/ 2628 w 3840"/>
                <a:gd name="connsiteY12" fmla="*/ 1356 h 9643"/>
                <a:gd name="connsiteX13" fmla="*/ 2203 w 3840"/>
                <a:gd name="connsiteY13" fmla="*/ 2094 h 9643"/>
                <a:gd name="connsiteX14" fmla="*/ 1796 w 3840"/>
                <a:gd name="connsiteY14" fmla="*/ 2886 h 9643"/>
                <a:gd name="connsiteX15" fmla="*/ 1415 w 3840"/>
                <a:gd name="connsiteY15" fmla="*/ 3699 h 9643"/>
                <a:gd name="connsiteX16" fmla="*/ 1051 w 3840"/>
                <a:gd name="connsiteY16" fmla="*/ 4512 h 9643"/>
                <a:gd name="connsiteX17" fmla="*/ 689 w 3840"/>
                <a:gd name="connsiteY17" fmla="*/ 5376 h 9643"/>
                <a:gd name="connsiteX18" fmla="*/ 0 w 3840"/>
                <a:gd name="connsiteY18" fmla="*/ 7104 h 9643"/>
                <a:gd name="connsiteX0" fmla="*/ 0 w 9311"/>
                <a:gd name="connsiteY0" fmla="*/ 7367 h 10000"/>
                <a:gd name="connsiteX1" fmla="*/ 0 w 9311"/>
                <a:gd name="connsiteY1" fmla="*/ 7367 h 10000"/>
                <a:gd name="connsiteX2" fmla="*/ 1318 w 9311"/>
                <a:gd name="connsiteY2" fmla="*/ 8695 h 10000"/>
                <a:gd name="connsiteX3" fmla="*/ 2523 w 9311"/>
                <a:gd name="connsiteY3" fmla="*/ 10000 h 10000"/>
                <a:gd name="connsiteX4" fmla="*/ 3734 w 9311"/>
                <a:gd name="connsiteY4" fmla="*/ 9028 h 10000"/>
                <a:gd name="connsiteX5" fmla="*/ 4836 w 9311"/>
                <a:gd name="connsiteY5" fmla="*/ 8006 h 10000"/>
                <a:gd name="connsiteX6" fmla="*/ 5997 w 9311"/>
                <a:gd name="connsiteY6" fmla="*/ 7006 h 10000"/>
                <a:gd name="connsiteX7" fmla="*/ 6992 w 9311"/>
                <a:gd name="connsiteY7" fmla="*/ 5983 h 10000"/>
                <a:gd name="connsiteX8" fmla="*/ 9000 w 9311"/>
                <a:gd name="connsiteY8" fmla="*/ 3965 h 10000"/>
                <a:gd name="connsiteX9" fmla="*/ 9206 w 9311"/>
                <a:gd name="connsiteY9" fmla="*/ 0 h 10000"/>
                <a:gd name="connsiteX10" fmla="*/ 7995 w 9311"/>
                <a:gd name="connsiteY10" fmla="*/ 687 h 10000"/>
                <a:gd name="connsiteX11" fmla="*/ 6844 w 9311"/>
                <a:gd name="connsiteY11" fmla="*/ 1406 h 10000"/>
                <a:gd name="connsiteX12" fmla="*/ 5737 w 9311"/>
                <a:gd name="connsiteY12" fmla="*/ 2172 h 10000"/>
                <a:gd name="connsiteX13" fmla="*/ 4677 w 9311"/>
                <a:gd name="connsiteY13" fmla="*/ 2993 h 10000"/>
                <a:gd name="connsiteX14" fmla="*/ 3685 w 9311"/>
                <a:gd name="connsiteY14" fmla="*/ 3836 h 10000"/>
                <a:gd name="connsiteX15" fmla="*/ 2737 w 9311"/>
                <a:gd name="connsiteY15" fmla="*/ 4679 h 10000"/>
                <a:gd name="connsiteX16" fmla="*/ 1794 w 9311"/>
                <a:gd name="connsiteY16" fmla="*/ 5575 h 10000"/>
                <a:gd name="connsiteX17" fmla="*/ 0 w 9311"/>
                <a:gd name="connsiteY17" fmla="*/ 7367 h 10000"/>
                <a:gd name="connsiteX0" fmla="*/ 0 w 9690"/>
                <a:gd name="connsiteY0" fmla="*/ 6680 h 9313"/>
                <a:gd name="connsiteX1" fmla="*/ 0 w 9690"/>
                <a:gd name="connsiteY1" fmla="*/ 6680 h 9313"/>
                <a:gd name="connsiteX2" fmla="*/ 1416 w 9690"/>
                <a:gd name="connsiteY2" fmla="*/ 8008 h 9313"/>
                <a:gd name="connsiteX3" fmla="*/ 2710 w 9690"/>
                <a:gd name="connsiteY3" fmla="*/ 9313 h 9313"/>
                <a:gd name="connsiteX4" fmla="*/ 4010 w 9690"/>
                <a:gd name="connsiteY4" fmla="*/ 8341 h 9313"/>
                <a:gd name="connsiteX5" fmla="*/ 5194 w 9690"/>
                <a:gd name="connsiteY5" fmla="*/ 7319 h 9313"/>
                <a:gd name="connsiteX6" fmla="*/ 6441 w 9690"/>
                <a:gd name="connsiteY6" fmla="*/ 6319 h 9313"/>
                <a:gd name="connsiteX7" fmla="*/ 7509 w 9690"/>
                <a:gd name="connsiteY7" fmla="*/ 5296 h 9313"/>
                <a:gd name="connsiteX8" fmla="*/ 9666 w 9690"/>
                <a:gd name="connsiteY8" fmla="*/ 3278 h 9313"/>
                <a:gd name="connsiteX9" fmla="*/ 8587 w 9690"/>
                <a:gd name="connsiteY9" fmla="*/ 0 h 9313"/>
                <a:gd name="connsiteX10" fmla="*/ 7350 w 9690"/>
                <a:gd name="connsiteY10" fmla="*/ 719 h 9313"/>
                <a:gd name="connsiteX11" fmla="*/ 6162 w 9690"/>
                <a:gd name="connsiteY11" fmla="*/ 1485 h 9313"/>
                <a:gd name="connsiteX12" fmla="*/ 5023 w 9690"/>
                <a:gd name="connsiteY12" fmla="*/ 2306 h 9313"/>
                <a:gd name="connsiteX13" fmla="*/ 3958 w 9690"/>
                <a:gd name="connsiteY13" fmla="*/ 3149 h 9313"/>
                <a:gd name="connsiteX14" fmla="*/ 2940 w 9690"/>
                <a:gd name="connsiteY14" fmla="*/ 3992 h 9313"/>
                <a:gd name="connsiteX15" fmla="*/ 1927 w 9690"/>
                <a:gd name="connsiteY15" fmla="*/ 4888 h 9313"/>
                <a:gd name="connsiteX16" fmla="*/ 0 w 9690"/>
                <a:gd name="connsiteY16" fmla="*/ 6680 h 9313"/>
                <a:gd name="connsiteX0" fmla="*/ 0 w 8862"/>
                <a:gd name="connsiteY0" fmla="*/ 7173 h 10000"/>
                <a:gd name="connsiteX1" fmla="*/ 0 w 8862"/>
                <a:gd name="connsiteY1" fmla="*/ 7173 h 10000"/>
                <a:gd name="connsiteX2" fmla="*/ 1461 w 8862"/>
                <a:gd name="connsiteY2" fmla="*/ 8599 h 10000"/>
                <a:gd name="connsiteX3" fmla="*/ 2797 w 8862"/>
                <a:gd name="connsiteY3" fmla="*/ 10000 h 10000"/>
                <a:gd name="connsiteX4" fmla="*/ 4138 w 8862"/>
                <a:gd name="connsiteY4" fmla="*/ 8956 h 10000"/>
                <a:gd name="connsiteX5" fmla="*/ 5360 w 8862"/>
                <a:gd name="connsiteY5" fmla="*/ 7859 h 10000"/>
                <a:gd name="connsiteX6" fmla="*/ 6647 w 8862"/>
                <a:gd name="connsiteY6" fmla="*/ 6785 h 10000"/>
                <a:gd name="connsiteX7" fmla="*/ 7749 w 8862"/>
                <a:gd name="connsiteY7" fmla="*/ 5687 h 10000"/>
                <a:gd name="connsiteX8" fmla="*/ 8862 w 8862"/>
                <a:gd name="connsiteY8" fmla="*/ 0 h 10000"/>
                <a:gd name="connsiteX9" fmla="*/ 7585 w 8862"/>
                <a:gd name="connsiteY9" fmla="*/ 772 h 10000"/>
                <a:gd name="connsiteX10" fmla="*/ 6359 w 8862"/>
                <a:gd name="connsiteY10" fmla="*/ 1595 h 10000"/>
                <a:gd name="connsiteX11" fmla="*/ 5184 w 8862"/>
                <a:gd name="connsiteY11" fmla="*/ 2476 h 10000"/>
                <a:gd name="connsiteX12" fmla="*/ 4085 w 8862"/>
                <a:gd name="connsiteY12" fmla="*/ 3381 h 10000"/>
                <a:gd name="connsiteX13" fmla="*/ 3034 w 8862"/>
                <a:gd name="connsiteY13" fmla="*/ 4286 h 10000"/>
                <a:gd name="connsiteX14" fmla="*/ 1989 w 8862"/>
                <a:gd name="connsiteY14" fmla="*/ 5249 h 10000"/>
                <a:gd name="connsiteX15" fmla="*/ 0 w 8862"/>
                <a:gd name="connsiteY15" fmla="*/ 7173 h 10000"/>
                <a:gd name="connsiteX0" fmla="*/ 0 w 10017"/>
                <a:gd name="connsiteY0" fmla="*/ 7173 h 10000"/>
                <a:gd name="connsiteX1" fmla="*/ 0 w 10017"/>
                <a:gd name="connsiteY1" fmla="*/ 7173 h 10000"/>
                <a:gd name="connsiteX2" fmla="*/ 1649 w 10017"/>
                <a:gd name="connsiteY2" fmla="*/ 8599 h 10000"/>
                <a:gd name="connsiteX3" fmla="*/ 3156 w 10017"/>
                <a:gd name="connsiteY3" fmla="*/ 10000 h 10000"/>
                <a:gd name="connsiteX4" fmla="*/ 4669 w 10017"/>
                <a:gd name="connsiteY4" fmla="*/ 8956 h 10000"/>
                <a:gd name="connsiteX5" fmla="*/ 6048 w 10017"/>
                <a:gd name="connsiteY5" fmla="*/ 7859 h 10000"/>
                <a:gd name="connsiteX6" fmla="*/ 7501 w 10017"/>
                <a:gd name="connsiteY6" fmla="*/ 6785 h 10000"/>
                <a:gd name="connsiteX7" fmla="*/ 10017 w 10017"/>
                <a:gd name="connsiteY7" fmla="*/ 4522 h 10000"/>
                <a:gd name="connsiteX8" fmla="*/ 10000 w 10017"/>
                <a:gd name="connsiteY8" fmla="*/ 0 h 10000"/>
                <a:gd name="connsiteX9" fmla="*/ 8559 w 10017"/>
                <a:gd name="connsiteY9" fmla="*/ 772 h 10000"/>
                <a:gd name="connsiteX10" fmla="*/ 7176 w 10017"/>
                <a:gd name="connsiteY10" fmla="*/ 1595 h 10000"/>
                <a:gd name="connsiteX11" fmla="*/ 5850 w 10017"/>
                <a:gd name="connsiteY11" fmla="*/ 2476 h 10000"/>
                <a:gd name="connsiteX12" fmla="*/ 4610 w 10017"/>
                <a:gd name="connsiteY12" fmla="*/ 3381 h 10000"/>
                <a:gd name="connsiteX13" fmla="*/ 3424 w 10017"/>
                <a:gd name="connsiteY13" fmla="*/ 4286 h 10000"/>
                <a:gd name="connsiteX14" fmla="*/ 2244 w 10017"/>
                <a:gd name="connsiteY14" fmla="*/ 5249 h 10000"/>
                <a:gd name="connsiteX15" fmla="*/ 0 w 10017"/>
                <a:gd name="connsiteY15" fmla="*/ 7173 h 10000"/>
                <a:gd name="connsiteX0" fmla="*/ 0 w 13142"/>
                <a:gd name="connsiteY0" fmla="*/ 7193 h 10020"/>
                <a:gd name="connsiteX1" fmla="*/ 0 w 13142"/>
                <a:gd name="connsiteY1" fmla="*/ 7193 h 10020"/>
                <a:gd name="connsiteX2" fmla="*/ 1649 w 13142"/>
                <a:gd name="connsiteY2" fmla="*/ 8619 h 10020"/>
                <a:gd name="connsiteX3" fmla="*/ 3156 w 13142"/>
                <a:gd name="connsiteY3" fmla="*/ 10020 h 10020"/>
                <a:gd name="connsiteX4" fmla="*/ 4669 w 13142"/>
                <a:gd name="connsiteY4" fmla="*/ 8976 h 10020"/>
                <a:gd name="connsiteX5" fmla="*/ 6048 w 13142"/>
                <a:gd name="connsiteY5" fmla="*/ 7879 h 10020"/>
                <a:gd name="connsiteX6" fmla="*/ 7501 w 13142"/>
                <a:gd name="connsiteY6" fmla="*/ 6805 h 10020"/>
                <a:gd name="connsiteX7" fmla="*/ 13142 w 13142"/>
                <a:gd name="connsiteY7" fmla="*/ 498 h 10020"/>
                <a:gd name="connsiteX8" fmla="*/ 10000 w 13142"/>
                <a:gd name="connsiteY8" fmla="*/ 20 h 10020"/>
                <a:gd name="connsiteX9" fmla="*/ 8559 w 13142"/>
                <a:gd name="connsiteY9" fmla="*/ 792 h 10020"/>
                <a:gd name="connsiteX10" fmla="*/ 7176 w 13142"/>
                <a:gd name="connsiteY10" fmla="*/ 1615 h 10020"/>
                <a:gd name="connsiteX11" fmla="*/ 5850 w 13142"/>
                <a:gd name="connsiteY11" fmla="*/ 2496 h 10020"/>
                <a:gd name="connsiteX12" fmla="*/ 4610 w 13142"/>
                <a:gd name="connsiteY12" fmla="*/ 3401 h 10020"/>
                <a:gd name="connsiteX13" fmla="*/ 3424 w 13142"/>
                <a:gd name="connsiteY13" fmla="*/ 4306 h 10020"/>
                <a:gd name="connsiteX14" fmla="*/ 2244 w 13142"/>
                <a:gd name="connsiteY14" fmla="*/ 5269 h 10020"/>
                <a:gd name="connsiteX15" fmla="*/ 0 w 13142"/>
                <a:gd name="connsiteY15" fmla="*/ 7193 h 10020"/>
                <a:gd name="connsiteX0" fmla="*/ 0 w 13142"/>
                <a:gd name="connsiteY0" fmla="*/ 9366 h 12193"/>
                <a:gd name="connsiteX1" fmla="*/ 0 w 13142"/>
                <a:gd name="connsiteY1" fmla="*/ 9366 h 12193"/>
                <a:gd name="connsiteX2" fmla="*/ 1649 w 13142"/>
                <a:gd name="connsiteY2" fmla="*/ 10792 h 12193"/>
                <a:gd name="connsiteX3" fmla="*/ 3156 w 13142"/>
                <a:gd name="connsiteY3" fmla="*/ 12193 h 12193"/>
                <a:gd name="connsiteX4" fmla="*/ 4669 w 13142"/>
                <a:gd name="connsiteY4" fmla="*/ 11149 h 12193"/>
                <a:gd name="connsiteX5" fmla="*/ 6048 w 13142"/>
                <a:gd name="connsiteY5" fmla="*/ 10052 h 12193"/>
                <a:gd name="connsiteX6" fmla="*/ 7501 w 13142"/>
                <a:gd name="connsiteY6" fmla="*/ 8978 h 12193"/>
                <a:gd name="connsiteX7" fmla="*/ 13142 w 13142"/>
                <a:gd name="connsiteY7" fmla="*/ 2671 h 12193"/>
                <a:gd name="connsiteX8" fmla="*/ 10232 w 13142"/>
                <a:gd name="connsiteY8" fmla="*/ 0 h 12193"/>
                <a:gd name="connsiteX9" fmla="*/ 8559 w 13142"/>
                <a:gd name="connsiteY9" fmla="*/ 2965 h 12193"/>
                <a:gd name="connsiteX10" fmla="*/ 7176 w 13142"/>
                <a:gd name="connsiteY10" fmla="*/ 3788 h 12193"/>
                <a:gd name="connsiteX11" fmla="*/ 5850 w 13142"/>
                <a:gd name="connsiteY11" fmla="*/ 4669 h 12193"/>
                <a:gd name="connsiteX12" fmla="*/ 4610 w 13142"/>
                <a:gd name="connsiteY12" fmla="*/ 5574 h 12193"/>
                <a:gd name="connsiteX13" fmla="*/ 3424 w 13142"/>
                <a:gd name="connsiteY13" fmla="*/ 6479 h 12193"/>
                <a:gd name="connsiteX14" fmla="*/ 2244 w 13142"/>
                <a:gd name="connsiteY14" fmla="*/ 7442 h 12193"/>
                <a:gd name="connsiteX15" fmla="*/ 0 w 13142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965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082 w 13489"/>
                <a:gd name="connsiteY11" fmla="*/ 4463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2100"/>
                <a:gd name="connsiteY0" fmla="*/ 9366 h 12193"/>
                <a:gd name="connsiteX1" fmla="*/ 0 w 12100"/>
                <a:gd name="connsiteY1" fmla="*/ 9366 h 12193"/>
                <a:gd name="connsiteX2" fmla="*/ 1649 w 12100"/>
                <a:gd name="connsiteY2" fmla="*/ 10792 h 12193"/>
                <a:gd name="connsiteX3" fmla="*/ 3156 w 12100"/>
                <a:gd name="connsiteY3" fmla="*/ 12193 h 12193"/>
                <a:gd name="connsiteX4" fmla="*/ 4669 w 12100"/>
                <a:gd name="connsiteY4" fmla="*/ 11149 h 12193"/>
                <a:gd name="connsiteX5" fmla="*/ 6048 w 12100"/>
                <a:gd name="connsiteY5" fmla="*/ 10052 h 12193"/>
                <a:gd name="connsiteX6" fmla="*/ 7501 w 12100"/>
                <a:gd name="connsiteY6" fmla="*/ 8978 h 12193"/>
                <a:gd name="connsiteX7" fmla="*/ 12100 w 12100"/>
                <a:gd name="connsiteY7" fmla="*/ 3082 h 12193"/>
                <a:gd name="connsiteX8" fmla="*/ 10232 w 12100"/>
                <a:gd name="connsiteY8" fmla="*/ 0 h 12193"/>
                <a:gd name="connsiteX9" fmla="*/ 9369 w 12100"/>
                <a:gd name="connsiteY9" fmla="*/ 1594 h 12193"/>
                <a:gd name="connsiteX10" fmla="*/ 7985 w 12100"/>
                <a:gd name="connsiteY10" fmla="*/ 3034 h 12193"/>
                <a:gd name="connsiteX11" fmla="*/ 6082 w 12100"/>
                <a:gd name="connsiteY11" fmla="*/ 4463 h 12193"/>
                <a:gd name="connsiteX12" fmla="*/ 4610 w 12100"/>
                <a:gd name="connsiteY12" fmla="*/ 5574 h 12193"/>
                <a:gd name="connsiteX13" fmla="*/ 3424 w 12100"/>
                <a:gd name="connsiteY13" fmla="*/ 6479 h 12193"/>
                <a:gd name="connsiteX14" fmla="*/ 2244 w 12100"/>
                <a:gd name="connsiteY14" fmla="*/ 7442 h 12193"/>
                <a:gd name="connsiteX15" fmla="*/ 0 w 12100"/>
                <a:gd name="connsiteY15" fmla="*/ 9366 h 12193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369 w 12200"/>
                <a:gd name="connsiteY9" fmla="*/ 1937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832 w 12200"/>
                <a:gd name="connsiteY9" fmla="*/ 2143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84"/>
                <a:gd name="connsiteY0" fmla="*/ 9709 h 12536"/>
                <a:gd name="connsiteX1" fmla="*/ 0 w 12284"/>
                <a:gd name="connsiteY1" fmla="*/ 9709 h 12536"/>
                <a:gd name="connsiteX2" fmla="*/ 1649 w 12284"/>
                <a:gd name="connsiteY2" fmla="*/ 11135 h 12536"/>
                <a:gd name="connsiteX3" fmla="*/ 3156 w 12284"/>
                <a:gd name="connsiteY3" fmla="*/ 12536 h 12536"/>
                <a:gd name="connsiteX4" fmla="*/ 4669 w 12284"/>
                <a:gd name="connsiteY4" fmla="*/ 11492 h 12536"/>
                <a:gd name="connsiteX5" fmla="*/ 6048 w 12284"/>
                <a:gd name="connsiteY5" fmla="*/ 10395 h 12536"/>
                <a:gd name="connsiteX6" fmla="*/ 7501 w 12284"/>
                <a:gd name="connsiteY6" fmla="*/ 9321 h 12536"/>
                <a:gd name="connsiteX7" fmla="*/ 12100 w 12284"/>
                <a:gd name="connsiteY7" fmla="*/ 3425 h 12536"/>
                <a:gd name="connsiteX8" fmla="*/ 12200 w 12284"/>
                <a:gd name="connsiteY8" fmla="*/ 0 h 12536"/>
                <a:gd name="connsiteX9" fmla="*/ 9832 w 12284"/>
                <a:gd name="connsiteY9" fmla="*/ 2143 h 12536"/>
                <a:gd name="connsiteX10" fmla="*/ 7985 w 12284"/>
                <a:gd name="connsiteY10" fmla="*/ 3377 h 12536"/>
                <a:gd name="connsiteX11" fmla="*/ 6082 w 12284"/>
                <a:gd name="connsiteY11" fmla="*/ 4806 h 12536"/>
                <a:gd name="connsiteX12" fmla="*/ 4610 w 12284"/>
                <a:gd name="connsiteY12" fmla="*/ 5917 h 12536"/>
                <a:gd name="connsiteX13" fmla="*/ 3424 w 12284"/>
                <a:gd name="connsiteY13" fmla="*/ 6822 h 12536"/>
                <a:gd name="connsiteX14" fmla="*/ 2244 w 12284"/>
                <a:gd name="connsiteY14" fmla="*/ 7785 h 12536"/>
                <a:gd name="connsiteX15" fmla="*/ 0 w 12284"/>
                <a:gd name="connsiteY15" fmla="*/ 9709 h 12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84" h="12536">
                  <a:moveTo>
                    <a:pt x="0" y="9709"/>
                  </a:moveTo>
                  <a:lnTo>
                    <a:pt x="0" y="9709"/>
                  </a:lnTo>
                  <a:lnTo>
                    <a:pt x="1649" y="11135"/>
                  </a:lnTo>
                  <a:cubicBezTo>
                    <a:pt x="2144" y="11603"/>
                    <a:pt x="2661" y="12066"/>
                    <a:pt x="3156" y="12536"/>
                  </a:cubicBezTo>
                  <a:lnTo>
                    <a:pt x="4669" y="11492"/>
                  </a:lnTo>
                  <a:lnTo>
                    <a:pt x="6048" y="10395"/>
                  </a:lnTo>
                  <a:lnTo>
                    <a:pt x="7501" y="9321"/>
                  </a:lnTo>
                  <a:lnTo>
                    <a:pt x="12100" y="3425"/>
                  </a:lnTo>
                  <a:cubicBezTo>
                    <a:pt x="12441" y="2672"/>
                    <a:pt x="12206" y="1507"/>
                    <a:pt x="12200" y="0"/>
                  </a:cubicBezTo>
                  <a:cubicBezTo>
                    <a:pt x="11604" y="646"/>
                    <a:pt x="10534" y="1580"/>
                    <a:pt x="9832" y="2143"/>
                  </a:cubicBezTo>
                  <a:cubicBezTo>
                    <a:pt x="9130" y="2706"/>
                    <a:pt x="8436" y="2979"/>
                    <a:pt x="7985" y="3377"/>
                  </a:cubicBezTo>
                  <a:lnTo>
                    <a:pt x="6082" y="4806"/>
                  </a:lnTo>
                  <a:lnTo>
                    <a:pt x="4610" y="5917"/>
                  </a:lnTo>
                  <a:lnTo>
                    <a:pt x="3424" y="6822"/>
                  </a:lnTo>
                  <a:lnTo>
                    <a:pt x="2244" y="7785"/>
                  </a:lnTo>
                  <a:lnTo>
                    <a:pt x="0" y="97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2" name="Freeform 82">
              <a:extLst>
                <a:ext uri="{FF2B5EF4-FFF2-40B4-BE49-F238E27FC236}">
                  <a16:creationId xmlns:a16="http://schemas.microsoft.com/office/drawing/2014/main" id="{1A0DB51E-CBC0-473A-93F9-87271EF51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5405" y="2679496"/>
              <a:ext cx="1322475" cy="667024"/>
            </a:xfrm>
            <a:custGeom>
              <a:avLst/>
              <a:gdLst>
                <a:gd name="T0" fmla="*/ 787 w 977"/>
                <a:gd name="T1" fmla="*/ 680 h 699"/>
                <a:gd name="T2" fmla="*/ 820 w 977"/>
                <a:gd name="T3" fmla="*/ 671 h 699"/>
                <a:gd name="T4" fmla="*/ 850 w 977"/>
                <a:gd name="T5" fmla="*/ 653 h 699"/>
                <a:gd name="T6" fmla="*/ 879 w 977"/>
                <a:gd name="T7" fmla="*/ 625 h 699"/>
                <a:gd name="T8" fmla="*/ 932 w 977"/>
                <a:gd name="T9" fmla="*/ 549 h 699"/>
                <a:gd name="T10" fmla="*/ 977 w 977"/>
                <a:gd name="T11" fmla="*/ 608 h 699"/>
                <a:gd name="T12" fmla="*/ 934 w 977"/>
                <a:gd name="T13" fmla="*/ 646 h 699"/>
                <a:gd name="T14" fmla="*/ 886 w 977"/>
                <a:gd name="T15" fmla="*/ 676 h 699"/>
                <a:gd name="T16" fmla="*/ 848 w 977"/>
                <a:gd name="T17" fmla="*/ 690 h 699"/>
                <a:gd name="T18" fmla="*/ 805 w 977"/>
                <a:gd name="T19" fmla="*/ 698 h 699"/>
                <a:gd name="T20" fmla="*/ 776 w 977"/>
                <a:gd name="T21" fmla="*/ 699 h 699"/>
                <a:gd name="T22" fmla="*/ 729 w 977"/>
                <a:gd name="T23" fmla="*/ 695 h 699"/>
                <a:gd name="T24" fmla="*/ 685 w 977"/>
                <a:gd name="T25" fmla="*/ 681 h 699"/>
                <a:gd name="T26" fmla="*/ 646 w 977"/>
                <a:gd name="T27" fmla="*/ 661 h 699"/>
                <a:gd name="T28" fmla="*/ 610 w 977"/>
                <a:gd name="T29" fmla="*/ 635 h 699"/>
                <a:gd name="T30" fmla="*/ 545 w 977"/>
                <a:gd name="T31" fmla="*/ 567 h 699"/>
                <a:gd name="T32" fmla="*/ 490 w 977"/>
                <a:gd name="T33" fmla="*/ 483 h 699"/>
                <a:gd name="T34" fmla="*/ 427 w 977"/>
                <a:gd name="T35" fmla="*/ 359 h 699"/>
                <a:gd name="T36" fmla="*/ 341 w 977"/>
                <a:gd name="T37" fmla="*/ 176 h 699"/>
                <a:gd name="T38" fmla="*/ 297 w 977"/>
                <a:gd name="T39" fmla="*/ 102 h 699"/>
                <a:gd name="T40" fmla="*/ 249 w 977"/>
                <a:gd name="T41" fmla="*/ 47 h 699"/>
                <a:gd name="T42" fmla="*/ 223 w 977"/>
                <a:gd name="T43" fmla="*/ 30 h 699"/>
                <a:gd name="T44" fmla="*/ 195 w 977"/>
                <a:gd name="T45" fmla="*/ 20 h 699"/>
                <a:gd name="T46" fmla="*/ 175 w 977"/>
                <a:gd name="T47" fmla="*/ 18 h 699"/>
                <a:gd name="T48" fmla="*/ 137 w 977"/>
                <a:gd name="T49" fmla="*/ 25 h 699"/>
                <a:gd name="T50" fmla="*/ 101 w 977"/>
                <a:gd name="T51" fmla="*/ 45 h 699"/>
                <a:gd name="T52" fmla="*/ 68 w 977"/>
                <a:gd name="T53" fmla="*/ 76 h 699"/>
                <a:gd name="T54" fmla="*/ 38 w 977"/>
                <a:gd name="T55" fmla="*/ 118 h 699"/>
                <a:gd name="T56" fmla="*/ 1 w 977"/>
                <a:gd name="T57" fmla="*/ 67 h 699"/>
                <a:gd name="T58" fmla="*/ 39 w 977"/>
                <a:gd name="T59" fmla="*/ 39 h 699"/>
                <a:gd name="T60" fmla="*/ 103 w 977"/>
                <a:gd name="T61" fmla="*/ 9 h 699"/>
                <a:gd name="T62" fmla="*/ 175 w 977"/>
                <a:gd name="T63" fmla="*/ 0 h 699"/>
                <a:gd name="T64" fmla="*/ 206 w 977"/>
                <a:gd name="T65" fmla="*/ 2 h 699"/>
                <a:gd name="T66" fmla="*/ 250 w 977"/>
                <a:gd name="T67" fmla="*/ 12 h 699"/>
                <a:gd name="T68" fmla="*/ 292 w 977"/>
                <a:gd name="T69" fmla="*/ 30 h 699"/>
                <a:gd name="T70" fmla="*/ 329 w 977"/>
                <a:gd name="T71" fmla="*/ 54 h 699"/>
                <a:gd name="T72" fmla="*/ 385 w 977"/>
                <a:gd name="T73" fmla="*/ 108 h 699"/>
                <a:gd name="T74" fmla="*/ 442 w 977"/>
                <a:gd name="T75" fmla="*/ 187 h 699"/>
                <a:gd name="T76" fmla="*/ 494 w 977"/>
                <a:gd name="T77" fmla="*/ 278 h 699"/>
                <a:gd name="T78" fmla="*/ 611 w 977"/>
                <a:gd name="T79" fmla="*/ 523 h 699"/>
                <a:gd name="T80" fmla="*/ 655 w 977"/>
                <a:gd name="T81" fmla="*/ 597 h 699"/>
                <a:gd name="T82" fmla="*/ 703 w 977"/>
                <a:gd name="T83" fmla="*/ 651 h 699"/>
                <a:gd name="T84" fmla="*/ 729 w 977"/>
                <a:gd name="T85" fmla="*/ 669 h 699"/>
                <a:gd name="T86" fmla="*/ 756 w 977"/>
                <a:gd name="T87" fmla="*/ 679 h 699"/>
                <a:gd name="T88" fmla="*/ 776 w 977"/>
                <a:gd name="T89" fmla="*/ 681 h 6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77" h="699">
                  <a:moveTo>
                    <a:pt x="776" y="681"/>
                  </a:moveTo>
                  <a:lnTo>
                    <a:pt x="776" y="681"/>
                  </a:lnTo>
                  <a:lnTo>
                    <a:pt x="787" y="680"/>
                  </a:lnTo>
                  <a:lnTo>
                    <a:pt x="799" y="679"/>
                  </a:lnTo>
                  <a:lnTo>
                    <a:pt x="810" y="676"/>
                  </a:lnTo>
                  <a:lnTo>
                    <a:pt x="820" y="671"/>
                  </a:lnTo>
                  <a:lnTo>
                    <a:pt x="830" y="667"/>
                  </a:lnTo>
                  <a:lnTo>
                    <a:pt x="840" y="660"/>
                  </a:lnTo>
                  <a:lnTo>
                    <a:pt x="850" y="653"/>
                  </a:lnTo>
                  <a:lnTo>
                    <a:pt x="861" y="644"/>
                  </a:lnTo>
                  <a:lnTo>
                    <a:pt x="870" y="635"/>
                  </a:lnTo>
                  <a:lnTo>
                    <a:pt x="879" y="625"/>
                  </a:lnTo>
                  <a:lnTo>
                    <a:pt x="898" y="603"/>
                  </a:lnTo>
                  <a:lnTo>
                    <a:pt x="914" y="577"/>
                  </a:lnTo>
                  <a:lnTo>
                    <a:pt x="932" y="549"/>
                  </a:lnTo>
                  <a:lnTo>
                    <a:pt x="954" y="579"/>
                  </a:lnTo>
                  <a:lnTo>
                    <a:pt x="977" y="608"/>
                  </a:lnTo>
                  <a:lnTo>
                    <a:pt x="956" y="628"/>
                  </a:lnTo>
                  <a:lnTo>
                    <a:pt x="934" y="646"/>
                  </a:lnTo>
                  <a:lnTo>
                    <a:pt x="911" y="662"/>
                  </a:lnTo>
                  <a:lnTo>
                    <a:pt x="899" y="669"/>
                  </a:lnTo>
                  <a:lnTo>
                    <a:pt x="886" y="676"/>
                  </a:lnTo>
                  <a:lnTo>
                    <a:pt x="874" y="681"/>
                  </a:lnTo>
                  <a:lnTo>
                    <a:pt x="862" y="686"/>
                  </a:lnTo>
                  <a:lnTo>
                    <a:pt x="848" y="690"/>
                  </a:lnTo>
                  <a:lnTo>
                    <a:pt x="835" y="693"/>
                  </a:lnTo>
                  <a:lnTo>
                    <a:pt x="820" y="696"/>
                  </a:lnTo>
                  <a:lnTo>
                    <a:pt x="805" y="698"/>
                  </a:lnTo>
                  <a:lnTo>
                    <a:pt x="791" y="699"/>
                  </a:lnTo>
                  <a:lnTo>
                    <a:pt x="776" y="699"/>
                  </a:lnTo>
                  <a:lnTo>
                    <a:pt x="759" y="699"/>
                  </a:lnTo>
                  <a:lnTo>
                    <a:pt x="744" y="697"/>
                  </a:lnTo>
                  <a:lnTo>
                    <a:pt x="729" y="695"/>
                  </a:lnTo>
                  <a:lnTo>
                    <a:pt x="714" y="691"/>
                  </a:lnTo>
                  <a:lnTo>
                    <a:pt x="700" y="687"/>
                  </a:lnTo>
                  <a:lnTo>
                    <a:pt x="685" y="681"/>
                  </a:lnTo>
                  <a:lnTo>
                    <a:pt x="672" y="676"/>
                  </a:lnTo>
                  <a:lnTo>
                    <a:pt x="659" y="669"/>
                  </a:lnTo>
                  <a:lnTo>
                    <a:pt x="646" y="661"/>
                  </a:lnTo>
                  <a:lnTo>
                    <a:pt x="633" y="653"/>
                  </a:lnTo>
                  <a:lnTo>
                    <a:pt x="621" y="644"/>
                  </a:lnTo>
                  <a:lnTo>
                    <a:pt x="610" y="635"/>
                  </a:lnTo>
                  <a:lnTo>
                    <a:pt x="587" y="614"/>
                  </a:lnTo>
                  <a:lnTo>
                    <a:pt x="565" y="592"/>
                  </a:lnTo>
                  <a:lnTo>
                    <a:pt x="545" y="567"/>
                  </a:lnTo>
                  <a:lnTo>
                    <a:pt x="526" y="540"/>
                  </a:lnTo>
                  <a:lnTo>
                    <a:pt x="508" y="512"/>
                  </a:lnTo>
                  <a:lnTo>
                    <a:pt x="490" y="483"/>
                  </a:lnTo>
                  <a:lnTo>
                    <a:pt x="473" y="453"/>
                  </a:lnTo>
                  <a:lnTo>
                    <a:pt x="457" y="421"/>
                  </a:lnTo>
                  <a:lnTo>
                    <a:pt x="427" y="359"/>
                  </a:lnTo>
                  <a:lnTo>
                    <a:pt x="369" y="233"/>
                  </a:lnTo>
                  <a:lnTo>
                    <a:pt x="355" y="204"/>
                  </a:lnTo>
                  <a:lnTo>
                    <a:pt x="341" y="176"/>
                  </a:lnTo>
                  <a:lnTo>
                    <a:pt x="327" y="149"/>
                  </a:lnTo>
                  <a:lnTo>
                    <a:pt x="312" y="124"/>
                  </a:lnTo>
                  <a:lnTo>
                    <a:pt x="297" y="102"/>
                  </a:lnTo>
                  <a:lnTo>
                    <a:pt x="282" y="81"/>
                  </a:lnTo>
                  <a:lnTo>
                    <a:pt x="266" y="63"/>
                  </a:lnTo>
                  <a:lnTo>
                    <a:pt x="249" y="47"/>
                  </a:lnTo>
                  <a:lnTo>
                    <a:pt x="241" y="41"/>
                  </a:lnTo>
                  <a:lnTo>
                    <a:pt x="232" y="35"/>
                  </a:lnTo>
                  <a:lnTo>
                    <a:pt x="223" y="30"/>
                  </a:lnTo>
                  <a:lnTo>
                    <a:pt x="214" y="26"/>
                  </a:lnTo>
                  <a:lnTo>
                    <a:pt x="204" y="22"/>
                  </a:lnTo>
                  <a:lnTo>
                    <a:pt x="195" y="20"/>
                  </a:lnTo>
                  <a:lnTo>
                    <a:pt x="185" y="18"/>
                  </a:lnTo>
                  <a:lnTo>
                    <a:pt x="175" y="18"/>
                  </a:lnTo>
                  <a:lnTo>
                    <a:pt x="161" y="18"/>
                  </a:lnTo>
                  <a:lnTo>
                    <a:pt x="149" y="21"/>
                  </a:lnTo>
                  <a:lnTo>
                    <a:pt x="137" y="25"/>
                  </a:lnTo>
                  <a:lnTo>
                    <a:pt x="124" y="30"/>
                  </a:lnTo>
                  <a:lnTo>
                    <a:pt x="113" y="37"/>
                  </a:lnTo>
                  <a:lnTo>
                    <a:pt x="101" y="45"/>
                  </a:lnTo>
                  <a:lnTo>
                    <a:pt x="91" y="54"/>
                  </a:lnTo>
                  <a:lnTo>
                    <a:pt x="79" y="65"/>
                  </a:lnTo>
                  <a:lnTo>
                    <a:pt x="68" y="76"/>
                  </a:lnTo>
                  <a:lnTo>
                    <a:pt x="58" y="90"/>
                  </a:lnTo>
                  <a:lnTo>
                    <a:pt x="48" y="103"/>
                  </a:lnTo>
                  <a:lnTo>
                    <a:pt x="38" y="118"/>
                  </a:lnTo>
                  <a:lnTo>
                    <a:pt x="19" y="150"/>
                  </a:lnTo>
                  <a:lnTo>
                    <a:pt x="0" y="185"/>
                  </a:lnTo>
                  <a:lnTo>
                    <a:pt x="1" y="67"/>
                  </a:lnTo>
                  <a:lnTo>
                    <a:pt x="19" y="52"/>
                  </a:lnTo>
                  <a:lnTo>
                    <a:pt x="39" y="39"/>
                  </a:lnTo>
                  <a:lnTo>
                    <a:pt x="59" y="27"/>
                  </a:lnTo>
                  <a:lnTo>
                    <a:pt x="81" y="17"/>
                  </a:lnTo>
                  <a:lnTo>
                    <a:pt x="103" y="9"/>
                  </a:lnTo>
                  <a:lnTo>
                    <a:pt x="125" y="3"/>
                  </a:lnTo>
                  <a:lnTo>
                    <a:pt x="150" y="0"/>
                  </a:lnTo>
                  <a:lnTo>
                    <a:pt x="175" y="0"/>
                  </a:lnTo>
                  <a:lnTo>
                    <a:pt x="191" y="0"/>
                  </a:lnTo>
                  <a:lnTo>
                    <a:pt x="206" y="2"/>
                  </a:lnTo>
                  <a:lnTo>
                    <a:pt x="222" y="4"/>
                  </a:lnTo>
                  <a:lnTo>
                    <a:pt x="237" y="8"/>
                  </a:lnTo>
                  <a:lnTo>
                    <a:pt x="250" y="12"/>
                  </a:lnTo>
                  <a:lnTo>
                    <a:pt x="265" y="17"/>
                  </a:lnTo>
                  <a:lnTo>
                    <a:pt x="278" y="24"/>
                  </a:lnTo>
                  <a:lnTo>
                    <a:pt x="292" y="30"/>
                  </a:lnTo>
                  <a:lnTo>
                    <a:pt x="304" y="37"/>
                  </a:lnTo>
                  <a:lnTo>
                    <a:pt x="317" y="45"/>
                  </a:lnTo>
                  <a:lnTo>
                    <a:pt x="329" y="54"/>
                  </a:lnTo>
                  <a:lnTo>
                    <a:pt x="340" y="64"/>
                  </a:lnTo>
                  <a:lnTo>
                    <a:pt x="363" y="84"/>
                  </a:lnTo>
                  <a:lnTo>
                    <a:pt x="385" y="108"/>
                  </a:lnTo>
                  <a:lnTo>
                    <a:pt x="405" y="132"/>
                  </a:lnTo>
                  <a:lnTo>
                    <a:pt x="424" y="159"/>
                  </a:lnTo>
                  <a:lnTo>
                    <a:pt x="442" y="187"/>
                  </a:lnTo>
                  <a:lnTo>
                    <a:pt x="460" y="216"/>
                  </a:lnTo>
                  <a:lnTo>
                    <a:pt x="477" y="246"/>
                  </a:lnTo>
                  <a:lnTo>
                    <a:pt x="494" y="278"/>
                  </a:lnTo>
                  <a:lnTo>
                    <a:pt x="524" y="341"/>
                  </a:lnTo>
                  <a:lnTo>
                    <a:pt x="583" y="465"/>
                  </a:lnTo>
                  <a:lnTo>
                    <a:pt x="611" y="523"/>
                  </a:lnTo>
                  <a:lnTo>
                    <a:pt x="626" y="549"/>
                  </a:lnTo>
                  <a:lnTo>
                    <a:pt x="640" y="574"/>
                  </a:lnTo>
                  <a:lnTo>
                    <a:pt x="655" y="597"/>
                  </a:lnTo>
                  <a:lnTo>
                    <a:pt x="671" y="617"/>
                  </a:lnTo>
                  <a:lnTo>
                    <a:pt x="686" y="636"/>
                  </a:lnTo>
                  <a:lnTo>
                    <a:pt x="703" y="651"/>
                  </a:lnTo>
                  <a:lnTo>
                    <a:pt x="711" y="658"/>
                  </a:lnTo>
                  <a:lnTo>
                    <a:pt x="720" y="663"/>
                  </a:lnTo>
                  <a:lnTo>
                    <a:pt x="729" y="669"/>
                  </a:lnTo>
                  <a:lnTo>
                    <a:pt x="738" y="673"/>
                  </a:lnTo>
                  <a:lnTo>
                    <a:pt x="747" y="677"/>
                  </a:lnTo>
                  <a:lnTo>
                    <a:pt x="756" y="679"/>
                  </a:lnTo>
                  <a:lnTo>
                    <a:pt x="766" y="680"/>
                  </a:lnTo>
                  <a:lnTo>
                    <a:pt x="776" y="6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3" name="Freeform 83">
              <a:extLst>
                <a:ext uri="{FF2B5EF4-FFF2-40B4-BE49-F238E27FC236}">
                  <a16:creationId xmlns:a16="http://schemas.microsoft.com/office/drawing/2014/main" id="{6D8D5446-41A5-4525-8E3E-1B4F3E60C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7146" y="2696673"/>
              <a:ext cx="1601318" cy="667024"/>
            </a:xfrm>
            <a:custGeom>
              <a:avLst/>
              <a:gdLst>
                <a:gd name="T0" fmla="*/ 816 w 1183"/>
                <a:gd name="T1" fmla="*/ 681 h 699"/>
                <a:gd name="T2" fmla="*/ 852 w 1183"/>
                <a:gd name="T3" fmla="*/ 670 h 699"/>
                <a:gd name="T4" fmla="*/ 885 w 1183"/>
                <a:gd name="T5" fmla="*/ 646 h 699"/>
                <a:gd name="T6" fmla="*/ 917 w 1183"/>
                <a:gd name="T7" fmla="*/ 613 h 699"/>
                <a:gd name="T8" fmla="*/ 956 w 1183"/>
                <a:gd name="T9" fmla="*/ 554 h 699"/>
                <a:gd name="T10" fmla="*/ 1012 w 1183"/>
                <a:gd name="T11" fmla="*/ 448 h 699"/>
                <a:gd name="T12" fmla="*/ 1090 w 1183"/>
                <a:gd name="T13" fmla="*/ 289 h 699"/>
                <a:gd name="T14" fmla="*/ 1134 w 1183"/>
                <a:gd name="T15" fmla="*/ 213 h 699"/>
                <a:gd name="T16" fmla="*/ 1183 w 1183"/>
                <a:gd name="T17" fmla="*/ 316 h 699"/>
                <a:gd name="T18" fmla="*/ 1112 w 1183"/>
                <a:gd name="T19" fmla="*/ 454 h 699"/>
                <a:gd name="T20" fmla="*/ 1053 w 1183"/>
                <a:gd name="T21" fmla="*/ 549 h 699"/>
                <a:gd name="T22" fmla="*/ 995 w 1183"/>
                <a:gd name="T23" fmla="*/ 616 h 699"/>
                <a:gd name="T24" fmla="*/ 957 w 1183"/>
                <a:gd name="T25" fmla="*/ 649 h 699"/>
                <a:gd name="T26" fmla="*/ 914 w 1183"/>
                <a:gd name="T27" fmla="*/ 674 h 699"/>
                <a:gd name="T28" fmla="*/ 870 w 1183"/>
                <a:gd name="T29" fmla="*/ 691 h 699"/>
                <a:gd name="T30" fmla="*/ 820 w 1183"/>
                <a:gd name="T31" fmla="*/ 699 h 699"/>
                <a:gd name="T32" fmla="*/ 786 w 1183"/>
                <a:gd name="T33" fmla="*/ 699 h 699"/>
                <a:gd name="T34" fmla="*/ 740 w 1183"/>
                <a:gd name="T35" fmla="*/ 691 h 699"/>
                <a:gd name="T36" fmla="*/ 699 w 1183"/>
                <a:gd name="T37" fmla="*/ 675 h 699"/>
                <a:gd name="T38" fmla="*/ 660 w 1183"/>
                <a:gd name="T39" fmla="*/ 654 h 699"/>
                <a:gd name="T40" fmla="*/ 614 w 1183"/>
                <a:gd name="T41" fmla="*/ 615 h 699"/>
                <a:gd name="T42" fmla="*/ 553 w 1183"/>
                <a:gd name="T43" fmla="*/ 540 h 699"/>
                <a:gd name="T44" fmla="*/ 500 w 1183"/>
                <a:gd name="T45" fmla="*/ 453 h 699"/>
                <a:gd name="T46" fmla="*/ 453 w 1183"/>
                <a:gd name="T47" fmla="*/ 358 h 699"/>
                <a:gd name="T48" fmla="*/ 351 w 1183"/>
                <a:gd name="T49" fmla="*/ 150 h 699"/>
                <a:gd name="T50" fmla="*/ 306 w 1183"/>
                <a:gd name="T51" fmla="*/ 82 h 699"/>
                <a:gd name="T52" fmla="*/ 266 w 1183"/>
                <a:gd name="T53" fmla="*/ 41 h 699"/>
                <a:gd name="T54" fmla="*/ 239 w 1183"/>
                <a:gd name="T55" fmla="*/ 26 h 699"/>
                <a:gd name="T56" fmla="*/ 211 w 1183"/>
                <a:gd name="T57" fmla="*/ 19 h 699"/>
                <a:gd name="T58" fmla="*/ 190 w 1183"/>
                <a:gd name="T59" fmla="*/ 19 h 699"/>
                <a:gd name="T60" fmla="*/ 157 w 1183"/>
                <a:gd name="T61" fmla="*/ 28 h 699"/>
                <a:gd name="T62" fmla="*/ 127 w 1183"/>
                <a:gd name="T63" fmla="*/ 46 h 699"/>
                <a:gd name="T64" fmla="*/ 99 w 1183"/>
                <a:gd name="T65" fmla="*/ 74 h 699"/>
                <a:gd name="T66" fmla="*/ 45 w 1183"/>
                <a:gd name="T67" fmla="*/ 151 h 699"/>
                <a:gd name="T68" fmla="*/ 23 w 1183"/>
                <a:gd name="T69" fmla="*/ 120 h 699"/>
                <a:gd name="T70" fmla="*/ 21 w 1183"/>
                <a:gd name="T71" fmla="*/ 71 h 699"/>
                <a:gd name="T72" fmla="*/ 78 w 1183"/>
                <a:gd name="T73" fmla="*/ 30 h 699"/>
                <a:gd name="T74" fmla="*/ 115 w 1183"/>
                <a:gd name="T75" fmla="*/ 13 h 699"/>
                <a:gd name="T76" fmla="*/ 157 w 1183"/>
                <a:gd name="T77" fmla="*/ 3 h 699"/>
                <a:gd name="T78" fmla="*/ 201 w 1183"/>
                <a:gd name="T79" fmla="*/ 0 h 699"/>
                <a:gd name="T80" fmla="*/ 233 w 1183"/>
                <a:gd name="T81" fmla="*/ 2 h 699"/>
                <a:gd name="T82" fmla="*/ 277 w 1183"/>
                <a:gd name="T83" fmla="*/ 12 h 699"/>
                <a:gd name="T84" fmla="*/ 318 w 1183"/>
                <a:gd name="T85" fmla="*/ 30 h 699"/>
                <a:gd name="T86" fmla="*/ 356 w 1183"/>
                <a:gd name="T87" fmla="*/ 55 h 699"/>
                <a:gd name="T88" fmla="*/ 412 w 1183"/>
                <a:gd name="T89" fmla="*/ 107 h 699"/>
                <a:gd name="T90" fmla="*/ 469 w 1183"/>
                <a:gd name="T91" fmla="*/ 187 h 699"/>
                <a:gd name="T92" fmla="*/ 520 w 1183"/>
                <a:gd name="T93" fmla="*/ 278 h 699"/>
                <a:gd name="T94" fmla="*/ 622 w 1183"/>
                <a:gd name="T95" fmla="*/ 495 h 699"/>
                <a:gd name="T96" fmla="*/ 665 w 1183"/>
                <a:gd name="T97" fmla="*/ 575 h 699"/>
                <a:gd name="T98" fmla="*/ 711 w 1183"/>
                <a:gd name="T99" fmla="*/ 636 h 699"/>
                <a:gd name="T100" fmla="*/ 745 w 1183"/>
                <a:gd name="T101" fmla="*/ 664 h 699"/>
                <a:gd name="T102" fmla="*/ 773 w 1183"/>
                <a:gd name="T103" fmla="*/ 677 h 699"/>
                <a:gd name="T104" fmla="*/ 802 w 1183"/>
                <a:gd name="T105" fmla="*/ 681 h 6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3" h="699">
                  <a:moveTo>
                    <a:pt x="802" y="681"/>
                  </a:moveTo>
                  <a:lnTo>
                    <a:pt x="802" y="681"/>
                  </a:lnTo>
                  <a:lnTo>
                    <a:pt x="816" y="681"/>
                  </a:lnTo>
                  <a:lnTo>
                    <a:pt x="828" y="679"/>
                  </a:lnTo>
                  <a:lnTo>
                    <a:pt x="840" y="674"/>
                  </a:lnTo>
                  <a:lnTo>
                    <a:pt x="852" y="670"/>
                  </a:lnTo>
                  <a:lnTo>
                    <a:pt x="863" y="663"/>
                  </a:lnTo>
                  <a:lnTo>
                    <a:pt x="874" y="655"/>
                  </a:lnTo>
                  <a:lnTo>
                    <a:pt x="885" y="646"/>
                  </a:lnTo>
                  <a:lnTo>
                    <a:pt x="895" y="636"/>
                  </a:lnTo>
                  <a:lnTo>
                    <a:pt x="907" y="625"/>
                  </a:lnTo>
                  <a:lnTo>
                    <a:pt x="917" y="613"/>
                  </a:lnTo>
                  <a:lnTo>
                    <a:pt x="927" y="599"/>
                  </a:lnTo>
                  <a:lnTo>
                    <a:pt x="936" y="586"/>
                  </a:lnTo>
                  <a:lnTo>
                    <a:pt x="956" y="554"/>
                  </a:lnTo>
                  <a:lnTo>
                    <a:pt x="974" y="522"/>
                  </a:lnTo>
                  <a:lnTo>
                    <a:pt x="993" y="486"/>
                  </a:lnTo>
                  <a:lnTo>
                    <a:pt x="1012" y="448"/>
                  </a:lnTo>
                  <a:lnTo>
                    <a:pt x="1050" y="370"/>
                  </a:lnTo>
                  <a:lnTo>
                    <a:pt x="1070" y="329"/>
                  </a:lnTo>
                  <a:lnTo>
                    <a:pt x="1090" y="289"/>
                  </a:lnTo>
                  <a:lnTo>
                    <a:pt x="1111" y="251"/>
                  </a:lnTo>
                  <a:lnTo>
                    <a:pt x="1134" y="213"/>
                  </a:lnTo>
                  <a:lnTo>
                    <a:pt x="1158" y="263"/>
                  </a:lnTo>
                  <a:lnTo>
                    <a:pt x="1183" y="316"/>
                  </a:lnTo>
                  <a:lnTo>
                    <a:pt x="1148" y="385"/>
                  </a:lnTo>
                  <a:lnTo>
                    <a:pt x="1131" y="420"/>
                  </a:lnTo>
                  <a:lnTo>
                    <a:pt x="1112" y="454"/>
                  </a:lnTo>
                  <a:lnTo>
                    <a:pt x="1093" y="486"/>
                  </a:lnTo>
                  <a:lnTo>
                    <a:pt x="1074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8" y="604"/>
                  </a:lnTo>
                  <a:lnTo>
                    <a:pt x="995" y="616"/>
                  </a:lnTo>
                  <a:lnTo>
                    <a:pt x="983" y="627"/>
                  </a:lnTo>
                  <a:lnTo>
                    <a:pt x="970" y="639"/>
                  </a:lnTo>
                  <a:lnTo>
                    <a:pt x="957" y="649"/>
                  </a:lnTo>
                  <a:lnTo>
                    <a:pt x="944" y="658"/>
                  </a:lnTo>
                  <a:lnTo>
                    <a:pt x="929" y="667"/>
                  </a:lnTo>
                  <a:lnTo>
                    <a:pt x="914" y="674"/>
                  </a:lnTo>
                  <a:lnTo>
                    <a:pt x="900" y="681"/>
                  </a:lnTo>
                  <a:lnTo>
                    <a:pt x="885" y="687"/>
                  </a:lnTo>
                  <a:lnTo>
                    <a:pt x="870" y="691"/>
                  </a:lnTo>
                  <a:lnTo>
                    <a:pt x="854" y="695"/>
                  </a:lnTo>
                  <a:lnTo>
                    <a:pt x="837" y="698"/>
                  </a:lnTo>
                  <a:lnTo>
                    <a:pt x="820" y="699"/>
                  </a:lnTo>
                  <a:lnTo>
                    <a:pt x="802" y="699"/>
                  </a:lnTo>
                  <a:lnTo>
                    <a:pt x="786" y="699"/>
                  </a:lnTo>
                  <a:lnTo>
                    <a:pt x="771" y="697"/>
                  </a:lnTo>
                  <a:lnTo>
                    <a:pt x="755" y="695"/>
                  </a:lnTo>
                  <a:lnTo>
                    <a:pt x="740" y="691"/>
                  </a:lnTo>
                  <a:lnTo>
                    <a:pt x="727" y="687"/>
                  </a:lnTo>
                  <a:lnTo>
                    <a:pt x="712" y="682"/>
                  </a:lnTo>
                  <a:lnTo>
                    <a:pt x="699" y="675"/>
                  </a:lnTo>
                  <a:lnTo>
                    <a:pt x="685" y="669"/>
                  </a:lnTo>
                  <a:lnTo>
                    <a:pt x="673" y="662"/>
                  </a:lnTo>
                  <a:lnTo>
                    <a:pt x="660" y="654"/>
                  </a:lnTo>
                  <a:lnTo>
                    <a:pt x="648" y="645"/>
                  </a:lnTo>
                  <a:lnTo>
                    <a:pt x="637" y="635"/>
                  </a:lnTo>
                  <a:lnTo>
                    <a:pt x="614" y="615"/>
                  </a:lnTo>
                  <a:lnTo>
                    <a:pt x="592" y="591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5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4" y="422"/>
                  </a:lnTo>
                  <a:lnTo>
                    <a:pt x="453" y="358"/>
                  </a:lnTo>
                  <a:lnTo>
                    <a:pt x="395" y="234"/>
                  </a:lnTo>
                  <a:lnTo>
                    <a:pt x="366" y="177"/>
                  </a:lnTo>
                  <a:lnTo>
                    <a:pt x="351" y="150"/>
                  </a:lnTo>
                  <a:lnTo>
                    <a:pt x="337" y="125"/>
                  </a:lnTo>
                  <a:lnTo>
                    <a:pt x="322" y="102"/>
                  </a:lnTo>
                  <a:lnTo>
                    <a:pt x="306" y="82"/>
                  </a:lnTo>
                  <a:lnTo>
                    <a:pt x="291" y="64"/>
                  </a:lnTo>
                  <a:lnTo>
                    <a:pt x="275" y="48"/>
                  </a:lnTo>
                  <a:lnTo>
                    <a:pt x="266" y="41"/>
                  </a:lnTo>
                  <a:lnTo>
                    <a:pt x="257" y="36"/>
                  </a:lnTo>
                  <a:lnTo>
                    <a:pt x="248" y="30"/>
                  </a:lnTo>
                  <a:lnTo>
                    <a:pt x="239" y="26"/>
                  </a:lnTo>
                  <a:lnTo>
                    <a:pt x="230" y="22"/>
                  </a:lnTo>
                  <a:lnTo>
                    <a:pt x="221" y="20"/>
                  </a:lnTo>
                  <a:lnTo>
                    <a:pt x="211" y="19"/>
                  </a:lnTo>
                  <a:lnTo>
                    <a:pt x="201" y="18"/>
                  </a:lnTo>
                  <a:lnTo>
                    <a:pt x="190" y="19"/>
                  </a:lnTo>
                  <a:lnTo>
                    <a:pt x="178" y="20"/>
                  </a:lnTo>
                  <a:lnTo>
                    <a:pt x="167" y="23"/>
                  </a:lnTo>
                  <a:lnTo>
                    <a:pt x="157" y="28"/>
                  </a:lnTo>
                  <a:lnTo>
                    <a:pt x="147" y="32"/>
                  </a:lnTo>
                  <a:lnTo>
                    <a:pt x="137" y="39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8" y="64"/>
                  </a:lnTo>
                  <a:lnTo>
                    <a:pt x="99" y="74"/>
                  </a:lnTo>
                  <a:lnTo>
                    <a:pt x="79" y="96"/>
                  </a:lnTo>
                  <a:lnTo>
                    <a:pt x="63" y="122"/>
                  </a:lnTo>
                  <a:lnTo>
                    <a:pt x="45" y="151"/>
                  </a:lnTo>
                  <a:lnTo>
                    <a:pt x="34" y="134"/>
                  </a:lnTo>
                  <a:lnTo>
                    <a:pt x="23" y="120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3" y="53"/>
                  </a:lnTo>
                  <a:lnTo>
                    <a:pt x="66" y="37"/>
                  </a:lnTo>
                  <a:lnTo>
                    <a:pt x="78" y="30"/>
                  </a:lnTo>
                  <a:lnTo>
                    <a:pt x="91" y="23"/>
                  </a:lnTo>
                  <a:lnTo>
                    <a:pt x="103" y="18"/>
                  </a:lnTo>
                  <a:lnTo>
                    <a:pt x="115" y="13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7" y="3"/>
                  </a:lnTo>
                  <a:lnTo>
                    <a:pt x="172" y="1"/>
                  </a:lnTo>
                  <a:lnTo>
                    <a:pt x="186" y="0"/>
                  </a:lnTo>
                  <a:lnTo>
                    <a:pt x="201" y="0"/>
                  </a:lnTo>
                  <a:lnTo>
                    <a:pt x="218" y="1"/>
                  </a:lnTo>
                  <a:lnTo>
                    <a:pt x="233" y="2"/>
                  </a:lnTo>
                  <a:lnTo>
                    <a:pt x="248" y="4"/>
                  </a:lnTo>
                  <a:lnTo>
                    <a:pt x="263" y="8"/>
                  </a:lnTo>
                  <a:lnTo>
                    <a:pt x="277" y="12"/>
                  </a:lnTo>
                  <a:lnTo>
                    <a:pt x="292" y="18"/>
                  </a:lnTo>
                  <a:lnTo>
                    <a:pt x="305" y="23"/>
                  </a:lnTo>
                  <a:lnTo>
                    <a:pt x="318" y="30"/>
                  </a:lnTo>
                  <a:lnTo>
                    <a:pt x="331" y="38"/>
                  </a:lnTo>
                  <a:lnTo>
                    <a:pt x="344" y="46"/>
                  </a:lnTo>
                  <a:lnTo>
                    <a:pt x="356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2" y="107"/>
                  </a:lnTo>
                  <a:lnTo>
                    <a:pt x="432" y="132"/>
                  </a:lnTo>
                  <a:lnTo>
                    <a:pt x="451" y="159"/>
                  </a:lnTo>
                  <a:lnTo>
                    <a:pt x="469" y="187"/>
                  </a:lnTo>
                  <a:lnTo>
                    <a:pt x="487" y="216"/>
                  </a:lnTo>
                  <a:lnTo>
                    <a:pt x="504" y="246"/>
                  </a:lnTo>
                  <a:lnTo>
                    <a:pt x="520" y="278"/>
                  </a:lnTo>
                  <a:lnTo>
                    <a:pt x="550" y="342"/>
                  </a:lnTo>
                  <a:lnTo>
                    <a:pt x="608" y="466"/>
                  </a:lnTo>
                  <a:lnTo>
                    <a:pt x="622" y="495"/>
                  </a:lnTo>
                  <a:lnTo>
                    <a:pt x="636" y="523"/>
                  </a:lnTo>
                  <a:lnTo>
                    <a:pt x="650" y="550"/>
                  </a:lnTo>
                  <a:lnTo>
                    <a:pt x="665" y="575"/>
                  </a:lnTo>
                  <a:lnTo>
                    <a:pt x="680" y="597"/>
                  </a:lnTo>
                  <a:lnTo>
                    <a:pt x="695" y="618"/>
                  </a:lnTo>
                  <a:lnTo>
                    <a:pt x="711" y="636"/>
                  </a:lnTo>
                  <a:lnTo>
                    <a:pt x="728" y="652"/>
                  </a:lnTo>
                  <a:lnTo>
                    <a:pt x="737" y="659"/>
                  </a:lnTo>
                  <a:lnTo>
                    <a:pt x="745" y="664"/>
                  </a:lnTo>
                  <a:lnTo>
                    <a:pt x="754" y="669"/>
                  </a:lnTo>
                  <a:lnTo>
                    <a:pt x="763" y="673"/>
                  </a:lnTo>
                  <a:lnTo>
                    <a:pt x="773" y="677"/>
                  </a:lnTo>
                  <a:lnTo>
                    <a:pt x="782" y="679"/>
                  </a:lnTo>
                  <a:lnTo>
                    <a:pt x="792" y="681"/>
                  </a:lnTo>
                  <a:lnTo>
                    <a:pt x="802" y="6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4" name="Freeform 84">
              <a:extLst>
                <a:ext uri="{FF2B5EF4-FFF2-40B4-BE49-F238E27FC236}">
                  <a16:creationId xmlns:a16="http://schemas.microsoft.com/office/drawing/2014/main" id="{01F4358B-22DD-4B0E-B32E-4EA70AEFE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807" y="2709078"/>
              <a:ext cx="272076" cy="143138"/>
            </a:xfrm>
            <a:custGeom>
              <a:avLst/>
              <a:gdLst>
                <a:gd name="T0" fmla="*/ 45 w 201"/>
                <a:gd name="T1" fmla="*/ 150 h 150"/>
                <a:gd name="T2" fmla="*/ 45 w 201"/>
                <a:gd name="T3" fmla="*/ 150 h 150"/>
                <a:gd name="T4" fmla="*/ 62 w 201"/>
                <a:gd name="T5" fmla="*/ 122 h 150"/>
                <a:gd name="T6" fmla="*/ 80 w 201"/>
                <a:gd name="T7" fmla="*/ 97 h 150"/>
                <a:gd name="T8" fmla="*/ 98 w 201"/>
                <a:gd name="T9" fmla="*/ 74 h 150"/>
                <a:gd name="T10" fmla="*/ 108 w 201"/>
                <a:gd name="T11" fmla="*/ 64 h 150"/>
                <a:gd name="T12" fmla="*/ 117 w 201"/>
                <a:gd name="T13" fmla="*/ 55 h 150"/>
                <a:gd name="T14" fmla="*/ 127 w 201"/>
                <a:gd name="T15" fmla="*/ 46 h 150"/>
                <a:gd name="T16" fmla="*/ 137 w 201"/>
                <a:gd name="T17" fmla="*/ 40 h 150"/>
                <a:gd name="T18" fmla="*/ 147 w 201"/>
                <a:gd name="T19" fmla="*/ 33 h 150"/>
                <a:gd name="T20" fmla="*/ 157 w 201"/>
                <a:gd name="T21" fmla="*/ 27 h 150"/>
                <a:gd name="T22" fmla="*/ 167 w 201"/>
                <a:gd name="T23" fmla="*/ 24 h 150"/>
                <a:gd name="T24" fmla="*/ 179 w 201"/>
                <a:gd name="T25" fmla="*/ 21 h 150"/>
                <a:gd name="T26" fmla="*/ 190 w 201"/>
                <a:gd name="T27" fmla="*/ 18 h 150"/>
                <a:gd name="T28" fmla="*/ 201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6 w 201"/>
                <a:gd name="T35" fmla="*/ 0 h 150"/>
                <a:gd name="T36" fmla="*/ 171 w 201"/>
                <a:gd name="T37" fmla="*/ 1 h 150"/>
                <a:gd name="T38" fmla="*/ 157 w 201"/>
                <a:gd name="T39" fmla="*/ 4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4 h 150"/>
                <a:gd name="T46" fmla="*/ 103 w 201"/>
                <a:gd name="T47" fmla="*/ 18 h 150"/>
                <a:gd name="T48" fmla="*/ 91 w 201"/>
                <a:gd name="T49" fmla="*/ 24 h 150"/>
                <a:gd name="T50" fmla="*/ 78 w 201"/>
                <a:gd name="T51" fmla="*/ 31 h 150"/>
                <a:gd name="T52" fmla="*/ 66 w 201"/>
                <a:gd name="T53" fmla="*/ 37 h 150"/>
                <a:gd name="T54" fmla="*/ 43 w 201"/>
                <a:gd name="T55" fmla="*/ 53 h 150"/>
                <a:gd name="T56" fmla="*/ 21 w 201"/>
                <a:gd name="T57" fmla="*/ 71 h 150"/>
                <a:gd name="T58" fmla="*/ 0 w 201"/>
                <a:gd name="T59" fmla="*/ 91 h 150"/>
                <a:gd name="T60" fmla="*/ 0 w 201"/>
                <a:gd name="T61" fmla="*/ 91 h 150"/>
                <a:gd name="T62" fmla="*/ 23 w 201"/>
                <a:gd name="T63" fmla="*/ 119 h 150"/>
                <a:gd name="T64" fmla="*/ 34 w 201"/>
                <a:gd name="T65" fmla="*/ 135 h 150"/>
                <a:gd name="T66" fmla="*/ 45 w 201"/>
                <a:gd name="T67" fmla="*/ 150 h 150"/>
                <a:gd name="T68" fmla="*/ 45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5" y="150"/>
                  </a:moveTo>
                  <a:lnTo>
                    <a:pt x="45" y="150"/>
                  </a:lnTo>
                  <a:lnTo>
                    <a:pt x="62" y="122"/>
                  </a:lnTo>
                  <a:lnTo>
                    <a:pt x="80" y="97"/>
                  </a:lnTo>
                  <a:lnTo>
                    <a:pt x="98" y="74"/>
                  </a:lnTo>
                  <a:lnTo>
                    <a:pt x="108" y="64"/>
                  </a:lnTo>
                  <a:lnTo>
                    <a:pt x="117" y="55"/>
                  </a:lnTo>
                  <a:lnTo>
                    <a:pt x="127" y="46"/>
                  </a:lnTo>
                  <a:lnTo>
                    <a:pt x="137" y="40"/>
                  </a:lnTo>
                  <a:lnTo>
                    <a:pt x="147" y="33"/>
                  </a:lnTo>
                  <a:lnTo>
                    <a:pt x="157" y="27"/>
                  </a:lnTo>
                  <a:lnTo>
                    <a:pt x="167" y="24"/>
                  </a:lnTo>
                  <a:lnTo>
                    <a:pt x="179" y="21"/>
                  </a:lnTo>
                  <a:lnTo>
                    <a:pt x="190" y="18"/>
                  </a:lnTo>
                  <a:lnTo>
                    <a:pt x="201" y="18"/>
                  </a:lnTo>
                  <a:lnTo>
                    <a:pt x="201" y="0"/>
                  </a:lnTo>
                  <a:lnTo>
                    <a:pt x="186" y="0"/>
                  </a:lnTo>
                  <a:lnTo>
                    <a:pt x="171" y="1"/>
                  </a:lnTo>
                  <a:lnTo>
                    <a:pt x="157" y="4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4"/>
                  </a:lnTo>
                  <a:lnTo>
                    <a:pt x="103" y="18"/>
                  </a:lnTo>
                  <a:lnTo>
                    <a:pt x="91" y="24"/>
                  </a:lnTo>
                  <a:lnTo>
                    <a:pt x="78" y="31"/>
                  </a:lnTo>
                  <a:lnTo>
                    <a:pt x="66" y="37"/>
                  </a:lnTo>
                  <a:lnTo>
                    <a:pt x="43" y="53"/>
                  </a:lnTo>
                  <a:lnTo>
                    <a:pt x="21" y="71"/>
                  </a:lnTo>
                  <a:lnTo>
                    <a:pt x="0" y="91"/>
                  </a:lnTo>
                  <a:lnTo>
                    <a:pt x="23" y="119"/>
                  </a:lnTo>
                  <a:lnTo>
                    <a:pt x="34" y="135"/>
                  </a:lnTo>
                  <a:lnTo>
                    <a:pt x="45" y="1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5" name="Freeform 85">
              <a:extLst>
                <a:ext uri="{FF2B5EF4-FFF2-40B4-BE49-F238E27FC236}">
                  <a16:creationId xmlns:a16="http://schemas.microsoft.com/office/drawing/2014/main" id="{071BABEB-FA1C-4813-91B5-6ABF47469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88894" y="2886570"/>
              <a:ext cx="515725" cy="465677"/>
            </a:xfrm>
            <a:custGeom>
              <a:avLst/>
              <a:gdLst>
                <a:gd name="T0" fmla="*/ 381 w 381"/>
                <a:gd name="T1" fmla="*/ 105 h 488"/>
                <a:gd name="T2" fmla="*/ 381 w 381"/>
                <a:gd name="T3" fmla="*/ 105 h 488"/>
                <a:gd name="T4" fmla="*/ 356 w 381"/>
                <a:gd name="T5" fmla="*/ 51 h 488"/>
                <a:gd name="T6" fmla="*/ 333 w 381"/>
                <a:gd name="T7" fmla="*/ 0 h 488"/>
                <a:gd name="T8" fmla="*/ 333 w 381"/>
                <a:gd name="T9" fmla="*/ 0 h 488"/>
                <a:gd name="T10" fmla="*/ 310 w 381"/>
                <a:gd name="T11" fmla="*/ 38 h 488"/>
                <a:gd name="T12" fmla="*/ 289 w 381"/>
                <a:gd name="T13" fmla="*/ 78 h 488"/>
                <a:gd name="T14" fmla="*/ 269 w 381"/>
                <a:gd name="T15" fmla="*/ 117 h 488"/>
                <a:gd name="T16" fmla="*/ 248 w 381"/>
                <a:gd name="T17" fmla="*/ 157 h 488"/>
                <a:gd name="T18" fmla="*/ 210 w 381"/>
                <a:gd name="T19" fmla="*/ 236 h 488"/>
                <a:gd name="T20" fmla="*/ 191 w 381"/>
                <a:gd name="T21" fmla="*/ 274 h 488"/>
                <a:gd name="T22" fmla="*/ 173 w 381"/>
                <a:gd name="T23" fmla="*/ 310 h 488"/>
                <a:gd name="T24" fmla="*/ 154 w 381"/>
                <a:gd name="T25" fmla="*/ 343 h 488"/>
                <a:gd name="T26" fmla="*/ 135 w 381"/>
                <a:gd name="T27" fmla="*/ 373 h 488"/>
                <a:gd name="T28" fmla="*/ 125 w 381"/>
                <a:gd name="T29" fmla="*/ 388 h 488"/>
                <a:gd name="T30" fmla="*/ 115 w 381"/>
                <a:gd name="T31" fmla="*/ 401 h 488"/>
                <a:gd name="T32" fmla="*/ 104 w 381"/>
                <a:gd name="T33" fmla="*/ 414 h 488"/>
                <a:gd name="T34" fmla="*/ 94 w 381"/>
                <a:gd name="T35" fmla="*/ 425 h 488"/>
                <a:gd name="T36" fmla="*/ 83 w 381"/>
                <a:gd name="T37" fmla="*/ 435 h 488"/>
                <a:gd name="T38" fmla="*/ 73 w 381"/>
                <a:gd name="T39" fmla="*/ 444 h 488"/>
                <a:gd name="T40" fmla="*/ 62 w 381"/>
                <a:gd name="T41" fmla="*/ 452 h 488"/>
                <a:gd name="T42" fmla="*/ 49 w 381"/>
                <a:gd name="T43" fmla="*/ 457 h 488"/>
                <a:gd name="T44" fmla="*/ 38 w 381"/>
                <a:gd name="T45" fmla="*/ 463 h 488"/>
                <a:gd name="T46" fmla="*/ 26 w 381"/>
                <a:gd name="T47" fmla="*/ 466 h 488"/>
                <a:gd name="T48" fmla="*/ 13 w 381"/>
                <a:gd name="T49" fmla="*/ 469 h 488"/>
                <a:gd name="T50" fmla="*/ 0 w 381"/>
                <a:gd name="T51" fmla="*/ 470 h 488"/>
                <a:gd name="T52" fmla="*/ 0 w 381"/>
                <a:gd name="T53" fmla="*/ 488 h 488"/>
                <a:gd name="T54" fmla="*/ 0 w 381"/>
                <a:gd name="T55" fmla="*/ 488 h 488"/>
                <a:gd name="T56" fmla="*/ 18 w 381"/>
                <a:gd name="T57" fmla="*/ 488 h 488"/>
                <a:gd name="T58" fmla="*/ 35 w 381"/>
                <a:gd name="T59" fmla="*/ 485 h 488"/>
                <a:gd name="T60" fmla="*/ 52 w 381"/>
                <a:gd name="T61" fmla="*/ 483 h 488"/>
                <a:gd name="T62" fmla="*/ 67 w 381"/>
                <a:gd name="T63" fmla="*/ 479 h 488"/>
                <a:gd name="T64" fmla="*/ 83 w 381"/>
                <a:gd name="T65" fmla="*/ 474 h 488"/>
                <a:gd name="T66" fmla="*/ 99 w 381"/>
                <a:gd name="T67" fmla="*/ 469 h 488"/>
                <a:gd name="T68" fmla="*/ 113 w 381"/>
                <a:gd name="T69" fmla="*/ 462 h 488"/>
                <a:gd name="T70" fmla="*/ 128 w 381"/>
                <a:gd name="T71" fmla="*/ 454 h 488"/>
                <a:gd name="T72" fmla="*/ 142 w 381"/>
                <a:gd name="T73" fmla="*/ 446 h 488"/>
                <a:gd name="T74" fmla="*/ 155 w 381"/>
                <a:gd name="T75" fmla="*/ 436 h 488"/>
                <a:gd name="T76" fmla="*/ 169 w 381"/>
                <a:gd name="T77" fmla="*/ 426 h 488"/>
                <a:gd name="T78" fmla="*/ 181 w 381"/>
                <a:gd name="T79" fmla="*/ 416 h 488"/>
                <a:gd name="T80" fmla="*/ 193 w 381"/>
                <a:gd name="T81" fmla="*/ 404 h 488"/>
                <a:gd name="T82" fmla="*/ 206 w 381"/>
                <a:gd name="T83" fmla="*/ 391 h 488"/>
                <a:gd name="T84" fmla="*/ 229 w 381"/>
                <a:gd name="T85" fmla="*/ 366 h 488"/>
                <a:gd name="T86" fmla="*/ 251 w 381"/>
                <a:gd name="T87" fmla="*/ 336 h 488"/>
                <a:gd name="T88" fmla="*/ 272 w 381"/>
                <a:gd name="T89" fmla="*/ 306 h 488"/>
                <a:gd name="T90" fmla="*/ 292 w 381"/>
                <a:gd name="T91" fmla="*/ 275 h 488"/>
                <a:gd name="T92" fmla="*/ 311 w 381"/>
                <a:gd name="T93" fmla="*/ 241 h 488"/>
                <a:gd name="T94" fmla="*/ 329 w 381"/>
                <a:gd name="T95" fmla="*/ 208 h 488"/>
                <a:gd name="T96" fmla="*/ 347 w 381"/>
                <a:gd name="T97" fmla="*/ 173 h 488"/>
                <a:gd name="T98" fmla="*/ 381 w 381"/>
                <a:gd name="T99" fmla="*/ 105 h 488"/>
                <a:gd name="T100" fmla="*/ 381 w 381"/>
                <a:gd name="T101" fmla="*/ 105 h 48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1" h="488">
                  <a:moveTo>
                    <a:pt x="381" y="105"/>
                  </a:moveTo>
                  <a:lnTo>
                    <a:pt x="381" y="105"/>
                  </a:lnTo>
                  <a:lnTo>
                    <a:pt x="356" y="51"/>
                  </a:lnTo>
                  <a:lnTo>
                    <a:pt x="333" y="0"/>
                  </a:lnTo>
                  <a:lnTo>
                    <a:pt x="310" y="38"/>
                  </a:lnTo>
                  <a:lnTo>
                    <a:pt x="289" y="78"/>
                  </a:lnTo>
                  <a:lnTo>
                    <a:pt x="269" y="117"/>
                  </a:lnTo>
                  <a:lnTo>
                    <a:pt x="248" y="157"/>
                  </a:lnTo>
                  <a:lnTo>
                    <a:pt x="210" y="236"/>
                  </a:lnTo>
                  <a:lnTo>
                    <a:pt x="191" y="274"/>
                  </a:lnTo>
                  <a:lnTo>
                    <a:pt x="173" y="310"/>
                  </a:lnTo>
                  <a:lnTo>
                    <a:pt x="154" y="343"/>
                  </a:lnTo>
                  <a:lnTo>
                    <a:pt x="135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4" y="414"/>
                  </a:lnTo>
                  <a:lnTo>
                    <a:pt x="94" y="425"/>
                  </a:lnTo>
                  <a:lnTo>
                    <a:pt x="83" y="435"/>
                  </a:lnTo>
                  <a:lnTo>
                    <a:pt x="73" y="444"/>
                  </a:lnTo>
                  <a:lnTo>
                    <a:pt x="62" y="452"/>
                  </a:lnTo>
                  <a:lnTo>
                    <a:pt x="49" y="457"/>
                  </a:lnTo>
                  <a:lnTo>
                    <a:pt x="38" y="463"/>
                  </a:lnTo>
                  <a:lnTo>
                    <a:pt x="26" y="466"/>
                  </a:lnTo>
                  <a:lnTo>
                    <a:pt x="13" y="469"/>
                  </a:lnTo>
                  <a:lnTo>
                    <a:pt x="0" y="470"/>
                  </a:lnTo>
                  <a:lnTo>
                    <a:pt x="0" y="488"/>
                  </a:lnTo>
                  <a:lnTo>
                    <a:pt x="18" y="488"/>
                  </a:lnTo>
                  <a:lnTo>
                    <a:pt x="35" y="485"/>
                  </a:lnTo>
                  <a:lnTo>
                    <a:pt x="52" y="483"/>
                  </a:lnTo>
                  <a:lnTo>
                    <a:pt x="67" y="479"/>
                  </a:lnTo>
                  <a:lnTo>
                    <a:pt x="83" y="474"/>
                  </a:lnTo>
                  <a:lnTo>
                    <a:pt x="99" y="469"/>
                  </a:lnTo>
                  <a:lnTo>
                    <a:pt x="113" y="462"/>
                  </a:lnTo>
                  <a:lnTo>
                    <a:pt x="128" y="454"/>
                  </a:lnTo>
                  <a:lnTo>
                    <a:pt x="142" y="446"/>
                  </a:lnTo>
                  <a:lnTo>
                    <a:pt x="155" y="436"/>
                  </a:lnTo>
                  <a:lnTo>
                    <a:pt x="169" y="426"/>
                  </a:lnTo>
                  <a:lnTo>
                    <a:pt x="181" y="416"/>
                  </a:lnTo>
                  <a:lnTo>
                    <a:pt x="193" y="404"/>
                  </a:lnTo>
                  <a:lnTo>
                    <a:pt x="206" y="391"/>
                  </a:lnTo>
                  <a:lnTo>
                    <a:pt x="229" y="366"/>
                  </a:lnTo>
                  <a:lnTo>
                    <a:pt x="251" y="336"/>
                  </a:lnTo>
                  <a:lnTo>
                    <a:pt x="272" y="306"/>
                  </a:lnTo>
                  <a:lnTo>
                    <a:pt x="292" y="275"/>
                  </a:lnTo>
                  <a:lnTo>
                    <a:pt x="311" y="241"/>
                  </a:lnTo>
                  <a:lnTo>
                    <a:pt x="329" y="208"/>
                  </a:lnTo>
                  <a:lnTo>
                    <a:pt x="347" y="173"/>
                  </a:lnTo>
                  <a:lnTo>
                    <a:pt x="381" y="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6" name="Freeform 86">
              <a:extLst>
                <a:ext uri="{FF2B5EF4-FFF2-40B4-BE49-F238E27FC236}">
                  <a16:creationId xmlns:a16="http://schemas.microsoft.com/office/drawing/2014/main" id="{BACE0A47-7B0E-4AAE-9C8C-631144D37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0921" y="2704307"/>
              <a:ext cx="1095068" cy="600226"/>
            </a:xfrm>
            <a:custGeom>
              <a:avLst/>
              <a:gdLst>
                <a:gd name="T0" fmla="*/ 0 w 809"/>
                <a:gd name="T1" fmla="*/ 384 h 629"/>
                <a:gd name="T2" fmla="*/ 49 w 809"/>
                <a:gd name="T3" fmla="*/ 487 h 629"/>
                <a:gd name="T4" fmla="*/ 71 w 809"/>
                <a:gd name="T5" fmla="*/ 449 h 629"/>
                <a:gd name="T6" fmla="*/ 113 w 809"/>
                <a:gd name="T7" fmla="*/ 371 h 629"/>
                <a:gd name="T8" fmla="*/ 170 w 809"/>
                <a:gd name="T9" fmla="*/ 252 h 629"/>
                <a:gd name="T10" fmla="*/ 208 w 809"/>
                <a:gd name="T11" fmla="*/ 179 h 629"/>
                <a:gd name="T12" fmla="*/ 246 w 809"/>
                <a:gd name="T13" fmla="*/ 114 h 629"/>
                <a:gd name="T14" fmla="*/ 265 w 809"/>
                <a:gd name="T15" fmla="*/ 87 h 629"/>
                <a:gd name="T16" fmla="*/ 287 w 809"/>
                <a:gd name="T17" fmla="*/ 64 h 629"/>
                <a:gd name="T18" fmla="*/ 308 w 809"/>
                <a:gd name="T19" fmla="*/ 45 h 629"/>
                <a:gd name="T20" fmla="*/ 331 w 809"/>
                <a:gd name="T21" fmla="*/ 30 h 629"/>
                <a:gd name="T22" fmla="*/ 354 w 809"/>
                <a:gd name="T23" fmla="*/ 21 h 629"/>
                <a:gd name="T24" fmla="*/ 380 w 809"/>
                <a:gd name="T25" fmla="*/ 19 h 629"/>
                <a:gd name="T26" fmla="*/ 380 w 809"/>
                <a:gd name="T27" fmla="*/ 19 h 629"/>
                <a:gd name="T28" fmla="*/ 412 w 809"/>
                <a:gd name="T29" fmla="*/ 23 h 629"/>
                <a:gd name="T30" fmla="*/ 441 w 809"/>
                <a:gd name="T31" fmla="*/ 38 h 629"/>
                <a:gd name="T32" fmla="*/ 468 w 809"/>
                <a:gd name="T33" fmla="*/ 60 h 629"/>
                <a:gd name="T34" fmla="*/ 494 w 809"/>
                <a:gd name="T35" fmla="*/ 91 h 629"/>
                <a:gd name="T36" fmla="*/ 517 w 809"/>
                <a:gd name="T37" fmla="*/ 126 h 629"/>
                <a:gd name="T38" fmla="*/ 541 w 809"/>
                <a:gd name="T39" fmla="*/ 167 h 629"/>
                <a:gd name="T40" fmla="*/ 587 w 809"/>
                <a:gd name="T41" fmla="*/ 260 h 629"/>
                <a:gd name="T42" fmla="*/ 658 w 809"/>
                <a:gd name="T43" fmla="*/ 412 h 629"/>
                <a:gd name="T44" fmla="*/ 697 w 809"/>
                <a:gd name="T45" fmla="*/ 486 h 629"/>
                <a:gd name="T46" fmla="*/ 725 w 809"/>
                <a:gd name="T47" fmla="*/ 532 h 629"/>
                <a:gd name="T48" fmla="*/ 757 w 809"/>
                <a:gd name="T49" fmla="*/ 574 h 629"/>
                <a:gd name="T50" fmla="*/ 790 w 809"/>
                <a:gd name="T51" fmla="*/ 613 h 629"/>
                <a:gd name="T52" fmla="*/ 809 w 809"/>
                <a:gd name="T53" fmla="*/ 510 h 629"/>
                <a:gd name="T54" fmla="*/ 790 w 809"/>
                <a:gd name="T55" fmla="*/ 471 h 629"/>
                <a:gd name="T56" fmla="*/ 732 w 809"/>
                <a:gd name="T57" fmla="*/ 346 h 629"/>
                <a:gd name="T58" fmla="*/ 690 w 809"/>
                <a:gd name="T59" fmla="*/ 261 h 629"/>
                <a:gd name="T60" fmla="*/ 644 w 809"/>
                <a:gd name="T61" fmla="*/ 181 h 629"/>
                <a:gd name="T62" fmla="*/ 618 w 809"/>
                <a:gd name="T63" fmla="*/ 144 h 629"/>
                <a:gd name="T64" fmla="*/ 591 w 809"/>
                <a:gd name="T65" fmla="*/ 110 h 629"/>
                <a:gd name="T66" fmla="*/ 562 w 809"/>
                <a:gd name="T67" fmla="*/ 79 h 629"/>
                <a:gd name="T68" fmla="*/ 532 w 809"/>
                <a:gd name="T69" fmla="*/ 52 h 629"/>
                <a:gd name="T70" fmla="*/ 498 w 809"/>
                <a:gd name="T71" fmla="*/ 31 h 629"/>
                <a:gd name="T72" fmla="*/ 461 w 809"/>
                <a:gd name="T73" fmla="*/ 14 h 629"/>
                <a:gd name="T74" fmla="*/ 423 w 809"/>
                <a:gd name="T75" fmla="*/ 4 h 629"/>
                <a:gd name="T76" fmla="*/ 380 w 809"/>
                <a:gd name="T77" fmla="*/ 0 h 629"/>
                <a:gd name="T78" fmla="*/ 380 w 809"/>
                <a:gd name="T79" fmla="*/ 1 h 629"/>
                <a:gd name="T80" fmla="*/ 345 w 809"/>
                <a:gd name="T81" fmla="*/ 2 h 629"/>
                <a:gd name="T82" fmla="*/ 313 w 809"/>
                <a:gd name="T83" fmla="*/ 9 h 629"/>
                <a:gd name="T84" fmla="*/ 282 w 809"/>
                <a:gd name="T85" fmla="*/ 20 h 629"/>
                <a:gd name="T86" fmla="*/ 253 w 809"/>
                <a:gd name="T87" fmla="*/ 33 h 629"/>
                <a:gd name="T88" fmla="*/ 225 w 809"/>
                <a:gd name="T89" fmla="*/ 51 h 629"/>
                <a:gd name="T90" fmla="*/ 199 w 809"/>
                <a:gd name="T91" fmla="*/ 73 h 629"/>
                <a:gd name="T92" fmla="*/ 176 w 809"/>
                <a:gd name="T93" fmla="*/ 96 h 629"/>
                <a:gd name="T94" fmla="*/ 129 w 809"/>
                <a:gd name="T95" fmla="*/ 151 h 629"/>
                <a:gd name="T96" fmla="*/ 89 w 809"/>
                <a:gd name="T97" fmla="*/ 214 h 629"/>
                <a:gd name="T98" fmla="*/ 52 w 809"/>
                <a:gd name="T99" fmla="*/ 280 h 629"/>
                <a:gd name="T100" fmla="*/ 0 w 809"/>
                <a:gd name="T101" fmla="*/ 384 h 6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09" h="629">
                  <a:moveTo>
                    <a:pt x="0" y="384"/>
                  </a:moveTo>
                  <a:lnTo>
                    <a:pt x="0" y="384"/>
                  </a:lnTo>
                  <a:lnTo>
                    <a:pt x="24" y="437"/>
                  </a:lnTo>
                  <a:lnTo>
                    <a:pt x="49" y="487"/>
                  </a:lnTo>
                  <a:lnTo>
                    <a:pt x="71" y="449"/>
                  </a:lnTo>
                  <a:lnTo>
                    <a:pt x="92" y="411"/>
                  </a:lnTo>
                  <a:lnTo>
                    <a:pt x="113" y="371"/>
                  </a:lnTo>
                  <a:lnTo>
                    <a:pt x="133" y="330"/>
                  </a:lnTo>
                  <a:lnTo>
                    <a:pt x="170" y="252"/>
                  </a:lnTo>
                  <a:lnTo>
                    <a:pt x="189" y="215"/>
                  </a:lnTo>
                  <a:lnTo>
                    <a:pt x="208" y="179"/>
                  </a:lnTo>
                  <a:lnTo>
                    <a:pt x="227" y="145"/>
                  </a:lnTo>
                  <a:lnTo>
                    <a:pt x="246" y="114"/>
                  </a:lnTo>
                  <a:lnTo>
                    <a:pt x="256" y="101"/>
                  </a:lnTo>
                  <a:lnTo>
                    <a:pt x="265" y="87"/>
                  </a:lnTo>
                  <a:lnTo>
                    <a:pt x="277" y="75"/>
                  </a:lnTo>
                  <a:lnTo>
                    <a:pt x="287" y="64"/>
                  </a:lnTo>
                  <a:lnTo>
                    <a:pt x="297" y="54"/>
                  </a:lnTo>
                  <a:lnTo>
                    <a:pt x="308" y="45"/>
                  </a:lnTo>
                  <a:lnTo>
                    <a:pt x="319" y="37"/>
                  </a:lnTo>
                  <a:lnTo>
                    <a:pt x="331" y="30"/>
                  </a:lnTo>
                  <a:lnTo>
                    <a:pt x="343" y="26"/>
                  </a:lnTo>
                  <a:lnTo>
                    <a:pt x="354" y="21"/>
                  </a:lnTo>
                  <a:lnTo>
                    <a:pt x="368" y="19"/>
                  </a:lnTo>
                  <a:lnTo>
                    <a:pt x="380" y="19"/>
                  </a:lnTo>
                  <a:lnTo>
                    <a:pt x="396" y="20"/>
                  </a:lnTo>
                  <a:lnTo>
                    <a:pt x="412" y="23"/>
                  </a:lnTo>
                  <a:lnTo>
                    <a:pt x="426" y="30"/>
                  </a:lnTo>
                  <a:lnTo>
                    <a:pt x="441" y="38"/>
                  </a:lnTo>
                  <a:lnTo>
                    <a:pt x="454" y="49"/>
                  </a:lnTo>
                  <a:lnTo>
                    <a:pt x="468" y="60"/>
                  </a:lnTo>
                  <a:lnTo>
                    <a:pt x="481" y="75"/>
                  </a:lnTo>
                  <a:lnTo>
                    <a:pt x="494" y="91"/>
                  </a:lnTo>
                  <a:lnTo>
                    <a:pt x="506" y="107"/>
                  </a:lnTo>
                  <a:lnTo>
                    <a:pt x="517" y="126"/>
                  </a:lnTo>
                  <a:lnTo>
                    <a:pt x="530" y="147"/>
                  </a:lnTo>
                  <a:lnTo>
                    <a:pt x="541" y="167"/>
                  </a:lnTo>
                  <a:lnTo>
                    <a:pt x="563" y="212"/>
                  </a:lnTo>
                  <a:lnTo>
                    <a:pt x="587" y="260"/>
                  </a:lnTo>
                  <a:lnTo>
                    <a:pt x="633" y="361"/>
                  </a:lnTo>
                  <a:lnTo>
                    <a:pt x="658" y="412"/>
                  </a:lnTo>
                  <a:lnTo>
                    <a:pt x="684" y="461"/>
                  </a:lnTo>
                  <a:lnTo>
                    <a:pt x="697" y="486"/>
                  </a:lnTo>
                  <a:lnTo>
                    <a:pt x="710" y="510"/>
                  </a:lnTo>
                  <a:lnTo>
                    <a:pt x="725" y="532"/>
                  </a:lnTo>
                  <a:lnTo>
                    <a:pt x="741" y="554"/>
                  </a:lnTo>
                  <a:lnTo>
                    <a:pt x="757" y="574"/>
                  </a:lnTo>
                  <a:lnTo>
                    <a:pt x="773" y="595"/>
                  </a:lnTo>
                  <a:lnTo>
                    <a:pt x="790" y="613"/>
                  </a:lnTo>
                  <a:lnTo>
                    <a:pt x="808" y="629"/>
                  </a:lnTo>
                  <a:lnTo>
                    <a:pt x="809" y="510"/>
                  </a:lnTo>
                  <a:lnTo>
                    <a:pt x="790" y="471"/>
                  </a:lnTo>
                  <a:lnTo>
                    <a:pt x="771" y="431"/>
                  </a:lnTo>
                  <a:lnTo>
                    <a:pt x="732" y="346"/>
                  </a:lnTo>
                  <a:lnTo>
                    <a:pt x="712" y="303"/>
                  </a:lnTo>
                  <a:lnTo>
                    <a:pt x="690" y="261"/>
                  </a:lnTo>
                  <a:lnTo>
                    <a:pt x="668" y="220"/>
                  </a:lnTo>
                  <a:lnTo>
                    <a:pt x="644" y="181"/>
                  </a:lnTo>
                  <a:lnTo>
                    <a:pt x="632" y="162"/>
                  </a:lnTo>
                  <a:lnTo>
                    <a:pt x="618" y="144"/>
                  </a:lnTo>
                  <a:lnTo>
                    <a:pt x="605" y="126"/>
                  </a:lnTo>
                  <a:lnTo>
                    <a:pt x="591" y="110"/>
                  </a:lnTo>
                  <a:lnTo>
                    <a:pt x="578" y="94"/>
                  </a:lnTo>
                  <a:lnTo>
                    <a:pt x="562" y="79"/>
                  </a:lnTo>
                  <a:lnTo>
                    <a:pt x="548" y="66"/>
                  </a:lnTo>
                  <a:lnTo>
                    <a:pt x="532" y="52"/>
                  </a:lnTo>
                  <a:lnTo>
                    <a:pt x="515" y="41"/>
                  </a:lnTo>
                  <a:lnTo>
                    <a:pt x="498" y="31"/>
                  </a:lnTo>
                  <a:lnTo>
                    <a:pt x="480" y="22"/>
                  </a:lnTo>
                  <a:lnTo>
                    <a:pt x="461" y="14"/>
                  </a:lnTo>
                  <a:lnTo>
                    <a:pt x="442" y="9"/>
                  </a:lnTo>
                  <a:lnTo>
                    <a:pt x="423" y="4"/>
                  </a:lnTo>
                  <a:lnTo>
                    <a:pt x="401" y="1"/>
                  </a:lnTo>
                  <a:lnTo>
                    <a:pt x="380" y="0"/>
                  </a:lnTo>
                  <a:lnTo>
                    <a:pt x="380" y="1"/>
                  </a:lnTo>
                  <a:lnTo>
                    <a:pt x="363" y="1"/>
                  </a:lnTo>
                  <a:lnTo>
                    <a:pt x="345" y="2"/>
                  </a:lnTo>
                  <a:lnTo>
                    <a:pt x="329" y="5"/>
                  </a:lnTo>
                  <a:lnTo>
                    <a:pt x="313" y="9"/>
                  </a:lnTo>
                  <a:lnTo>
                    <a:pt x="297" y="13"/>
                  </a:lnTo>
                  <a:lnTo>
                    <a:pt x="282" y="20"/>
                  </a:lnTo>
                  <a:lnTo>
                    <a:pt x="268" y="27"/>
                  </a:lnTo>
                  <a:lnTo>
                    <a:pt x="253" y="33"/>
                  </a:lnTo>
                  <a:lnTo>
                    <a:pt x="240" y="42"/>
                  </a:lnTo>
                  <a:lnTo>
                    <a:pt x="225" y="51"/>
                  </a:lnTo>
                  <a:lnTo>
                    <a:pt x="213" y="61"/>
                  </a:lnTo>
                  <a:lnTo>
                    <a:pt x="199" y="73"/>
                  </a:lnTo>
                  <a:lnTo>
                    <a:pt x="187" y="84"/>
                  </a:lnTo>
                  <a:lnTo>
                    <a:pt x="176" y="96"/>
                  </a:lnTo>
                  <a:lnTo>
                    <a:pt x="152" y="123"/>
                  </a:lnTo>
                  <a:lnTo>
                    <a:pt x="129" y="151"/>
                  </a:lnTo>
                  <a:lnTo>
                    <a:pt x="109" y="181"/>
                  </a:lnTo>
                  <a:lnTo>
                    <a:pt x="89" y="214"/>
                  </a:lnTo>
                  <a:lnTo>
                    <a:pt x="70" y="246"/>
                  </a:lnTo>
                  <a:lnTo>
                    <a:pt x="52" y="280"/>
                  </a:lnTo>
                  <a:lnTo>
                    <a:pt x="34" y="315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77" name="Freeform 87">
              <a:extLst>
                <a:ext uri="{FF2B5EF4-FFF2-40B4-BE49-F238E27FC236}">
                  <a16:creationId xmlns:a16="http://schemas.microsoft.com/office/drawing/2014/main" id="{F12CBCE0-89DB-4DC1-89A1-B7175CB70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52115" y="2691860"/>
              <a:ext cx="1093817" cy="668019"/>
            </a:xfrm>
            <a:custGeom>
              <a:avLst/>
              <a:gdLst>
                <a:gd name="T0" fmla="*/ 789 w 977"/>
                <a:gd name="T1" fmla="*/ 682 h 700"/>
                <a:gd name="T2" fmla="*/ 821 w 977"/>
                <a:gd name="T3" fmla="*/ 673 h 700"/>
                <a:gd name="T4" fmla="*/ 850 w 977"/>
                <a:gd name="T5" fmla="*/ 654 h 700"/>
                <a:gd name="T6" fmla="*/ 880 w 977"/>
                <a:gd name="T7" fmla="*/ 626 h 700"/>
                <a:gd name="T8" fmla="*/ 932 w 977"/>
                <a:gd name="T9" fmla="*/ 549 h 700"/>
                <a:gd name="T10" fmla="*/ 977 w 977"/>
                <a:gd name="T11" fmla="*/ 609 h 700"/>
                <a:gd name="T12" fmla="*/ 935 w 977"/>
                <a:gd name="T13" fmla="*/ 647 h 700"/>
                <a:gd name="T14" fmla="*/ 887 w 977"/>
                <a:gd name="T15" fmla="*/ 676 h 700"/>
                <a:gd name="T16" fmla="*/ 848 w 977"/>
                <a:gd name="T17" fmla="*/ 691 h 700"/>
                <a:gd name="T18" fmla="*/ 807 w 977"/>
                <a:gd name="T19" fmla="*/ 698 h 700"/>
                <a:gd name="T20" fmla="*/ 776 w 977"/>
                <a:gd name="T21" fmla="*/ 700 h 700"/>
                <a:gd name="T22" fmla="*/ 729 w 977"/>
                <a:gd name="T23" fmla="*/ 695 h 700"/>
                <a:gd name="T24" fmla="*/ 686 w 977"/>
                <a:gd name="T25" fmla="*/ 683 h 700"/>
                <a:gd name="T26" fmla="*/ 647 w 977"/>
                <a:gd name="T27" fmla="*/ 663 h 700"/>
                <a:gd name="T28" fmla="*/ 610 w 977"/>
                <a:gd name="T29" fmla="*/ 636 h 700"/>
                <a:gd name="T30" fmla="*/ 546 w 977"/>
                <a:gd name="T31" fmla="*/ 567 h 700"/>
                <a:gd name="T32" fmla="*/ 491 w 977"/>
                <a:gd name="T33" fmla="*/ 483 h 700"/>
                <a:gd name="T34" fmla="*/ 427 w 977"/>
                <a:gd name="T35" fmla="*/ 359 h 700"/>
                <a:gd name="T36" fmla="*/ 341 w 977"/>
                <a:gd name="T37" fmla="*/ 176 h 700"/>
                <a:gd name="T38" fmla="*/ 297 w 977"/>
                <a:gd name="T39" fmla="*/ 102 h 700"/>
                <a:gd name="T40" fmla="*/ 250 w 977"/>
                <a:gd name="T41" fmla="*/ 49 h 700"/>
                <a:gd name="T42" fmla="*/ 223 w 977"/>
                <a:gd name="T43" fmla="*/ 31 h 700"/>
                <a:gd name="T44" fmla="*/ 195 w 977"/>
                <a:gd name="T45" fmla="*/ 21 h 700"/>
                <a:gd name="T46" fmla="*/ 175 w 977"/>
                <a:gd name="T47" fmla="*/ 18 h 700"/>
                <a:gd name="T48" fmla="*/ 137 w 977"/>
                <a:gd name="T49" fmla="*/ 25 h 700"/>
                <a:gd name="T50" fmla="*/ 102 w 977"/>
                <a:gd name="T51" fmla="*/ 45 h 700"/>
                <a:gd name="T52" fmla="*/ 69 w 977"/>
                <a:gd name="T53" fmla="*/ 78 h 700"/>
                <a:gd name="T54" fmla="*/ 39 w 977"/>
                <a:gd name="T55" fmla="*/ 118 h 700"/>
                <a:gd name="T56" fmla="*/ 1 w 977"/>
                <a:gd name="T57" fmla="*/ 68 h 700"/>
                <a:gd name="T58" fmla="*/ 39 w 977"/>
                <a:gd name="T59" fmla="*/ 40 h 700"/>
                <a:gd name="T60" fmla="*/ 103 w 977"/>
                <a:gd name="T61" fmla="*/ 11 h 700"/>
                <a:gd name="T62" fmla="*/ 176 w 977"/>
                <a:gd name="T63" fmla="*/ 0 h 700"/>
                <a:gd name="T64" fmla="*/ 207 w 977"/>
                <a:gd name="T65" fmla="*/ 3 h 700"/>
                <a:gd name="T66" fmla="*/ 251 w 977"/>
                <a:gd name="T67" fmla="*/ 13 h 700"/>
                <a:gd name="T68" fmla="*/ 292 w 977"/>
                <a:gd name="T69" fmla="*/ 31 h 700"/>
                <a:gd name="T70" fmla="*/ 329 w 977"/>
                <a:gd name="T71" fmla="*/ 55 h 700"/>
                <a:gd name="T72" fmla="*/ 385 w 977"/>
                <a:gd name="T73" fmla="*/ 108 h 700"/>
                <a:gd name="T74" fmla="*/ 443 w 977"/>
                <a:gd name="T75" fmla="*/ 188 h 700"/>
                <a:gd name="T76" fmla="*/ 494 w 977"/>
                <a:gd name="T77" fmla="*/ 278 h 700"/>
                <a:gd name="T78" fmla="*/ 611 w 977"/>
                <a:gd name="T79" fmla="*/ 524 h 700"/>
                <a:gd name="T80" fmla="*/ 656 w 977"/>
                <a:gd name="T81" fmla="*/ 598 h 700"/>
                <a:gd name="T82" fmla="*/ 703 w 977"/>
                <a:gd name="T83" fmla="*/ 651 h 700"/>
                <a:gd name="T84" fmla="*/ 729 w 977"/>
                <a:gd name="T85" fmla="*/ 669 h 700"/>
                <a:gd name="T86" fmla="*/ 757 w 977"/>
                <a:gd name="T87" fmla="*/ 679 h 700"/>
                <a:gd name="T88" fmla="*/ 776 w 977"/>
                <a:gd name="T89" fmla="*/ 682 h 7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894 w 10000"/>
                <a:gd name="connsiteY65" fmla="*/ 271 h 10000"/>
                <a:gd name="connsiteX66" fmla="*/ 1791 w 10000"/>
                <a:gd name="connsiteY66" fmla="*/ 257 h 10000"/>
                <a:gd name="connsiteX67" fmla="*/ 1668 w 10000"/>
                <a:gd name="connsiteY67" fmla="*/ 271 h 10000"/>
                <a:gd name="connsiteX68" fmla="*/ 1525 w 10000"/>
                <a:gd name="connsiteY68" fmla="*/ 314 h 10000"/>
                <a:gd name="connsiteX69" fmla="*/ 1402 w 10000"/>
                <a:gd name="connsiteY69" fmla="*/ 357 h 10000"/>
                <a:gd name="connsiteX70" fmla="*/ 1279 w 10000"/>
                <a:gd name="connsiteY70" fmla="*/ 443 h 10000"/>
                <a:gd name="connsiteX71" fmla="*/ 1157 w 10000"/>
                <a:gd name="connsiteY71" fmla="*/ 529 h 10000"/>
                <a:gd name="connsiteX72" fmla="*/ 1044 w 10000"/>
                <a:gd name="connsiteY72" fmla="*/ 643 h 10000"/>
                <a:gd name="connsiteX73" fmla="*/ 931 w 10000"/>
                <a:gd name="connsiteY73" fmla="*/ 786 h 10000"/>
                <a:gd name="connsiteX74" fmla="*/ 809 w 10000"/>
                <a:gd name="connsiteY74" fmla="*/ 929 h 10000"/>
                <a:gd name="connsiteX75" fmla="*/ 706 w 10000"/>
                <a:gd name="connsiteY75" fmla="*/ 1114 h 10000"/>
                <a:gd name="connsiteX76" fmla="*/ 604 w 10000"/>
                <a:gd name="connsiteY76" fmla="*/ 1286 h 10000"/>
                <a:gd name="connsiteX77" fmla="*/ 491 w 10000"/>
                <a:gd name="connsiteY77" fmla="*/ 1486 h 10000"/>
                <a:gd name="connsiteX78" fmla="*/ 399 w 10000"/>
                <a:gd name="connsiteY78" fmla="*/ 1686 h 10000"/>
                <a:gd name="connsiteX79" fmla="*/ 194 w 10000"/>
                <a:gd name="connsiteY79" fmla="*/ 2157 h 10000"/>
                <a:gd name="connsiteX80" fmla="*/ 0 w 10000"/>
                <a:gd name="connsiteY80" fmla="*/ 2643 h 10000"/>
                <a:gd name="connsiteX81" fmla="*/ 10 w 10000"/>
                <a:gd name="connsiteY81" fmla="*/ 971 h 10000"/>
                <a:gd name="connsiteX82" fmla="*/ 205 w 10000"/>
                <a:gd name="connsiteY82" fmla="*/ 757 h 10000"/>
                <a:gd name="connsiteX83" fmla="*/ 399 w 10000"/>
                <a:gd name="connsiteY83" fmla="*/ 571 h 10000"/>
                <a:gd name="connsiteX84" fmla="*/ 604 w 10000"/>
                <a:gd name="connsiteY84" fmla="*/ 386 h 10000"/>
                <a:gd name="connsiteX85" fmla="*/ 819 w 10000"/>
                <a:gd name="connsiteY85" fmla="*/ 257 h 10000"/>
                <a:gd name="connsiteX86" fmla="*/ 1054 w 10000"/>
                <a:gd name="connsiteY86" fmla="*/ 157 h 10000"/>
                <a:gd name="connsiteX87" fmla="*/ 1300 w 10000"/>
                <a:gd name="connsiteY87" fmla="*/ 71 h 10000"/>
                <a:gd name="connsiteX88" fmla="*/ 1535 w 10000"/>
                <a:gd name="connsiteY88" fmla="*/ 29 h 10000"/>
                <a:gd name="connsiteX89" fmla="*/ 1801 w 10000"/>
                <a:gd name="connsiteY89" fmla="*/ 0 h 10000"/>
                <a:gd name="connsiteX90" fmla="*/ 1965 w 10000"/>
                <a:gd name="connsiteY90" fmla="*/ 0 h 10000"/>
                <a:gd name="connsiteX91" fmla="*/ 2119 w 10000"/>
                <a:gd name="connsiteY91" fmla="*/ 43 h 10000"/>
                <a:gd name="connsiteX92" fmla="*/ 2272 w 10000"/>
                <a:gd name="connsiteY92" fmla="*/ 71 h 10000"/>
                <a:gd name="connsiteX93" fmla="*/ 2426 w 10000"/>
                <a:gd name="connsiteY93" fmla="*/ 114 h 10000"/>
                <a:gd name="connsiteX94" fmla="*/ 2569 w 10000"/>
                <a:gd name="connsiteY94" fmla="*/ 186 h 10000"/>
                <a:gd name="connsiteX95" fmla="*/ 2712 w 10000"/>
                <a:gd name="connsiteY95" fmla="*/ 257 h 10000"/>
                <a:gd name="connsiteX96" fmla="*/ 2845 w 10000"/>
                <a:gd name="connsiteY96" fmla="*/ 343 h 10000"/>
                <a:gd name="connsiteX97" fmla="*/ 2989 w 10000"/>
                <a:gd name="connsiteY97" fmla="*/ 443 h 10000"/>
                <a:gd name="connsiteX98" fmla="*/ 3112 w 10000"/>
                <a:gd name="connsiteY98" fmla="*/ 529 h 10000"/>
                <a:gd name="connsiteX99" fmla="*/ 3234 w 10000"/>
                <a:gd name="connsiteY99" fmla="*/ 657 h 10000"/>
                <a:gd name="connsiteX100" fmla="*/ 3367 w 10000"/>
                <a:gd name="connsiteY100" fmla="*/ 786 h 10000"/>
                <a:gd name="connsiteX101" fmla="*/ 3490 w 10000"/>
                <a:gd name="connsiteY101" fmla="*/ 914 h 10000"/>
                <a:gd name="connsiteX102" fmla="*/ 3726 w 10000"/>
                <a:gd name="connsiteY102" fmla="*/ 1200 h 10000"/>
                <a:gd name="connsiteX103" fmla="*/ 3941 w 10000"/>
                <a:gd name="connsiteY103" fmla="*/ 1543 h 10000"/>
                <a:gd name="connsiteX104" fmla="*/ 4145 w 10000"/>
                <a:gd name="connsiteY104" fmla="*/ 1900 h 10000"/>
                <a:gd name="connsiteX105" fmla="*/ 4340 w 10000"/>
                <a:gd name="connsiteY105" fmla="*/ 2286 h 10000"/>
                <a:gd name="connsiteX106" fmla="*/ 4534 w 10000"/>
                <a:gd name="connsiteY106" fmla="*/ 2686 h 10000"/>
                <a:gd name="connsiteX107" fmla="*/ 4708 w 10000"/>
                <a:gd name="connsiteY107" fmla="*/ 3100 h 10000"/>
                <a:gd name="connsiteX108" fmla="*/ 4893 w 10000"/>
                <a:gd name="connsiteY108" fmla="*/ 3529 h 10000"/>
                <a:gd name="connsiteX109" fmla="*/ 5056 w 10000"/>
                <a:gd name="connsiteY109" fmla="*/ 3971 h 10000"/>
                <a:gd name="connsiteX110" fmla="*/ 5363 w 10000"/>
                <a:gd name="connsiteY110" fmla="*/ 4871 h 10000"/>
                <a:gd name="connsiteX111" fmla="*/ 5967 w 10000"/>
                <a:gd name="connsiteY111" fmla="*/ 6657 h 10000"/>
                <a:gd name="connsiteX112" fmla="*/ 6254 w 10000"/>
                <a:gd name="connsiteY112" fmla="*/ 7486 h 10000"/>
                <a:gd name="connsiteX113" fmla="*/ 6407 w 10000"/>
                <a:gd name="connsiteY113" fmla="*/ 7843 h 10000"/>
                <a:gd name="connsiteX114" fmla="*/ 6551 w 10000"/>
                <a:gd name="connsiteY114" fmla="*/ 8214 h 10000"/>
                <a:gd name="connsiteX115" fmla="*/ 6714 w 10000"/>
                <a:gd name="connsiteY115" fmla="*/ 8543 h 10000"/>
                <a:gd name="connsiteX116" fmla="*/ 6868 w 10000"/>
                <a:gd name="connsiteY116" fmla="*/ 8829 h 10000"/>
                <a:gd name="connsiteX117" fmla="*/ 7021 w 10000"/>
                <a:gd name="connsiteY117" fmla="*/ 9100 h 10000"/>
                <a:gd name="connsiteX118" fmla="*/ 7195 w 10000"/>
                <a:gd name="connsiteY118" fmla="*/ 9300 h 10000"/>
                <a:gd name="connsiteX119" fmla="*/ 7288 w 10000"/>
                <a:gd name="connsiteY119" fmla="*/ 9400 h 10000"/>
                <a:gd name="connsiteX120" fmla="*/ 7369 w 10000"/>
                <a:gd name="connsiteY120" fmla="*/ 9500 h 10000"/>
                <a:gd name="connsiteX121" fmla="*/ 7462 w 10000"/>
                <a:gd name="connsiteY121" fmla="*/ 9557 h 10000"/>
                <a:gd name="connsiteX122" fmla="*/ 7554 w 10000"/>
                <a:gd name="connsiteY122" fmla="*/ 9629 h 10000"/>
                <a:gd name="connsiteX123" fmla="*/ 7646 w 10000"/>
                <a:gd name="connsiteY123" fmla="*/ 9671 h 10000"/>
                <a:gd name="connsiteX124" fmla="*/ 7748 w 10000"/>
                <a:gd name="connsiteY124" fmla="*/ 9700 h 10000"/>
                <a:gd name="connsiteX125" fmla="*/ 7851 w 10000"/>
                <a:gd name="connsiteY125" fmla="*/ 9743 h 10000"/>
                <a:gd name="connsiteX126" fmla="*/ 7943 w 10000"/>
                <a:gd name="connsiteY126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119 w 10000"/>
                <a:gd name="connsiteY90" fmla="*/ 43 h 10000"/>
                <a:gd name="connsiteX91" fmla="*/ 2272 w 10000"/>
                <a:gd name="connsiteY91" fmla="*/ 71 h 10000"/>
                <a:gd name="connsiteX92" fmla="*/ 2426 w 10000"/>
                <a:gd name="connsiteY92" fmla="*/ 114 h 10000"/>
                <a:gd name="connsiteX93" fmla="*/ 2569 w 10000"/>
                <a:gd name="connsiteY93" fmla="*/ 186 h 10000"/>
                <a:gd name="connsiteX94" fmla="*/ 2712 w 10000"/>
                <a:gd name="connsiteY94" fmla="*/ 257 h 10000"/>
                <a:gd name="connsiteX95" fmla="*/ 2845 w 10000"/>
                <a:gd name="connsiteY95" fmla="*/ 343 h 10000"/>
                <a:gd name="connsiteX96" fmla="*/ 2989 w 10000"/>
                <a:gd name="connsiteY96" fmla="*/ 443 h 10000"/>
                <a:gd name="connsiteX97" fmla="*/ 3112 w 10000"/>
                <a:gd name="connsiteY97" fmla="*/ 529 h 10000"/>
                <a:gd name="connsiteX98" fmla="*/ 3234 w 10000"/>
                <a:gd name="connsiteY98" fmla="*/ 657 h 10000"/>
                <a:gd name="connsiteX99" fmla="*/ 3367 w 10000"/>
                <a:gd name="connsiteY99" fmla="*/ 786 h 10000"/>
                <a:gd name="connsiteX100" fmla="*/ 3490 w 10000"/>
                <a:gd name="connsiteY100" fmla="*/ 914 h 10000"/>
                <a:gd name="connsiteX101" fmla="*/ 3726 w 10000"/>
                <a:gd name="connsiteY101" fmla="*/ 1200 h 10000"/>
                <a:gd name="connsiteX102" fmla="*/ 3941 w 10000"/>
                <a:gd name="connsiteY102" fmla="*/ 1543 h 10000"/>
                <a:gd name="connsiteX103" fmla="*/ 4145 w 10000"/>
                <a:gd name="connsiteY103" fmla="*/ 1900 h 10000"/>
                <a:gd name="connsiteX104" fmla="*/ 4340 w 10000"/>
                <a:gd name="connsiteY104" fmla="*/ 2286 h 10000"/>
                <a:gd name="connsiteX105" fmla="*/ 4534 w 10000"/>
                <a:gd name="connsiteY105" fmla="*/ 2686 h 10000"/>
                <a:gd name="connsiteX106" fmla="*/ 4708 w 10000"/>
                <a:gd name="connsiteY106" fmla="*/ 3100 h 10000"/>
                <a:gd name="connsiteX107" fmla="*/ 4893 w 10000"/>
                <a:gd name="connsiteY107" fmla="*/ 3529 h 10000"/>
                <a:gd name="connsiteX108" fmla="*/ 5056 w 10000"/>
                <a:gd name="connsiteY108" fmla="*/ 3971 h 10000"/>
                <a:gd name="connsiteX109" fmla="*/ 5363 w 10000"/>
                <a:gd name="connsiteY109" fmla="*/ 4871 h 10000"/>
                <a:gd name="connsiteX110" fmla="*/ 5967 w 10000"/>
                <a:gd name="connsiteY110" fmla="*/ 6657 h 10000"/>
                <a:gd name="connsiteX111" fmla="*/ 6254 w 10000"/>
                <a:gd name="connsiteY111" fmla="*/ 7486 h 10000"/>
                <a:gd name="connsiteX112" fmla="*/ 6407 w 10000"/>
                <a:gd name="connsiteY112" fmla="*/ 7843 h 10000"/>
                <a:gd name="connsiteX113" fmla="*/ 6551 w 10000"/>
                <a:gd name="connsiteY113" fmla="*/ 8214 h 10000"/>
                <a:gd name="connsiteX114" fmla="*/ 6714 w 10000"/>
                <a:gd name="connsiteY114" fmla="*/ 8543 h 10000"/>
                <a:gd name="connsiteX115" fmla="*/ 6868 w 10000"/>
                <a:gd name="connsiteY115" fmla="*/ 8829 h 10000"/>
                <a:gd name="connsiteX116" fmla="*/ 7021 w 10000"/>
                <a:gd name="connsiteY116" fmla="*/ 9100 h 10000"/>
                <a:gd name="connsiteX117" fmla="*/ 7195 w 10000"/>
                <a:gd name="connsiteY117" fmla="*/ 9300 h 10000"/>
                <a:gd name="connsiteX118" fmla="*/ 7288 w 10000"/>
                <a:gd name="connsiteY118" fmla="*/ 9400 h 10000"/>
                <a:gd name="connsiteX119" fmla="*/ 7369 w 10000"/>
                <a:gd name="connsiteY119" fmla="*/ 9500 h 10000"/>
                <a:gd name="connsiteX120" fmla="*/ 7462 w 10000"/>
                <a:gd name="connsiteY120" fmla="*/ 9557 h 10000"/>
                <a:gd name="connsiteX121" fmla="*/ 7554 w 10000"/>
                <a:gd name="connsiteY121" fmla="*/ 9629 h 10000"/>
                <a:gd name="connsiteX122" fmla="*/ 7646 w 10000"/>
                <a:gd name="connsiteY122" fmla="*/ 9671 h 10000"/>
                <a:gd name="connsiteX123" fmla="*/ 7748 w 10000"/>
                <a:gd name="connsiteY123" fmla="*/ 9700 h 10000"/>
                <a:gd name="connsiteX124" fmla="*/ 7851 w 10000"/>
                <a:gd name="connsiteY124" fmla="*/ 9743 h 10000"/>
                <a:gd name="connsiteX125" fmla="*/ 7943 w 10000"/>
                <a:gd name="connsiteY125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272 w 10000"/>
                <a:gd name="connsiteY90" fmla="*/ 71 h 10000"/>
                <a:gd name="connsiteX91" fmla="*/ 2426 w 10000"/>
                <a:gd name="connsiteY91" fmla="*/ 114 h 10000"/>
                <a:gd name="connsiteX92" fmla="*/ 2569 w 10000"/>
                <a:gd name="connsiteY92" fmla="*/ 186 h 10000"/>
                <a:gd name="connsiteX93" fmla="*/ 2712 w 10000"/>
                <a:gd name="connsiteY93" fmla="*/ 257 h 10000"/>
                <a:gd name="connsiteX94" fmla="*/ 2845 w 10000"/>
                <a:gd name="connsiteY94" fmla="*/ 343 h 10000"/>
                <a:gd name="connsiteX95" fmla="*/ 2989 w 10000"/>
                <a:gd name="connsiteY95" fmla="*/ 443 h 10000"/>
                <a:gd name="connsiteX96" fmla="*/ 3112 w 10000"/>
                <a:gd name="connsiteY96" fmla="*/ 529 h 10000"/>
                <a:gd name="connsiteX97" fmla="*/ 3234 w 10000"/>
                <a:gd name="connsiteY97" fmla="*/ 657 h 10000"/>
                <a:gd name="connsiteX98" fmla="*/ 3367 w 10000"/>
                <a:gd name="connsiteY98" fmla="*/ 786 h 10000"/>
                <a:gd name="connsiteX99" fmla="*/ 3490 w 10000"/>
                <a:gd name="connsiteY99" fmla="*/ 914 h 10000"/>
                <a:gd name="connsiteX100" fmla="*/ 3726 w 10000"/>
                <a:gd name="connsiteY100" fmla="*/ 1200 h 10000"/>
                <a:gd name="connsiteX101" fmla="*/ 3941 w 10000"/>
                <a:gd name="connsiteY101" fmla="*/ 1543 h 10000"/>
                <a:gd name="connsiteX102" fmla="*/ 4145 w 10000"/>
                <a:gd name="connsiteY102" fmla="*/ 1900 h 10000"/>
                <a:gd name="connsiteX103" fmla="*/ 4340 w 10000"/>
                <a:gd name="connsiteY103" fmla="*/ 2286 h 10000"/>
                <a:gd name="connsiteX104" fmla="*/ 4534 w 10000"/>
                <a:gd name="connsiteY104" fmla="*/ 2686 h 10000"/>
                <a:gd name="connsiteX105" fmla="*/ 4708 w 10000"/>
                <a:gd name="connsiteY105" fmla="*/ 3100 h 10000"/>
                <a:gd name="connsiteX106" fmla="*/ 4893 w 10000"/>
                <a:gd name="connsiteY106" fmla="*/ 3529 h 10000"/>
                <a:gd name="connsiteX107" fmla="*/ 5056 w 10000"/>
                <a:gd name="connsiteY107" fmla="*/ 3971 h 10000"/>
                <a:gd name="connsiteX108" fmla="*/ 5363 w 10000"/>
                <a:gd name="connsiteY108" fmla="*/ 4871 h 10000"/>
                <a:gd name="connsiteX109" fmla="*/ 5967 w 10000"/>
                <a:gd name="connsiteY109" fmla="*/ 6657 h 10000"/>
                <a:gd name="connsiteX110" fmla="*/ 6254 w 10000"/>
                <a:gd name="connsiteY110" fmla="*/ 7486 h 10000"/>
                <a:gd name="connsiteX111" fmla="*/ 6407 w 10000"/>
                <a:gd name="connsiteY111" fmla="*/ 7843 h 10000"/>
                <a:gd name="connsiteX112" fmla="*/ 6551 w 10000"/>
                <a:gd name="connsiteY112" fmla="*/ 8214 h 10000"/>
                <a:gd name="connsiteX113" fmla="*/ 6714 w 10000"/>
                <a:gd name="connsiteY113" fmla="*/ 8543 h 10000"/>
                <a:gd name="connsiteX114" fmla="*/ 6868 w 10000"/>
                <a:gd name="connsiteY114" fmla="*/ 8829 h 10000"/>
                <a:gd name="connsiteX115" fmla="*/ 7021 w 10000"/>
                <a:gd name="connsiteY115" fmla="*/ 9100 h 10000"/>
                <a:gd name="connsiteX116" fmla="*/ 7195 w 10000"/>
                <a:gd name="connsiteY116" fmla="*/ 9300 h 10000"/>
                <a:gd name="connsiteX117" fmla="*/ 7288 w 10000"/>
                <a:gd name="connsiteY117" fmla="*/ 9400 h 10000"/>
                <a:gd name="connsiteX118" fmla="*/ 7369 w 10000"/>
                <a:gd name="connsiteY118" fmla="*/ 9500 h 10000"/>
                <a:gd name="connsiteX119" fmla="*/ 7462 w 10000"/>
                <a:gd name="connsiteY119" fmla="*/ 9557 h 10000"/>
                <a:gd name="connsiteX120" fmla="*/ 7554 w 10000"/>
                <a:gd name="connsiteY120" fmla="*/ 9629 h 10000"/>
                <a:gd name="connsiteX121" fmla="*/ 7646 w 10000"/>
                <a:gd name="connsiteY121" fmla="*/ 9671 h 10000"/>
                <a:gd name="connsiteX122" fmla="*/ 7748 w 10000"/>
                <a:gd name="connsiteY122" fmla="*/ 9700 h 10000"/>
                <a:gd name="connsiteX123" fmla="*/ 7851 w 10000"/>
                <a:gd name="connsiteY123" fmla="*/ 9743 h 10000"/>
                <a:gd name="connsiteX124" fmla="*/ 7943 w 10000"/>
                <a:gd name="connsiteY124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1965 w 10000"/>
                <a:gd name="connsiteY88" fmla="*/ 0 h 10000"/>
                <a:gd name="connsiteX89" fmla="*/ 2272 w 10000"/>
                <a:gd name="connsiteY89" fmla="*/ 71 h 10000"/>
                <a:gd name="connsiteX90" fmla="*/ 2426 w 10000"/>
                <a:gd name="connsiteY90" fmla="*/ 114 h 10000"/>
                <a:gd name="connsiteX91" fmla="*/ 2569 w 10000"/>
                <a:gd name="connsiteY91" fmla="*/ 186 h 10000"/>
                <a:gd name="connsiteX92" fmla="*/ 2712 w 10000"/>
                <a:gd name="connsiteY92" fmla="*/ 257 h 10000"/>
                <a:gd name="connsiteX93" fmla="*/ 2845 w 10000"/>
                <a:gd name="connsiteY93" fmla="*/ 343 h 10000"/>
                <a:gd name="connsiteX94" fmla="*/ 2989 w 10000"/>
                <a:gd name="connsiteY94" fmla="*/ 443 h 10000"/>
                <a:gd name="connsiteX95" fmla="*/ 3112 w 10000"/>
                <a:gd name="connsiteY95" fmla="*/ 529 h 10000"/>
                <a:gd name="connsiteX96" fmla="*/ 3234 w 10000"/>
                <a:gd name="connsiteY96" fmla="*/ 657 h 10000"/>
                <a:gd name="connsiteX97" fmla="*/ 3367 w 10000"/>
                <a:gd name="connsiteY97" fmla="*/ 786 h 10000"/>
                <a:gd name="connsiteX98" fmla="*/ 3490 w 10000"/>
                <a:gd name="connsiteY98" fmla="*/ 914 h 10000"/>
                <a:gd name="connsiteX99" fmla="*/ 3726 w 10000"/>
                <a:gd name="connsiteY99" fmla="*/ 1200 h 10000"/>
                <a:gd name="connsiteX100" fmla="*/ 3941 w 10000"/>
                <a:gd name="connsiteY100" fmla="*/ 1543 h 10000"/>
                <a:gd name="connsiteX101" fmla="*/ 4145 w 10000"/>
                <a:gd name="connsiteY101" fmla="*/ 1900 h 10000"/>
                <a:gd name="connsiteX102" fmla="*/ 4340 w 10000"/>
                <a:gd name="connsiteY102" fmla="*/ 2286 h 10000"/>
                <a:gd name="connsiteX103" fmla="*/ 4534 w 10000"/>
                <a:gd name="connsiteY103" fmla="*/ 2686 h 10000"/>
                <a:gd name="connsiteX104" fmla="*/ 4708 w 10000"/>
                <a:gd name="connsiteY104" fmla="*/ 3100 h 10000"/>
                <a:gd name="connsiteX105" fmla="*/ 4893 w 10000"/>
                <a:gd name="connsiteY105" fmla="*/ 3529 h 10000"/>
                <a:gd name="connsiteX106" fmla="*/ 5056 w 10000"/>
                <a:gd name="connsiteY106" fmla="*/ 3971 h 10000"/>
                <a:gd name="connsiteX107" fmla="*/ 5363 w 10000"/>
                <a:gd name="connsiteY107" fmla="*/ 4871 h 10000"/>
                <a:gd name="connsiteX108" fmla="*/ 5967 w 10000"/>
                <a:gd name="connsiteY108" fmla="*/ 6657 h 10000"/>
                <a:gd name="connsiteX109" fmla="*/ 6254 w 10000"/>
                <a:gd name="connsiteY109" fmla="*/ 7486 h 10000"/>
                <a:gd name="connsiteX110" fmla="*/ 6407 w 10000"/>
                <a:gd name="connsiteY110" fmla="*/ 7843 h 10000"/>
                <a:gd name="connsiteX111" fmla="*/ 6551 w 10000"/>
                <a:gd name="connsiteY111" fmla="*/ 8214 h 10000"/>
                <a:gd name="connsiteX112" fmla="*/ 6714 w 10000"/>
                <a:gd name="connsiteY112" fmla="*/ 8543 h 10000"/>
                <a:gd name="connsiteX113" fmla="*/ 6868 w 10000"/>
                <a:gd name="connsiteY113" fmla="*/ 8829 h 10000"/>
                <a:gd name="connsiteX114" fmla="*/ 7021 w 10000"/>
                <a:gd name="connsiteY114" fmla="*/ 9100 h 10000"/>
                <a:gd name="connsiteX115" fmla="*/ 7195 w 10000"/>
                <a:gd name="connsiteY115" fmla="*/ 9300 h 10000"/>
                <a:gd name="connsiteX116" fmla="*/ 7288 w 10000"/>
                <a:gd name="connsiteY116" fmla="*/ 9400 h 10000"/>
                <a:gd name="connsiteX117" fmla="*/ 7369 w 10000"/>
                <a:gd name="connsiteY117" fmla="*/ 9500 h 10000"/>
                <a:gd name="connsiteX118" fmla="*/ 7462 w 10000"/>
                <a:gd name="connsiteY118" fmla="*/ 9557 h 10000"/>
                <a:gd name="connsiteX119" fmla="*/ 7554 w 10000"/>
                <a:gd name="connsiteY119" fmla="*/ 9629 h 10000"/>
                <a:gd name="connsiteX120" fmla="*/ 7646 w 10000"/>
                <a:gd name="connsiteY120" fmla="*/ 9671 h 10000"/>
                <a:gd name="connsiteX121" fmla="*/ 7748 w 10000"/>
                <a:gd name="connsiteY121" fmla="*/ 9700 h 10000"/>
                <a:gd name="connsiteX122" fmla="*/ 7851 w 10000"/>
                <a:gd name="connsiteY122" fmla="*/ 9743 h 10000"/>
                <a:gd name="connsiteX123" fmla="*/ 7943 w 10000"/>
                <a:gd name="connsiteY123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2272 w 10000"/>
                <a:gd name="connsiteY88" fmla="*/ 71 h 10000"/>
                <a:gd name="connsiteX89" fmla="*/ 2426 w 10000"/>
                <a:gd name="connsiteY89" fmla="*/ 114 h 10000"/>
                <a:gd name="connsiteX90" fmla="*/ 2569 w 10000"/>
                <a:gd name="connsiteY90" fmla="*/ 186 h 10000"/>
                <a:gd name="connsiteX91" fmla="*/ 2712 w 10000"/>
                <a:gd name="connsiteY91" fmla="*/ 257 h 10000"/>
                <a:gd name="connsiteX92" fmla="*/ 2845 w 10000"/>
                <a:gd name="connsiteY92" fmla="*/ 343 h 10000"/>
                <a:gd name="connsiteX93" fmla="*/ 2989 w 10000"/>
                <a:gd name="connsiteY93" fmla="*/ 443 h 10000"/>
                <a:gd name="connsiteX94" fmla="*/ 3112 w 10000"/>
                <a:gd name="connsiteY94" fmla="*/ 529 h 10000"/>
                <a:gd name="connsiteX95" fmla="*/ 3234 w 10000"/>
                <a:gd name="connsiteY95" fmla="*/ 657 h 10000"/>
                <a:gd name="connsiteX96" fmla="*/ 3367 w 10000"/>
                <a:gd name="connsiteY96" fmla="*/ 786 h 10000"/>
                <a:gd name="connsiteX97" fmla="*/ 3490 w 10000"/>
                <a:gd name="connsiteY97" fmla="*/ 914 h 10000"/>
                <a:gd name="connsiteX98" fmla="*/ 3726 w 10000"/>
                <a:gd name="connsiteY98" fmla="*/ 1200 h 10000"/>
                <a:gd name="connsiteX99" fmla="*/ 3941 w 10000"/>
                <a:gd name="connsiteY99" fmla="*/ 1543 h 10000"/>
                <a:gd name="connsiteX100" fmla="*/ 4145 w 10000"/>
                <a:gd name="connsiteY100" fmla="*/ 1900 h 10000"/>
                <a:gd name="connsiteX101" fmla="*/ 4340 w 10000"/>
                <a:gd name="connsiteY101" fmla="*/ 2286 h 10000"/>
                <a:gd name="connsiteX102" fmla="*/ 4534 w 10000"/>
                <a:gd name="connsiteY102" fmla="*/ 2686 h 10000"/>
                <a:gd name="connsiteX103" fmla="*/ 4708 w 10000"/>
                <a:gd name="connsiteY103" fmla="*/ 3100 h 10000"/>
                <a:gd name="connsiteX104" fmla="*/ 4893 w 10000"/>
                <a:gd name="connsiteY104" fmla="*/ 3529 h 10000"/>
                <a:gd name="connsiteX105" fmla="*/ 5056 w 10000"/>
                <a:gd name="connsiteY105" fmla="*/ 3971 h 10000"/>
                <a:gd name="connsiteX106" fmla="*/ 5363 w 10000"/>
                <a:gd name="connsiteY106" fmla="*/ 4871 h 10000"/>
                <a:gd name="connsiteX107" fmla="*/ 5967 w 10000"/>
                <a:gd name="connsiteY107" fmla="*/ 6657 h 10000"/>
                <a:gd name="connsiteX108" fmla="*/ 6254 w 10000"/>
                <a:gd name="connsiteY108" fmla="*/ 7486 h 10000"/>
                <a:gd name="connsiteX109" fmla="*/ 6407 w 10000"/>
                <a:gd name="connsiteY109" fmla="*/ 7843 h 10000"/>
                <a:gd name="connsiteX110" fmla="*/ 6551 w 10000"/>
                <a:gd name="connsiteY110" fmla="*/ 8214 h 10000"/>
                <a:gd name="connsiteX111" fmla="*/ 6714 w 10000"/>
                <a:gd name="connsiteY111" fmla="*/ 8543 h 10000"/>
                <a:gd name="connsiteX112" fmla="*/ 6868 w 10000"/>
                <a:gd name="connsiteY112" fmla="*/ 8829 h 10000"/>
                <a:gd name="connsiteX113" fmla="*/ 7021 w 10000"/>
                <a:gd name="connsiteY113" fmla="*/ 9100 h 10000"/>
                <a:gd name="connsiteX114" fmla="*/ 7195 w 10000"/>
                <a:gd name="connsiteY114" fmla="*/ 9300 h 10000"/>
                <a:gd name="connsiteX115" fmla="*/ 7288 w 10000"/>
                <a:gd name="connsiteY115" fmla="*/ 9400 h 10000"/>
                <a:gd name="connsiteX116" fmla="*/ 7369 w 10000"/>
                <a:gd name="connsiteY116" fmla="*/ 9500 h 10000"/>
                <a:gd name="connsiteX117" fmla="*/ 7462 w 10000"/>
                <a:gd name="connsiteY117" fmla="*/ 9557 h 10000"/>
                <a:gd name="connsiteX118" fmla="*/ 7554 w 10000"/>
                <a:gd name="connsiteY118" fmla="*/ 9629 h 10000"/>
                <a:gd name="connsiteX119" fmla="*/ 7646 w 10000"/>
                <a:gd name="connsiteY119" fmla="*/ 9671 h 10000"/>
                <a:gd name="connsiteX120" fmla="*/ 7748 w 10000"/>
                <a:gd name="connsiteY120" fmla="*/ 9700 h 10000"/>
                <a:gd name="connsiteX121" fmla="*/ 7851 w 10000"/>
                <a:gd name="connsiteY121" fmla="*/ 9743 h 10000"/>
                <a:gd name="connsiteX122" fmla="*/ 7943 w 10000"/>
                <a:gd name="connsiteY122" fmla="*/ 9743 h 10000"/>
                <a:gd name="connsiteX0" fmla="*/ 7943 w 10000"/>
                <a:gd name="connsiteY0" fmla="*/ 9714 h 9971"/>
                <a:gd name="connsiteX1" fmla="*/ 7943 w 10000"/>
                <a:gd name="connsiteY1" fmla="*/ 9714 h 9971"/>
                <a:gd name="connsiteX2" fmla="*/ 8076 w 10000"/>
                <a:gd name="connsiteY2" fmla="*/ 9714 h 9971"/>
                <a:gd name="connsiteX3" fmla="*/ 8178 w 10000"/>
                <a:gd name="connsiteY3" fmla="*/ 9671 h 9971"/>
                <a:gd name="connsiteX4" fmla="*/ 8291 w 10000"/>
                <a:gd name="connsiteY4" fmla="*/ 9628 h 9971"/>
                <a:gd name="connsiteX5" fmla="*/ 8403 w 10000"/>
                <a:gd name="connsiteY5" fmla="*/ 9585 h 9971"/>
                <a:gd name="connsiteX6" fmla="*/ 8506 w 10000"/>
                <a:gd name="connsiteY6" fmla="*/ 9500 h 9971"/>
                <a:gd name="connsiteX7" fmla="*/ 8608 w 10000"/>
                <a:gd name="connsiteY7" fmla="*/ 9400 h 9971"/>
                <a:gd name="connsiteX8" fmla="*/ 8700 w 10000"/>
                <a:gd name="connsiteY8" fmla="*/ 9314 h 9971"/>
                <a:gd name="connsiteX9" fmla="*/ 8802 w 10000"/>
                <a:gd name="connsiteY9" fmla="*/ 9185 h 9971"/>
                <a:gd name="connsiteX10" fmla="*/ 8915 w 10000"/>
                <a:gd name="connsiteY10" fmla="*/ 9057 h 9971"/>
                <a:gd name="connsiteX11" fmla="*/ 9007 w 10000"/>
                <a:gd name="connsiteY11" fmla="*/ 8914 h 9971"/>
                <a:gd name="connsiteX12" fmla="*/ 9191 w 10000"/>
                <a:gd name="connsiteY12" fmla="*/ 8585 h 9971"/>
                <a:gd name="connsiteX13" fmla="*/ 9376 w 10000"/>
                <a:gd name="connsiteY13" fmla="*/ 8214 h 9971"/>
                <a:gd name="connsiteX14" fmla="*/ 9539 w 10000"/>
                <a:gd name="connsiteY14" fmla="*/ 7814 h 9971"/>
                <a:gd name="connsiteX15" fmla="*/ 9775 w 10000"/>
                <a:gd name="connsiteY15" fmla="*/ 8257 h 9971"/>
                <a:gd name="connsiteX16" fmla="*/ 10000 w 10000"/>
                <a:gd name="connsiteY16" fmla="*/ 8671 h 9971"/>
                <a:gd name="connsiteX17" fmla="*/ 9785 w 10000"/>
                <a:gd name="connsiteY17" fmla="*/ 8957 h 9971"/>
                <a:gd name="connsiteX18" fmla="*/ 9570 w 10000"/>
                <a:gd name="connsiteY18" fmla="*/ 9214 h 9971"/>
                <a:gd name="connsiteX19" fmla="*/ 9324 w 10000"/>
                <a:gd name="connsiteY19" fmla="*/ 9442 h 9971"/>
                <a:gd name="connsiteX20" fmla="*/ 9212 w 10000"/>
                <a:gd name="connsiteY20" fmla="*/ 9528 h 9971"/>
                <a:gd name="connsiteX21" fmla="*/ 9079 w 10000"/>
                <a:gd name="connsiteY21" fmla="*/ 9628 h 9971"/>
                <a:gd name="connsiteX22" fmla="*/ 8946 w 10000"/>
                <a:gd name="connsiteY22" fmla="*/ 9714 h 9971"/>
                <a:gd name="connsiteX23" fmla="*/ 8823 w 10000"/>
                <a:gd name="connsiteY23" fmla="*/ 9771 h 9971"/>
                <a:gd name="connsiteX24" fmla="*/ 8680 w 10000"/>
                <a:gd name="connsiteY24" fmla="*/ 9842 h 9971"/>
                <a:gd name="connsiteX25" fmla="*/ 8547 w 10000"/>
                <a:gd name="connsiteY25" fmla="*/ 9885 h 9971"/>
                <a:gd name="connsiteX26" fmla="*/ 8403 w 10000"/>
                <a:gd name="connsiteY26" fmla="*/ 9914 h 9971"/>
                <a:gd name="connsiteX27" fmla="*/ 8260 w 10000"/>
                <a:gd name="connsiteY27" fmla="*/ 9942 h 9971"/>
                <a:gd name="connsiteX28" fmla="*/ 8106 w 10000"/>
                <a:gd name="connsiteY28" fmla="*/ 9971 h 9971"/>
                <a:gd name="connsiteX29" fmla="*/ 7943 w 10000"/>
                <a:gd name="connsiteY29" fmla="*/ 9971 h 9971"/>
                <a:gd name="connsiteX30" fmla="*/ 7779 w 10000"/>
                <a:gd name="connsiteY30" fmla="*/ 9971 h 9971"/>
                <a:gd name="connsiteX31" fmla="*/ 7625 w 10000"/>
                <a:gd name="connsiteY31" fmla="*/ 9928 h 9971"/>
                <a:gd name="connsiteX32" fmla="*/ 7462 w 10000"/>
                <a:gd name="connsiteY32" fmla="*/ 9900 h 9971"/>
                <a:gd name="connsiteX33" fmla="*/ 7308 w 10000"/>
                <a:gd name="connsiteY33" fmla="*/ 9857 h 9971"/>
                <a:gd name="connsiteX34" fmla="*/ 7165 w 10000"/>
                <a:gd name="connsiteY34" fmla="*/ 9785 h 9971"/>
                <a:gd name="connsiteX35" fmla="*/ 7021 w 10000"/>
                <a:gd name="connsiteY35" fmla="*/ 9728 h 9971"/>
                <a:gd name="connsiteX36" fmla="*/ 6888 w 10000"/>
                <a:gd name="connsiteY36" fmla="*/ 9628 h 9971"/>
                <a:gd name="connsiteX37" fmla="*/ 6745 w 10000"/>
                <a:gd name="connsiteY37" fmla="*/ 9528 h 9971"/>
                <a:gd name="connsiteX38" fmla="*/ 6622 w 10000"/>
                <a:gd name="connsiteY38" fmla="*/ 9442 h 9971"/>
                <a:gd name="connsiteX39" fmla="*/ 6479 w 10000"/>
                <a:gd name="connsiteY39" fmla="*/ 9314 h 9971"/>
                <a:gd name="connsiteX40" fmla="*/ 6366 w 10000"/>
                <a:gd name="connsiteY40" fmla="*/ 9200 h 9971"/>
                <a:gd name="connsiteX41" fmla="*/ 6244 w 10000"/>
                <a:gd name="connsiteY41" fmla="*/ 9057 h 9971"/>
                <a:gd name="connsiteX42" fmla="*/ 6008 w 10000"/>
                <a:gd name="connsiteY42" fmla="*/ 8757 h 9971"/>
                <a:gd name="connsiteX43" fmla="*/ 5793 w 10000"/>
                <a:gd name="connsiteY43" fmla="*/ 8428 h 9971"/>
                <a:gd name="connsiteX44" fmla="*/ 5589 w 10000"/>
                <a:gd name="connsiteY44" fmla="*/ 8071 h 9971"/>
                <a:gd name="connsiteX45" fmla="*/ 5394 w 10000"/>
                <a:gd name="connsiteY45" fmla="*/ 7685 h 9971"/>
                <a:gd name="connsiteX46" fmla="*/ 5200 w 10000"/>
                <a:gd name="connsiteY46" fmla="*/ 7285 h 9971"/>
                <a:gd name="connsiteX47" fmla="*/ 5026 w 10000"/>
                <a:gd name="connsiteY47" fmla="*/ 6871 h 9971"/>
                <a:gd name="connsiteX48" fmla="*/ 4852 w 10000"/>
                <a:gd name="connsiteY48" fmla="*/ 6442 h 9971"/>
                <a:gd name="connsiteX49" fmla="*/ 4688 w 10000"/>
                <a:gd name="connsiteY49" fmla="*/ 6000 h 9971"/>
                <a:gd name="connsiteX50" fmla="*/ 4371 w 10000"/>
                <a:gd name="connsiteY50" fmla="*/ 5100 h 9971"/>
                <a:gd name="connsiteX51" fmla="*/ 3777 w 10000"/>
                <a:gd name="connsiteY51" fmla="*/ 3328 h 9971"/>
                <a:gd name="connsiteX52" fmla="*/ 3644 w 10000"/>
                <a:gd name="connsiteY52" fmla="*/ 2885 h 9971"/>
                <a:gd name="connsiteX53" fmla="*/ 3490 w 10000"/>
                <a:gd name="connsiteY53" fmla="*/ 2485 h 9971"/>
                <a:gd name="connsiteX54" fmla="*/ 3347 w 10000"/>
                <a:gd name="connsiteY54" fmla="*/ 2128 h 9971"/>
                <a:gd name="connsiteX55" fmla="*/ 3193 w 10000"/>
                <a:gd name="connsiteY55" fmla="*/ 1757 h 9971"/>
                <a:gd name="connsiteX56" fmla="*/ 3040 w 10000"/>
                <a:gd name="connsiteY56" fmla="*/ 1428 h 9971"/>
                <a:gd name="connsiteX57" fmla="*/ 2886 w 10000"/>
                <a:gd name="connsiteY57" fmla="*/ 1142 h 9971"/>
                <a:gd name="connsiteX58" fmla="*/ 2723 w 10000"/>
                <a:gd name="connsiteY58" fmla="*/ 871 h 9971"/>
                <a:gd name="connsiteX59" fmla="*/ 2559 w 10000"/>
                <a:gd name="connsiteY59" fmla="*/ 671 h 9971"/>
                <a:gd name="connsiteX60" fmla="*/ 2467 w 10000"/>
                <a:gd name="connsiteY60" fmla="*/ 571 h 9971"/>
                <a:gd name="connsiteX61" fmla="*/ 2375 w 10000"/>
                <a:gd name="connsiteY61" fmla="*/ 471 h 9971"/>
                <a:gd name="connsiteX62" fmla="*/ 2282 w 10000"/>
                <a:gd name="connsiteY62" fmla="*/ 414 h 9971"/>
                <a:gd name="connsiteX63" fmla="*/ 2190 w 10000"/>
                <a:gd name="connsiteY63" fmla="*/ 342 h 9971"/>
                <a:gd name="connsiteX64" fmla="*/ 1791 w 10000"/>
                <a:gd name="connsiteY64" fmla="*/ 228 h 9971"/>
                <a:gd name="connsiteX65" fmla="*/ 1668 w 10000"/>
                <a:gd name="connsiteY65" fmla="*/ 242 h 9971"/>
                <a:gd name="connsiteX66" fmla="*/ 1525 w 10000"/>
                <a:gd name="connsiteY66" fmla="*/ 285 h 9971"/>
                <a:gd name="connsiteX67" fmla="*/ 1402 w 10000"/>
                <a:gd name="connsiteY67" fmla="*/ 328 h 9971"/>
                <a:gd name="connsiteX68" fmla="*/ 1279 w 10000"/>
                <a:gd name="connsiteY68" fmla="*/ 414 h 9971"/>
                <a:gd name="connsiteX69" fmla="*/ 1157 w 10000"/>
                <a:gd name="connsiteY69" fmla="*/ 500 h 9971"/>
                <a:gd name="connsiteX70" fmla="*/ 1044 w 10000"/>
                <a:gd name="connsiteY70" fmla="*/ 614 h 9971"/>
                <a:gd name="connsiteX71" fmla="*/ 931 w 10000"/>
                <a:gd name="connsiteY71" fmla="*/ 757 h 9971"/>
                <a:gd name="connsiteX72" fmla="*/ 809 w 10000"/>
                <a:gd name="connsiteY72" fmla="*/ 900 h 9971"/>
                <a:gd name="connsiteX73" fmla="*/ 706 w 10000"/>
                <a:gd name="connsiteY73" fmla="*/ 1085 h 9971"/>
                <a:gd name="connsiteX74" fmla="*/ 604 w 10000"/>
                <a:gd name="connsiteY74" fmla="*/ 1257 h 9971"/>
                <a:gd name="connsiteX75" fmla="*/ 491 w 10000"/>
                <a:gd name="connsiteY75" fmla="*/ 1457 h 9971"/>
                <a:gd name="connsiteX76" fmla="*/ 399 w 10000"/>
                <a:gd name="connsiteY76" fmla="*/ 1657 h 9971"/>
                <a:gd name="connsiteX77" fmla="*/ 194 w 10000"/>
                <a:gd name="connsiteY77" fmla="*/ 2128 h 9971"/>
                <a:gd name="connsiteX78" fmla="*/ 0 w 10000"/>
                <a:gd name="connsiteY78" fmla="*/ 2614 h 9971"/>
                <a:gd name="connsiteX79" fmla="*/ 10 w 10000"/>
                <a:gd name="connsiteY79" fmla="*/ 942 h 9971"/>
                <a:gd name="connsiteX80" fmla="*/ 205 w 10000"/>
                <a:gd name="connsiteY80" fmla="*/ 728 h 9971"/>
                <a:gd name="connsiteX81" fmla="*/ 399 w 10000"/>
                <a:gd name="connsiteY81" fmla="*/ 542 h 9971"/>
                <a:gd name="connsiteX82" fmla="*/ 604 w 10000"/>
                <a:gd name="connsiteY82" fmla="*/ 357 h 9971"/>
                <a:gd name="connsiteX83" fmla="*/ 819 w 10000"/>
                <a:gd name="connsiteY83" fmla="*/ 228 h 9971"/>
                <a:gd name="connsiteX84" fmla="*/ 1054 w 10000"/>
                <a:gd name="connsiteY84" fmla="*/ 128 h 9971"/>
                <a:gd name="connsiteX85" fmla="*/ 1300 w 10000"/>
                <a:gd name="connsiteY85" fmla="*/ 42 h 9971"/>
                <a:gd name="connsiteX86" fmla="*/ 1535 w 10000"/>
                <a:gd name="connsiteY86" fmla="*/ 0 h 9971"/>
                <a:gd name="connsiteX87" fmla="*/ 2272 w 10000"/>
                <a:gd name="connsiteY87" fmla="*/ 42 h 9971"/>
                <a:gd name="connsiteX88" fmla="*/ 2426 w 10000"/>
                <a:gd name="connsiteY88" fmla="*/ 85 h 9971"/>
                <a:gd name="connsiteX89" fmla="*/ 2569 w 10000"/>
                <a:gd name="connsiteY89" fmla="*/ 157 h 9971"/>
                <a:gd name="connsiteX90" fmla="*/ 2712 w 10000"/>
                <a:gd name="connsiteY90" fmla="*/ 228 h 9971"/>
                <a:gd name="connsiteX91" fmla="*/ 2845 w 10000"/>
                <a:gd name="connsiteY91" fmla="*/ 314 h 9971"/>
                <a:gd name="connsiteX92" fmla="*/ 2989 w 10000"/>
                <a:gd name="connsiteY92" fmla="*/ 414 h 9971"/>
                <a:gd name="connsiteX93" fmla="*/ 3112 w 10000"/>
                <a:gd name="connsiteY93" fmla="*/ 500 h 9971"/>
                <a:gd name="connsiteX94" fmla="*/ 3234 w 10000"/>
                <a:gd name="connsiteY94" fmla="*/ 628 h 9971"/>
                <a:gd name="connsiteX95" fmla="*/ 3367 w 10000"/>
                <a:gd name="connsiteY95" fmla="*/ 757 h 9971"/>
                <a:gd name="connsiteX96" fmla="*/ 3490 w 10000"/>
                <a:gd name="connsiteY96" fmla="*/ 885 h 9971"/>
                <a:gd name="connsiteX97" fmla="*/ 3726 w 10000"/>
                <a:gd name="connsiteY97" fmla="*/ 1171 h 9971"/>
                <a:gd name="connsiteX98" fmla="*/ 3941 w 10000"/>
                <a:gd name="connsiteY98" fmla="*/ 1514 h 9971"/>
                <a:gd name="connsiteX99" fmla="*/ 4145 w 10000"/>
                <a:gd name="connsiteY99" fmla="*/ 1871 h 9971"/>
                <a:gd name="connsiteX100" fmla="*/ 4340 w 10000"/>
                <a:gd name="connsiteY100" fmla="*/ 2257 h 9971"/>
                <a:gd name="connsiteX101" fmla="*/ 4534 w 10000"/>
                <a:gd name="connsiteY101" fmla="*/ 2657 h 9971"/>
                <a:gd name="connsiteX102" fmla="*/ 4708 w 10000"/>
                <a:gd name="connsiteY102" fmla="*/ 3071 h 9971"/>
                <a:gd name="connsiteX103" fmla="*/ 4893 w 10000"/>
                <a:gd name="connsiteY103" fmla="*/ 3500 h 9971"/>
                <a:gd name="connsiteX104" fmla="*/ 5056 w 10000"/>
                <a:gd name="connsiteY104" fmla="*/ 3942 h 9971"/>
                <a:gd name="connsiteX105" fmla="*/ 5363 w 10000"/>
                <a:gd name="connsiteY105" fmla="*/ 4842 h 9971"/>
                <a:gd name="connsiteX106" fmla="*/ 5967 w 10000"/>
                <a:gd name="connsiteY106" fmla="*/ 6628 h 9971"/>
                <a:gd name="connsiteX107" fmla="*/ 6254 w 10000"/>
                <a:gd name="connsiteY107" fmla="*/ 7457 h 9971"/>
                <a:gd name="connsiteX108" fmla="*/ 6407 w 10000"/>
                <a:gd name="connsiteY108" fmla="*/ 7814 h 9971"/>
                <a:gd name="connsiteX109" fmla="*/ 6551 w 10000"/>
                <a:gd name="connsiteY109" fmla="*/ 8185 h 9971"/>
                <a:gd name="connsiteX110" fmla="*/ 6714 w 10000"/>
                <a:gd name="connsiteY110" fmla="*/ 8514 h 9971"/>
                <a:gd name="connsiteX111" fmla="*/ 6868 w 10000"/>
                <a:gd name="connsiteY111" fmla="*/ 8800 h 9971"/>
                <a:gd name="connsiteX112" fmla="*/ 7021 w 10000"/>
                <a:gd name="connsiteY112" fmla="*/ 9071 h 9971"/>
                <a:gd name="connsiteX113" fmla="*/ 7195 w 10000"/>
                <a:gd name="connsiteY113" fmla="*/ 9271 h 9971"/>
                <a:gd name="connsiteX114" fmla="*/ 7288 w 10000"/>
                <a:gd name="connsiteY114" fmla="*/ 9371 h 9971"/>
                <a:gd name="connsiteX115" fmla="*/ 7369 w 10000"/>
                <a:gd name="connsiteY115" fmla="*/ 9471 h 9971"/>
                <a:gd name="connsiteX116" fmla="*/ 7462 w 10000"/>
                <a:gd name="connsiteY116" fmla="*/ 9528 h 9971"/>
                <a:gd name="connsiteX117" fmla="*/ 7554 w 10000"/>
                <a:gd name="connsiteY117" fmla="*/ 9600 h 9971"/>
                <a:gd name="connsiteX118" fmla="*/ 7646 w 10000"/>
                <a:gd name="connsiteY118" fmla="*/ 9642 h 9971"/>
                <a:gd name="connsiteX119" fmla="*/ 7748 w 10000"/>
                <a:gd name="connsiteY119" fmla="*/ 9671 h 9971"/>
                <a:gd name="connsiteX120" fmla="*/ 7851 w 10000"/>
                <a:gd name="connsiteY120" fmla="*/ 9714 h 9971"/>
                <a:gd name="connsiteX121" fmla="*/ 7943 w 10000"/>
                <a:gd name="connsiteY121" fmla="*/ 9714 h 9971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525 w 10000"/>
                <a:gd name="connsiteY65" fmla="*/ 286 h 10000"/>
                <a:gd name="connsiteX66" fmla="*/ 1402 w 10000"/>
                <a:gd name="connsiteY66" fmla="*/ 329 h 10000"/>
                <a:gd name="connsiteX67" fmla="*/ 1279 w 10000"/>
                <a:gd name="connsiteY67" fmla="*/ 415 h 10000"/>
                <a:gd name="connsiteX68" fmla="*/ 1157 w 10000"/>
                <a:gd name="connsiteY68" fmla="*/ 501 h 10000"/>
                <a:gd name="connsiteX69" fmla="*/ 1044 w 10000"/>
                <a:gd name="connsiteY69" fmla="*/ 616 h 10000"/>
                <a:gd name="connsiteX70" fmla="*/ 931 w 10000"/>
                <a:gd name="connsiteY70" fmla="*/ 759 h 10000"/>
                <a:gd name="connsiteX71" fmla="*/ 809 w 10000"/>
                <a:gd name="connsiteY71" fmla="*/ 903 h 10000"/>
                <a:gd name="connsiteX72" fmla="*/ 706 w 10000"/>
                <a:gd name="connsiteY72" fmla="*/ 1088 h 10000"/>
                <a:gd name="connsiteX73" fmla="*/ 604 w 10000"/>
                <a:gd name="connsiteY73" fmla="*/ 1261 h 10000"/>
                <a:gd name="connsiteX74" fmla="*/ 491 w 10000"/>
                <a:gd name="connsiteY74" fmla="*/ 1461 h 10000"/>
                <a:gd name="connsiteX75" fmla="*/ 399 w 10000"/>
                <a:gd name="connsiteY75" fmla="*/ 1662 h 10000"/>
                <a:gd name="connsiteX76" fmla="*/ 194 w 10000"/>
                <a:gd name="connsiteY76" fmla="*/ 2134 h 10000"/>
                <a:gd name="connsiteX77" fmla="*/ 0 w 10000"/>
                <a:gd name="connsiteY77" fmla="*/ 2622 h 10000"/>
                <a:gd name="connsiteX78" fmla="*/ 10 w 10000"/>
                <a:gd name="connsiteY78" fmla="*/ 945 h 10000"/>
                <a:gd name="connsiteX79" fmla="*/ 205 w 10000"/>
                <a:gd name="connsiteY79" fmla="*/ 730 h 10000"/>
                <a:gd name="connsiteX80" fmla="*/ 399 w 10000"/>
                <a:gd name="connsiteY80" fmla="*/ 544 h 10000"/>
                <a:gd name="connsiteX81" fmla="*/ 604 w 10000"/>
                <a:gd name="connsiteY81" fmla="*/ 358 h 10000"/>
                <a:gd name="connsiteX82" fmla="*/ 819 w 10000"/>
                <a:gd name="connsiteY82" fmla="*/ 229 h 10000"/>
                <a:gd name="connsiteX83" fmla="*/ 1054 w 10000"/>
                <a:gd name="connsiteY83" fmla="*/ 128 h 10000"/>
                <a:gd name="connsiteX84" fmla="*/ 1300 w 10000"/>
                <a:gd name="connsiteY84" fmla="*/ 42 h 10000"/>
                <a:gd name="connsiteX85" fmla="*/ 1535 w 10000"/>
                <a:gd name="connsiteY85" fmla="*/ 0 h 10000"/>
                <a:gd name="connsiteX86" fmla="*/ 2272 w 10000"/>
                <a:gd name="connsiteY86" fmla="*/ 42 h 10000"/>
                <a:gd name="connsiteX87" fmla="*/ 2426 w 10000"/>
                <a:gd name="connsiteY87" fmla="*/ 85 h 10000"/>
                <a:gd name="connsiteX88" fmla="*/ 2569 w 10000"/>
                <a:gd name="connsiteY88" fmla="*/ 157 h 10000"/>
                <a:gd name="connsiteX89" fmla="*/ 2712 w 10000"/>
                <a:gd name="connsiteY89" fmla="*/ 229 h 10000"/>
                <a:gd name="connsiteX90" fmla="*/ 2845 w 10000"/>
                <a:gd name="connsiteY90" fmla="*/ 315 h 10000"/>
                <a:gd name="connsiteX91" fmla="*/ 2989 w 10000"/>
                <a:gd name="connsiteY91" fmla="*/ 415 h 10000"/>
                <a:gd name="connsiteX92" fmla="*/ 3112 w 10000"/>
                <a:gd name="connsiteY92" fmla="*/ 501 h 10000"/>
                <a:gd name="connsiteX93" fmla="*/ 3234 w 10000"/>
                <a:gd name="connsiteY93" fmla="*/ 630 h 10000"/>
                <a:gd name="connsiteX94" fmla="*/ 3367 w 10000"/>
                <a:gd name="connsiteY94" fmla="*/ 759 h 10000"/>
                <a:gd name="connsiteX95" fmla="*/ 3490 w 10000"/>
                <a:gd name="connsiteY95" fmla="*/ 888 h 10000"/>
                <a:gd name="connsiteX96" fmla="*/ 3726 w 10000"/>
                <a:gd name="connsiteY96" fmla="*/ 1174 h 10000"/>
                <a:gd name="connsiteX97" fmla="*/ 3941 w 10000"/>
                <a:gd name="connsiteY97" fmla="*/ 1518 h 10000"/>
                <a:gd name="connsiteX98" fmla="*/ 4145 w 10000"/>
                <a:gd name="connsiteY98" fmla="*/ 1876 h 10000"/>
                <a:gd name="connsiteX99" fmla="*/ 4340 w 10000"/>
                <a:gd name="connsiteY99" fmla="*/ 2264 h 10000"/>
                <a:gd name="connsiteX100" fmla="*/ 4534 w 10000"/>
                <a:gd name="connsiteY100" fmla="*/ 2665 h 10000"/>
                <a:gd name="connsiteX101" fmla="*/ 4708 w 10000"/>
                <a:gd name="connsiteY101" fmla="*/ 3080 h 10000"/>
                <a:gd name="connsiteX102" fmla="*/ 4893 w 10000"/>
                <a:gd name="connsiteY102" fmla="*/ 3510 h 10000"/>
                <a:gd name="connsiteX103" fmla="*/ 5056 w 10000"/>
                <a:gd name="connsiteY103" fmla="*/ 3953 h 10000"/>
                <a:gd name="connsiteX104" fmla="*/ 5363 w 10000"/>
                <a:gd name="connsiteY104" fmla="*/ 4856 h 10000"/>
                <a:gd name="connsiteX105" fmla="*/ 5967 w 10000"/>
                <a:gd name="connsiteY105" fmla="*/ 6647 h 10000"/>
                <a:gd name="connsiteX106" fmla="*/ 6254 w 10000"/>
                <a:gd name="connsiteY106" fmla="*/ 7479 h 10000"/>
                <a:gd name="connsiteX107" fmla="*/ 6407 w 10000"/>
                <a:gd name="connsiteY107" fmla="*/ 7837 h 10000"/>
                <a:gd name="connsiteX108" fmla="*/ 6551 w 10000"/>
                <a:gd name="connsiteY108" fmla="*/ 8209 h 10000"/>
                <a:gd name="connsiteX109" fmla="*/ 6714 w 10000"/>
                <a:gd name="connsiteY109" fmla="*/ 8539 h 10000"/>
                <a:gd name="connsiteX110" fmla="*/ 6868 w 10000"/>
                <a:gd name="connsiteY110" fmla="*/ 8826 h 10000"/>
                <a:gd name="connsiteX111" fmla="*/ 7021 w 10000"/>
                <a:gd name="connsiteY111" fmla="*/ 9097 h 10000"/>
                <a:gd name="connsiteX112" fmla="*/ 7195 w 10000"/>
                <a:gd name="connsiteY112" fmla="*/ 9298 h 10000"/>
                <a:gd name="connsiteX113" fmla="*/ 7288 w 10000"/>
                <a:gd name="connsiteY113" fmla="*/ 9398 h 10000"/>
                <a:gd name="connsiteX114" fmla="*/ 7369 w 10000"/>
                <a:gd name="connsiteY114" fmla="*/ 9499 h 10000"/>
                <a:gd name="connsiteX115" fmla="*/ 7462 w 10000"/>
                <a:gd name="connsiteY115" fmla="*/ 9556 h 10000"/>
                <a:gd name="connsiteX116" fmla="*/ 7554 w 10000"/>
                <a:gd name="connsiteY116" fmla="*/ 9628 h 10000"/>
                <a:gd name="connsiteX117" fmla="*/ 7646 w 10000"/>
                <a:gd name="connsiteY117" fmla="*/ 9670 h 10000"/>
                <a:gd name="connsiteX118" fmla="*/ 7748 w 10000"/>
                <a:gd name="connsiteY118" fmla="*/ 9699 h 10000"/>
                <a:gd name="connsiteX119" fmla="*/ 7851 w 10000"/>
                <a:gd name="connsiteY119" fmla="*/ 9742 h 10000"/>
                <a:gd name="connsiteX120" fmla="*/ 7943 w 10000"/>
                <a:gd name="connsiteY120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402 w 10000"/>
                <a:gd name="connsiteY65" fmla="*/ 329 h 10000"/>
                <a:gd name="connsiteX66" fmla="*/ 1279 w 10000"/>
                <a:gd name="connsiteY66" fmla="*/ 415 h 10000"/>
                <a:gd name="connsiteX67" fmla="*/ 1157 w 10000"/>
                <a:gd name="connsiteY67" fmla="*/ 501 h 10000"/>
                <a:gd name="connsiteX68" fmla="*/ 1044 w 10000"/>
                <a:gd name="connsiteY68" fmla="*/ 616 h 10000"/>
                <a:gd name="connsiteX69" fmla="*/ 931 w 10000"/>
                <a:gd name="connsiteY69" fmla="*/ 759 h 10000"/>
                <a:gd name="connsiteX70" fmla="*/ 809 w 10000"/>
                <a:gd name="connsiteY70" fmla="*/ 903 h 10000"/>
                <a:gd name="connsiteX71" fmla="*/ 706 w 10000"/>
                <a:gd name="connsiteY71" fmla="*/ 1088 h 10000"/>
                <a:gd name="connsiteX72" fmla="*/ 604 w 10000"/>
                <a:gd name="connsiteY72" fmla="*/ 1261 h 10000"/>
                <a:gd name="connsiteX73" fmla="*/ 491 w 10000"/>
                <a:gd name="connsiteY73" fmla="*/ 1461 h 10000"/>
                <a:gd name="connsiteX74" fmla="*/ 399 w 10000"/>
                <a:gd name="connsiteY74" fmla="*/ 1662 h 10000"/>
                <a:gd name="connsiteX75" fmla="*/ 194 w 10000"/>
                <a:gd name="connsiteY75" fmla="*/ 2134 h 10000"/>
                <a:gd name="connsiteX76" fmla="*/ 0 w 10000"/>
                <a:gd name="connsiteY76" fmla="*/ 2622 h 10000"/>
                <a:gd name="connsiteX77" fmla="*/ 10 w 10000"/>
                <a:gd name="connsiteY77" fmla="*/ 945 h 10000"/>
                <a:gd name="connsiteX78" fmla="*/ 205 w 10000"/>
                <a:gd name="connsiteY78" fmla="*/ 730 h 10000"/>
                <a:gd name="connsiteX79" fmla="*/ 399 w 10000"/>
                <a:gd name="connsiteY79" fmla="*/ 544 h 10000"/>
                <a:gd name="connsiteX80" fmla="*/ 604 w 10000"/>
                <a:gd name="connsiteY80" fmla="*/ 358 h 10000"/>
                <a:gd name="connsiteX81" fmla="*/ 819 w 10000"/>
                <a:gd name="connsiteY81" fmla="*/ 229 h 10000"/>
                <a:gd name="connsiteX82" fmla="*/ 1054 w 10000"/>
                <a:gd name="connsiteY82" fmla="*/ 128 h 10000"/>
                <a:gd name="connsiteX83" fmla="*/ 1300 w 10000"/>
                <a:gd name="connsiteY83" fmla="*/ 42 h 10000"/>
                <a:gd name="connsiteX84" fmla="*/ 1535 w 10000"/>
                <a:gd name="connsiteY84" fmla="*/ 0 h 10000"/>
                <a:gd name="connsiteX85" fmla="*/ 2272 w 10000"/>
                <a:gd name="connsiteY85" fmla="*/ 42 h 10000"/>
                <a:gd name="connsiteX86" fmla="*/ 2426 w 10000"/>
                <a:gd name="connsiteY86" fmla="*/ 85 h 10000"/>
                <a:gd name="connsiteX87" fmla="*/ 2569 w 10000"/>
                <a:gd name="connsiteY87" fmla="*/ 157 h 10000"/>
                <a:gd name="connsiteX88" fmla="*/ 2712 w 10000"/>
                <a:gd name="connsiteY88" fmla="*/ 229 h 10000"/>
                <a:gd name="connsiteX89" fmla="*/ 2845 w 10000"/>
                <a:gd name="connsiteY89" fmla="*/ 315 h 10000"/>
                <a:gd name="connsiteX90" fmla="*/ 2989 w 10000"/>
                <a:gd name="connsiteY90" fmla="*/ 415 h 10000"/>
                <a:gd name="connsiteX91" fmla="*/ 3112 w 10000"/>
                <a:gd name="connsiteY91" fmla="*/ 501 h 10000"/>
                <a:gd name="connsiteX92" fmla="*/ 3234 w 10000"/>
                <a:gd name="connsiteY92" fmla="*/ 630 h 10000"/>
                <a:gd name="connsiteX93" fmla="*/ 3367 w 10000"/>
                <a:gd name="connsiteY93" fmla="*/ 759 h 10000"/>
                <a:gd name="connsiteX94" fmla="*/ 3490 w 10000"/>
                <a:gd name="connsiteY94" fmla="*/ 888 h 10000"/>
                <a:gd name="connsiteX95" fmla="*/ 3726 w 10000"/>
                <a:gd name="connsiteY95" fmla="*/ 1174 h 10000"/>
                <a:gd name="connsiteX96" fmla="*/ 3941 w 10000"/>
                <a:gd name="connsiteY96" fmla="*/ 1518 h 10000"/>
                <a:gd name="connsiteX97" fmla="*/ 4145 w 10000"/>
                <a:gd name="connsiteY97" fmla="*/ 1876 h 10000"/>
                <a:gd name="connsiteX98" fmla="*/ 4340 w 10000"/>
                <a:gd name="connsiteY98" fmla="*/ 2264 h 10000"/>
                <a:gd name="connsiteX99" fmla="*/ 4534 w 10000"/>
                <a:gd name="connsiteY99" fmla="*/ 2665 h 10000"/>
                <a:gd name="connsiteX100" fmla="*/ 4708 w 10000"/>
                <a:gd name="connsiteY100" fmla="*/ 3080 h 10000"/>
                <a:gd name="connsiteX101" fmla="*/ 4893 w 10000"/>
                <a:gd name="connsiteY101" fmla="*/ 3510 h 10000"/>
                <a:gd name="connsiteX102" fmla="*/ 5056 w 10000"/>
                <a:gd name="connsiteY102" fmla="*/ 3953 h 10000"/>
                <a:gd name="connsiteX103" fmla="*/ 5363 w 10000"/>
                <a:gd name="connsiteY103" fmla="*/ 4856 h 10000"/>
                <a:gd name="connsiteX104" fmla="*/ 5967 w 10000"/>
                <a:gd name="connsiteY104" fmla="*/ 6647 h 10000"/>
                <a:gd name="connsiteX105" fmla="*/ 6254 w 10000"/>
                <a:gd name="connsiteY105" fmla="*/ 7479 h 10000"/>
                <a:gd name="connsiteX106" fmla="*/ 6407 w 10000"/>
                <a:gd name="connsiteY106" fmla="*/ 7837 h 10000"/>
                <a:gd name="connsiteX107" fmla="*/ 6551 w 10000"/>
                <a:gd name="connsiteY107" fmla="*/ 8209 h 10000"/>
                <a:gd name="connsiteX108" fmla="*/ 6714 w 10000"/>
                <a:gd name="connsiteY108" fmla="*/ 8539 h 10000"/>
                <a:gd name="connsiteX109" fmla="*/ 6868 w 10000"/>
                <a:gd name="connsiteY109" fmla="*/ 8826 h 10000"/>
                <a:gd name="connsiteX110" fmla="*/ 7021 w 10000"/>
                <a:gd name="connsiteY110" fmla="*/ 9097 h 10000"/>
                <a:gd name="connsiteX111" fmla="*/ 7195 w 10000"/>
                <a:gd name="connsiteY111" fmla="*/ 9298 h 10000"/>
                <a:gd name="connsiteX112" fmla="*/ 7288 w 10000"/>
                <a:gd name="connsiteY112" fmla="*/ 9398 h 10000"/>
                <a:gd name="connsiteX113" fmla="*/ 7369 w 10000"/>
                <a:gd name="connsiteY113" fmla="*/ 9499 h 10000"/>
                <a:gd name="connsiteX114" fmla="*/ 7462 w 10000"/>
                <a:gd name="connsiteY114" fmla="*/ 9556 h 10000"/>
                <a:gd name="connsiteX115" fmla="*/ 7554 w 10000"/>
                <a:gd name="connsiteY115" fmla="*/ 9628 h 10000"/>
                <a:gd name="connsiteX116" fmla="*/ 7646 w 10000"/>
                <a:gd name="connsiteY116" fmla="*/ 9670 h 10000"/>
                <a:gd name="connsiteX117" fmla="*/ 7748 w 10000"/>
                <a:gd name="connsiteY117" fmla="*/ 9699 h 10000"/>
                <a:gd name="connsiteX118" fmla="*/ 7851 w 10000"/>
                <a:gd name="connsiteY118" fmla="*/ 9742 h 10000"/>
                <a:gd name="connsiteX119" fmla="*/ 7943 w 10000"/>
                <a:gd name="connsiteY119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402 w 10000"/>
                <a:gd name="connsiteY64" fmla="*/ 329 h 10000"/>
                <a:gd name="connsiteX65" fmla="*/ 1279 w 10000"/>
                <a:gd name="connsiteY65" fmla="*/ 415 h 10000"/>
                <a:gd name="connsiteX66" fmla="*/ 1157 w 10000"/>
                <a:gd name="connsiteY66" fmla="*/ 501 h 10000"/>
                <a:gd name="connsiteX67" fmla="*/ 1044 w 10000"/>
                <a:gd name="connsiteY67" fmla="*/ 616 h 10000"/>
                <a:gd name="connsiteX68" fmla="*/ 931 w 10000"/>
                <a:gd name="connsiteY68" fmla="*/ 759 h 10000"/>
                <a:gd name="connsiteX69" fmla="*/ 809 w 10000"/>
                <a:gd name="connsiteY69" fmla="*/ 903 h 10000"/>
                <a:gd name="connsiteX70" fmla="*/ 706 w 10000"/>
                <a:gd name="connsiteY70" fmla="*/ 1088 h 10000"/>
                <a:gd name="connsiteX71" fmla="*/ 604 w 10000"/>
                <a:gd name="connsiteY71" fmla="*/ 1261 h 10000"/>
                <a:gd name="connsiteX72" fmla="*/ 491 w 10000"/>
                <a:gd name="connsiteY72" fmla="*/ 1461 h 10000"/>
                <a:gd name="connsiteX73" fmla="*/ 399 w 10000"/>
                <a:gd name="connsiteY73" fmla="*/ 1662 h 10000"/>
                <a:gd name="connsiteX74" fmla="*/ 194 w 10000"/>
                <a:gd name="connsiteY74" fmla="*/ 2134 h 10000"/>
                <a:gd name="connsiteX75" fmla="*/ 0 w 10000"/>
                <a:gd name="connsiteY75" fmla="*/ 2622 h 10000"/>
                <a:gd name="connsiteX76" fmla="*/ 10 w 10000"/>
                <a:gd name="connsiteY76" fmla="*/ 945 h 10000"/>
                <a:gd name="connsiteX77" fmla="*/ 205 w 10000"/>
                <a:gd name="connsiteY77" fmla="*/ 730 h 10000"/>
                <a:gd name="connsiteX78" fmla="*/ 399 w 10000"/>
                <a:gd name="connsiteY78" fmla="*/ 544 h 10000"/>
                <a:gd name="connsiteX79" fmla="*/ 604 w 10000"/>
                <a:gd name="connsiteY79" fmla="*/ 358 h 10000"/>
                <a:gd name="connsiteX80" fmla="*/ 819 w 10000"/>
                <a:gd name="connsiteY80" fmla="*/ 229 h 10000"/>
                <a:gd name="connsiteX81" fmla="*/ 1054 w 10000"/>
                <a:gd name="connsiteY81" fmla="*/ 128 h 10000"/>
                <a:gd name="connsiteX82" fmla="*/ 1300 w 10000"/>
                <a:gd name="connsiteY82" fmla="*/ 42 h 10000"/>
                <a:gd name="connsiteX83" fmla="*/ 1535 w 10000"/>
                <a:gd name="connsiteY83" fmla="*/ 0 h 10000"/>
                <a:gd name="connsiteX84" fmla="*/ 2272 w 10000"/>
                <a:gd name="connsiteY84" fmla="*/ 42 h 10000"/>
                <a:gd name="connsiteX85" fmla="*/ 2426 w 10000"/>
                <a:gd name="connsiteY85" fmla="*/ 85 h 10000"/>
                <a:gd name="connsiteX86" fmla="*/ 2569 w 10000"/>
                <a:gd name="connsiteY86" fmla="*/ 157 h 10000"/>
                <a:gd name="connsiteX87" fmla="*/ 2712 w 10000"/>
                <a:gd name="connsiteY87" fmla="*/ 229 h 10000"/>
                <a:gd name="connsiteX88" fmla="*/ 2845 w 10000"/>
                <a:gd name="connsiteY88" fmla="*/ 315 h 10000"/>
                <a:gd name="connsiteX89" fmla="*/ 2989 w 10000"/>
                <a:gd name="connsiteY89" fmla="*/ 415 h 10000"/>
                <a:gd name="connsiteX90" fmla="*/ 3112 w 10000"/>
                <a:gd name="connsiteY90" fmla="*/ 501 h 10000"/>
                <a:gd name="connsiteX91" fmla="*/ 3234 w 10000"/>
                <a:gd name="connsiteY91" fmla="*/ 630 h 10000"/>
                <a:gd name="connsiteX92" fmla="*/ 3367 w 10000"/>
                <a:gd name="connsiteY92" fmla="*/ 759 h 10000"/>
                <a:gd name="connsiteX93" fmla="*/ 3490 w 10000"/>
                <a:gd name="connsiteY93" fmla="*/ 888 h 10000"/>
                <a:gd name="connsiteX94" fmla="*/ 3726 w 10000"/>
                <a:gd name="connsiteY94" fmla="*/ 1174 h 10000"/>
                <a:gd name="connsiteX95" fmla="*/ 3941 w 10000"/>
                <a:gd name="connsiteY95" fmla="*/ 1518 h 10000"/>
                <a:gd name="connsiteX96" fmla="*/ 4145 w 10000"/>
                <a:gd name="connsiteY96" fmla="*/ 1876 h 10000"/>
                <a:gd name="connsiteX97" fmla="*/ 4340 w 10000"/>
                <a:gd name="connsiteY97" fmla="*/ 2264 h 10000"/>
                <a:gd name="connsiteX98" fmla="*/ 4534 w 10000"/>
                <a:gd name="connsiteY98" fmla="*/ 2665 h 10000"/>
                <a:gd name="connsiteX99" fmla="*/ 4708 w 10000"/>
                <a:gd name="connsiteY99" fmla="*/ 3080 h 10000"/>
                <a:gd name="connsiteX100" fmla="*/ 4893 w 10000"/>
                <a:gd name="connsiteY100" fmla="*/ 3510 h 10000"/>
                <a:gd name="connsiteX101" fmla="*/ 5056 w 10000"/>
                <a:gd name="connsiteY101" fmla="*/ 3953 h 10000"/>
                <a:gd name="connsiteX102" fmla="*/ 5363 w 10000"/>
                <a:gd name="connsiteY102" fmla="*/ 4856 h 10000"/>
                <a:gd name="connsiteX103" fmla="*/ 5967 w 10000"/>
                <a:gd name="connsiteY103" fmla="*/ 6647 h 10000"/>
                <a:gd name="connsiteX104" fmla="*/ 6254 w 10000"/>
                <a:gd name="connsiteY104" fmla="*/ 7479 h 10000"/>
                <a:gd name="connsiteX105" fmla="*/ 6407 w 10000"/>
                <a:gd name="connsiteY105" fmla="*/ 7837 h 10000"/>
                <a:gd name="connsiteX106" fmla="*/ 6551 w 10000"/>
                <a:gd name="connsiteY106" fmla="*/ 8209 h 10000"/>
                <a:gd name="connsiteX107" fmla="*/ 6714 w 10000"/>
                <a:gd name="connsiteY107" fmla="*/ 8539 h 10000"/>
                <a:gd name="connsiteX108" fmla="*/ 6868 w 10000"/>
                <a:gd name="connsiteY108" fmla="*/ 8826 h 10000"/>
                <a:gd name="connsiteX109" fmla="*/ 7021 w 10000"/>
                <a:gd name="connsiteY109" fmla="*/ 9097 h 10000"/>
                <a:gd name="connsiteX110" fmla="*/ 7195 w 10000"/>
                <a:gd name="connsiteY110" fmla="*/ 9298 h 10000"/>
                <a:gd name="connsiteX111" fmla="*/ 7288 w 10000"/>
                <a:gd name="connsiteY111" fmla="*/ 9398 h 10000"/>
                <a:gd name="connsiteX112" fmla="*/ 7369 w 10000"/>
                <a:gd name="connsiteY112" fmla="*/ 9499 h 10000"/>
                <a:gd name="connsiteX113" fmla="*/ 7462 w 10000"/>
                <a:gd name="connsiteY113" fmla="*/ 9556 h 10000"/>
                <a:gd name="connsiteX114" fmla="*/ 7554 w 10000"/>
                <a:gd name="connsiteY114" fmla="*/ 9628 h 10000"/>
                <a:gd name="connsiteX115" fmla="*/ 7646 w 10000"/>
                <a:gd name="connsiteY115" fmla="*/ 9670 h 10000"/>
                <a:gd name="connsiteX116" fmla="*/ 7748 w 10000"/>
                <a:gd name="connsiteY116" fmla="*/ 9699 h 10000"/>
                <a:gd name="connsiteX117" fmla="*/ 7851 w 10000"/>
                <a:gd name="connsiteY117" fmla="*/ 9742 h 10000"/>
                <a:gd name="connsiteX118" fmla="*/ 7943 w 10000"/>
                <a:gd name="connsiteY118" fmla="*/ 9742 h 10000"/>
                <a:gd name="connsiteX0" fmla="*/ 7943 w 10000"/>
                <a:gd name="connsiteY0" fmla="*/ 9700 h 9958"/>
                <a:gd name="connsiteX1" fmla="*/ 7943 w 10000"/>
                <a:gd name="connsiteY1" fmla="*/ 9700 h 9958"/>
                <a:gd name="connsiteX2" fmla="*/ 8076 w 10000"/>
                <a:gd name="connsiteY2" fmla="*/ 9700 h 9958"/>
                <a:gd name="connsiteX3" fmla="*/ 8178 w 10000"/>
                <a:gd name="connsiteY3" fmla="*/ 9657 h 9958"/>
                <a:gd name="connsiteX4" fmla="*/ 8291 w 10000"/>
                <a:gd name="connsiteY4" fmla="*/ 9614 h 9958"/>
                <a:gd name="connsiteX5" fmla="*/ 8403 w 10000"/>
                <a:gd name="connsiteY5" fmla="*/ 9571 h 9958"/>
                <a:gd name="connsiteX6" fmla="*/ 8506 w 10000"/>
                <a:gd name="connsiteY6" fmla="*/ 9486 h 9958"/>
                <a:gd name="connsiteX7" fmla="*/ 8608 w 10000"/>
                <a:gd name="connsiteY7" fmla="*/ 9385 h 9958"/>
                <a:gd name="connsiteX8" fmla="*/ 8700 w 10000"/>
                <a:gd name="connsiteY8" fmla="*/ 9299 h 9958"/>
                <a:gd name="connsiteX9" fmla="*/ 8802 w 10000"/>
                <a:gd name="connsiteY9" fmla="*/ 9170 h 9958"/>
                <a:gd name="connsiteX10" fmla="*/ 8915 w 10000"/>
                <a:gd name="connsiteY10" fmla="*/ 9041 h 9958"/>
                <a:gd name="connsiteX11" fmla="*/ 9007 w 10000"/>
                <a:gd name="connsiteY11" fmla="*/ 8898 h 9958"/>
                <a:gd name="connsiteX12" fmla="*/ 9191 w 10000"/>
                <a:gd name="connsiteY12" fmla="*/ 8568 h 9958"/>
                <a:gd name="connsiteX13" fmla="*/ 9376 w 10000"/>
                <a:gd name="connsiteY13" fmla="*/ 8196 h 9958"/>
                <a:gd name="connsiteX14" fmla="*/ 9539 w 10000"/>
                <a:gd name="connsiteY14" fmla="*/ 7795 h 9958"/>
                <a:gd name="connsiteX15" fmla="*/ 9775 w 10000"/>
                <a:gd name="connsiteY15" fmla="*/ 8239 h 9958"/>
                <a:gd name="connsiteX16" fmla="*/ 10000 w 10000"/>
                <a:gd name="connsiteY16" fmla="*/ 8654 h 9958"/>
                <a:gd name="connsiteX17" fmla="*/ 9785 w 10000"/>
                <a:gd name="connsiteY17" fmla="*/ 8941 h 9958"/>
                <a:gd name="connsiteX18" fmla="*/ 9570 w 10000"/>
                <a:gd name="connsiteY18" fmla="*/ 9199 h 9958"/>
                <a:gd name="connsiteX19" fmla="*/ 9324 w 10000"/>
                <a:gd name="connsiteY19" fmla="*/ 9427 h 9958"/>
                <a:gd name="connsiteX20" fmla="*/ 9212 w 10000"/>
                <a:gd name="connsiteY20" fmla="*/ 9514 h 9958"/>
                <a:gd name="connsiteX21" fmla="*/ 9079 w 10000"/>
                <a:gd name="connsiteY21" fmla="*/ 9614 h 9958"/>
                <a:gd name="connsiteX22" fmla="*/ 8946 w 10000"/>
                <a:gd name="connsiteY22" fmla="*/ 9700 h 9958"/>
                <a:gd name="connsiteX23" fmla="*/ 8823 w 10000"/>
                <a:gd name="connsiteY23" fmla="*/ 9757 h 9958"/>
                <a:gd name="connsiteX24" fmla="*/ 8680 w 10000"/>
                <a:gd name="connsiteY24" fmla="*/ 9829 h 9958"/>
                <a:gd name="connsiteX25" fmla="*/ 8547 w 10000"/>
                <a:gd name="connsiteY25" fmla="*/ 9872 h 9958"/>
                <a:gd name="connsiteX26" fmla="*/ 8403 w 10000"/>
                <a:gd name="connsiteY26" fmla="*/ 9901 h 9958"/>
                <a:gd name="connsiteX27" fmla="*/ 8260 w 10000"/>
                <a:gd name="connsiteY27" fmla="*/ 9929 h 9958"/>
                <a:gd name="connsiteX28" fmla="*/ 8106 w 10000"/>
                <a:gd name="connsiteY28" fmla="*/ 9958 h 9958"/>
                <a:gd name="connsiteX29" fmla="*/ 7943 w 10000"/>
                <a:gd name="connsiteY29" fmla="*/ 9958 h 9958"/>
                <a:gd name="connsiteX30" fmla="*/ 7779 w 10000"/>
                <a:gd name="connsiteY30" fmla="*/ 9958 h 9958"/>
                <a:gd name="connsiteX31" fmla="*/ 7625 w 10000"/>
                <a:gd name="connsiteY31" fmla="*/ 9915 h 9958"/>
                <a:gd name="connsiteX32" fmla="*/ 7462 w 10000"/>
                <a:gd name="connsiteY32" fmla="*/ 9887 h 9958"/>
                <a:gd name="connsiteX33" fmla="*/ 7308 w 10000"/>
                <a:gd name="connsiteY33" fmla="*/ 9844 h 9958"/>
                <a:gd name="connsiteX34" fmla="*/ 7165 w 10000"/>
                <a:gd name="connsiteY34" fmla="*/ 9771 h 9958"/>
                <a:gd name="connsiteX35" fmla="*/ 7021 w 10000"/>
                <a:gd name="connsiteY35" fmla="*/ 9714 h 9958"/>
                <a:gd name="connsiteX36" fmla="*/ 6888 w 10000"/>
                <a:gd name="connsiteY36" fmla="*/ 9614 h 9958"/>
                <a:gd name="connsiteX37" fmla="*/ 6745 w 10000"/>
                <a:gd name="connsiteY37" fmla="*/ 9514 h 9958"/>
                <a:gd name="connsiteX38" fmla="*/ 6622 w 10000"/>
                <a:gd name="connsiteY38" fmla="*/ 9427 h 9958"/>
                <a:gd name="connsiteX39" fmla="*/ 6479 w 10000"/>
                <a:gd name="connsiteY39" fmla="*/ 9299 h 9958"/>
                <a:gd name="connsiteX40" fmla="*/ 6366 w 10000"/>
                <a:gd name="connsiteY40" fmla="*/ 9185 h 9958"/>
                <a:gd name="connsiteX41" fmla="*/ 6244 w 10000"/>
                <a:gd name="connsiteY41" fmla="*/ 9041 h 9958"/>
                <a:gd name="connsiteX42" fmla="*/ 6008 w 10000"/>
                <a:gd name="connsiteY42" fmla="*/ 8740 h 9958"/>
                <a:gd name="connsiteX43" fmla="*/ 5793 w 10000"/>
                <a:gd name="connsiteY43" fmla="*/ 8411 h 9958"/>
                <a:gd name="connsiteX44" fmla="*/ 5589 w 10000"/>
                <a:gd name="connsiteY44" fmla="*/ 8052 h 9958"/>
                <a:gd name="connsiteX45" fmla="*/ 5394 w 10000"/>
                <a:gd name="connsiteY45" fmla="*/ 7665 h 9958"/>
                <a:gd name="connsiteX46" fmla="*/ 5200 w 10000"/>
                <a:gd name="connsiteY46" fmla="*/ 7264 h 9958"/>
                <a:gd name="connsiteX47" fmla="*/ 5026 w 10000"/>
                <a:gd name="connsiteY47" fmla="*/ 6849 h 9958"/>
                <a:gd name="connsiteX48" fmla="*/ 4852 w 10000"/>
                <a:gd name="connsiteY48" fmla="*/ 6419 h 9958"/>
                <a:gd name="connsiteX49" fmla="*/ 4688 w 10000"/>
                <a:gd name="connsiteY49" fmla="*/ 5975 h 9958"/>
                <a:gd name="connsiteX50" fmla="*/ 4371 w 10000"/>
                <a:gd name="connsiteY50" fmla="*/ 5073 h 9958"/>
                <a:gd name="connsiteX51" fmla="*/ 3777 w 10000"/>
                <a:gd name="connsiteY51" fmla="*/ 3296 h 9958"/>
                <a:gd name="connsiteX52" fmla="*/ 3644 w 10000"/>
                <a:gd name="connsiteY52" fmla="*/ 2851 h 9958"/>
                <a:gd name="connsiteX53" fmla="*/ 3490 w 10000"/>
                <a:gd name="connsiteY53" fmla="*/ 2450 h 9958"/>
                <a:gd name="connsiteX54" fmla="*/ 3347 w 10000"/>
                <a:gd name="connsiteY54" fmla="*/ 2092 h 9958"/>
                <a:gd name="connsiteX55" fmla="*/ 3193 w 10000"/>
                <a:gd name="connsiteY55" fmla="*/ 1720 h 9958"/>
                <a:gd name="connsiteX56" fmla="*/ 3040 w 10000"/>
                <a:gd name="connsiteY56" fmla="*/ 1390 h 9958"/>
                <a:gd name="connsiteX57" fmla="*/ 2886 w 10000"/>
                <a:gd name="connsiteY57" fmla="*/ 1103 h 9958"/>
                <a:gd name="connsiteX58" fmla="*/ 2723 w 10000"/>
                <a:gd name="connsiteY58" fmla="*/ 832 h 9958"/>
                <a:gd name="connsiteX59" fmla="*/ 2559 w 10000"/>
                <a:gd name="connsiteY59" fmla="*/ 631 h 9958"/>
                <a:gd name="connsiteX60" fmla="*/ 2467 w 10000"/>
                <a:gd name="connsiteY60" fmla="*/ 531 h 9958"/>
                <a:gd name="connsiteX61" fmla="*/ 2375 w 10000"/>
                <a:gd name="connsiteY61" fmla="*/ 430 h 9958"/>
                <a:gd name="connsiteX62" fmla="*/ 2282 w 10000"/>
                <a:gd name="connsiteY62" fmla="*/ 373 h 9958"/>
                <a:gd name="connsiteX63" fmla="*/ 2190 w 10000"/>
                <a:gd name="connsiteY63" fmla="*/ 301 h 9958"/>
                <a:gd name="connsiteX64" fmla="*/ 1402 w 10000"/>
                <a:gd name="connsiteY64" fmla="*/ 287 h 9958"/>
                <a:gd name="connsiteX65" fmla="*/ 1279 w 10000"/>
                <a:gd name="connsiteY65" fmla="*/ 373 h 9958"/>
                <a:gd name="connsiteX66" fmla="*/ 1157 w 10000"/>
                <a:gd name="connsiteY66" fmla="*/ 459 h 9958"/>
                <a:gd name="connsiteX67" fmla="*/ 1044 w 10000"/>
                <a:gd name="connsiteY67" fmla="*/ 574 h 9958"/>
                <a:gd name="connsiteX68" fmla="*/ 931 w 10000"/>
                <a:gd name="connsiteY68" fmla="*/ 717 h 9958"/>
                <a:gd name="connsiteX69" fmla="*/ 809 w 10000"/>
                <a:gd name="connsiteY69" fmla="*/ 861 h 9958"/>
                <a:gd name="connsiteX70" fmla="*/ 706 w 10000"/>
                <a:gd name="connsiteY70" fmla="*/ 1046 h 9958"/>
                <a:gd name="connsiteX71" fmla="*/ 604 w 10000"/>
                <a:gd name="connsiteY71" fmla="*/ 1219 h 9958"/>
                <a:gd name="connsiteX72" fmla="*/ 491 w 10000"/>
                <a:gd name="connsiteY72" fmla="*/ 1419 h 9958"/>
                <a:gd name="connsiteX73" fmla="*/ 399 w 10000"/>
                <a:gd name="connsiteY73" fmla="*/ 1620 h 9958"/>
                <a:gd name="connsiteX74" fmla="*/ 194 w 10000"/>
                <a:gd name="connsiteY74" fmla="*/ 2092 h 9958"/>
                <a:gd name="connsiteX75" fmla="*/ 0 w 10000"/>
                <a:gd name="connsiteY75" fmla="*/ 2580 h 9958"/>
                <a:gd name="connsiteX76" fmla="*/ 10 w 10000"/>
                <a:gd name="connsiteY76" fmla="*/ 903 h 9958"/>
                <a:gd name="connsiteX77" fmla="*/ 205 w 10000"/>
                <a:gd name="connsiteY77" fmla="*/ 688 h 9958"/>
                <a:gd name="connsiteX78" fmla="*/ 399 w 10000"/>
                <a:gd name="connsiteY78" fmla="*/ 502 h 9958"/>
                <a:gd name="connsiteX79" fmla="*/ 604 w 10000"/>
                <a:gd name="connsiteY79" fmla="*/ 316 h 9958"/>
                <a:gd name="connsiteX80" fmla="*/ 819 w 10000"/>
                <a:gd name="connsiteY80" fmla="*/ 187 h 9958"/>
                <a:gd name="connsiteX81" fmla="*/ 1054 w 10000"/>
                <a:gd name="connsiteY81" fmla="*/ 86 h 9958"/>
                <a:gd name="connsiteX82" fmla="*/ 1300 w 10000"/>
                <a:gd name="connsiteY82" fmla="*/ 0 h 9958"/>
                <a:gd name="connsiteX83" fmla="*/ 2272 w 10000"/>
                <a:gd name="connsiteY83" fmla="*/ 0 h 9958"/>
                <a:gd name="connsiteX84" fmla="*/ 2426 w 10000"/>
                <a:gd name="connsiteY84" fmla="*/ 43 h 9958"/>
                <a:gd name="connsiteX85" fmla="*/ 2569 w 10000"/>
                <a:gd name="connsiteY85" fmla="*/ 115 h 9958"/>
                <a:gd name="connsiteX86" fmla="*/ 2712 w 10000"/>
                <a:gd name="connsiteY86" fmla="*/ 187 h 9958"/>
                <a:gd name="connsiteX87" fmla="*/ 2845 w 10000"/>
                <a:gd name="connsiteY87" fmla="*/ 273 h 9958"/>
                <a:gd name="connsiteX88" fmla="*/ 2989 w 10000"/>
                <a:gd name="connsiteY88" fmla="*/ 373 h 9958"/>
                <a:gd name="connsiteX89" fmla="*/ 3112 w 10000"/>
                <a:gd name="connsiteY89" fmla="*/ 459 h 9958"/>
                <a:gd name="connsiteX90" fmla="*/ 3234 w 10000"/>
                <a:gd name="connsiteY90" fmla="*/ 588 h 9958"/>
                <a:gd name="connsiteX91" fmla="*/ 3367 w 10000"/>
                <a:gd name="connsiteY91" fmla="*/ 717 h 9958"/>
                <a:gd name="connsiteX92" fmla="*/ 3490 w 10000"/>
                <a:gd name="connsiteY92" fmla="*/ 846 h 9958"/>
                <a:gd name="connsiteX93" fmla="*/ 3726 w 10000"/>
                <a:gd name="connsiteY93" fmla="*/ 1132 h 9958"/>
                <a:gd name="connsiteX94" fmla="*/ 3941 w 10000"/>
                <a:gd name="connsiteY94" fmla="*/ 1476 h 9958"/>
                <a:gd name="connsiteX95" fmla="*/ 4145 w 10000"/>
                <a:gd name="connsiteY95" fmla="*/ 1834 h 9958"/>
                <a:gd name="connsiteX96" fmla="*/ 4340 w 10000"/>
                <a:gd name="connsiteY96" fmla="*/ 2222 h 9958"/>
                <a:gd name="connsiteX97" fmla="*/ 4534 w 10000"/>
                <a:gd name="connsiteY97" fmla="*/ 2623 h 9958"/>
                <a:gd name="connsiteX98" fmla="*/ 4708 w 10000"/>
                <a:gd name="connsiteY98" fmla="*/ 3038 h 9958"/>
                <a:gd name="connsiteX99" fmla="*/ 4893 w 10000"/>
                <a:gd name="connsiteY99" fmla="*/ 3468 h 9958"/>
                <a:gd name="connsiteX100" fmla="*/ 5056 w 10000"/>
                <a:gd name="connsiteY100" fmla="*/ 3911 h 9958"/>
                <a:gd name="connsiteX101" fmla="*/ 5363 w 10000"/>
                <a:gd name="connsiteY101" fmla="*/ 4814 h 9958"/>
                <a:gd name="connsiteX102" fmla="*/ 5967 w 10000"/>
                <a:gd name="connsiteY102" fmla="*/ 6605 h 9958"/>
                <a:gd name="connsiteX103" fmla="*/ 6254 w 10000"/>
                <a:gd name="connsiteY103" fmla="*/ 7437 h 9958"/>
                <a:gd name="connsiteX104" fmla="*/ 6407 w 10000"/>
                <a:gd name="connsiteY104" fmla="*/ 7795 h 9958"/>
                <a:gd name="connsiteX105" fmla="*/ 6551 w 10000"/>
                <a:gd name="connsiteY105" fmla="*/ 8167 h 9958"/>
                <a:gd name="connsiteX106" fmla="*/ 6714 w 10000"/>
                <a:gd name="connsiteY106" fmla="*/ 8497 h 9958"/>
                <a:gd name="connsiteX107" fmla="*/ 6868 w 10000"/>
                <a:gd name="connsiteY107" fmla="*/ 8784 h 9958"/>
                <a:gd name="connsiteX108" fmla="*/ 7021 w 10000"/>
                <a:gd name="connsiteY108" fmla="*/ 9055 h 9958"/>
                <a:gd name="connsiteX109" fmla="*/ 7195 w 10000"/>
                <a:gd name="connsiteY109" fmla="*/ 9256 h 9958"/>
                <a:gd name="connsiteX110" fmla="*/ 7288 w 10000"/>
                <a:gd name="connsiteY110" fmla="*/ 9356 h 9958"/>
                <a:gd name="connsiteX111" fmla="*/ 7369 w 10000"/>
                <a:gd name="connsiteY111" fmla="*/ 9457 h 9958"/>
                <a:gd name="connsiteX112" fmla="*/ 7462 w 10000"/>
                <a:gd name="connsiteY112" fmla="*/ 9514 h 9958"/>
                <a:gd name="connsiteX113" fmla="*/ 7554 w 10000"/>
                <a:gd name="connsiteY113" fmla="*/ 9586 h 9958"/>
                <a:gd name="connsiteX114" fmla="*/ 7646 w 10000"/>
                <a:gd name="connsiteY114" fmla="*/ 9628 h 9958"/>
                <a:gd name="connsiteX115" fmla="*/ 7748 w 10000"/>
                <a:gd name="connsiteY115" fmla="*/ 9657 h 9958"/>
                <a:gd name="connsiteX116" fmla="*/ 7851 w 10000"/>
                <a:gd name="connsiteY116" fmla="*/ 9700 h 9958"/>
                <a:gd name="connsiteX117" fmla="*/ 7943 w 10000"/>
                <a:gd name="connsiteY117" fmla="*/ 9700 h 9958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402 w 10000"/>
                <a:gd name="connsiteY64" fmla="*/ 288 h 10000"/>
                <a:gd name="connsiteX65" fmla="*/ 1279 w 10000"/>
                <a:gd name="connsiteY65" fmla="*/ 375 h 10000"/>
                <a:gd name="connsiteX66" fmla="*/ 1157 w 10000"/>
                <a:gd name="connsiteY66" fmla="*/ 461 h 10000"/>
                <a:gd name="connsiteX67" fmla="*/ 1044 w 10000"/>
                <a:gd name="connsiteY67" fmla="*/ 576 h 10000"/>
                <a:gd name="connsiteX68" fmla="*/ 931 w 10000"/>
                <a:gd name="connsiteY68" fmla="*/ 720 h 10000"/>
                <a:gd name="connsiteX69" fmla="*/ 809 w 10000"/>
                <a:gd name="connsiteY69" fmla="*/ 865 h 10000"/>
                <a:gd name="connsiteX70" fmla="*/ 706 w 10000"/>
                <a:gd name="connsiteY70" fmla="*/ 1050 h 10000"/>
                <a:gd name="connsiteX71" fmla="*/ 604 w 10000"/>
                <a:gd name="connsiteY71" fmla="*/ 1224 h 10000"/>
                <a:gd name="connsiteX72" fmla="*/ 491 w 10000"/>
                <a:gd name="connsiteY72" fmla="*/ 1425 h 10000"/>
                <a:gd name="connsiteX73" fmla="*/ 399 w 10000"/>
                <a:gd name="connsiteY73" fmla="*/ 1627 h 10000"/>
                <a:gd name="connsiteX74" fmla="*/ 194 w 10000"/>
                <a:gd name="connsiteY74" fmla="*/ 2101 h 10000"/>
                <a:gd name="connsiteX75" fmla="*/ 0 w 10000"/>
                <a:gd name="connsiteY75" fmla="*/ 2591 h 10000"/>
                <a:gd name="connsiteX76" fmla="*/ 10 w 10000"/>
                <a:gd name="connsiteY76" fmla="*/ 907 h 10000"/>
                <a:gd name="connsiteX77" fmla="*/ 205 w 10000"/>
                <a:gd name="connsiteY77" fmla="*/ 691 h 10000"/>
                <a:gd name="connsiteX78" fmla="*/ 399 w 10000"/>
                <a:gd name="connsiteY78" fmla="*/ 504 h 10000"/>
                <a:gd name="connsiteX79" fmla="*/ 604 w 10000"/>
                <a:gd name="connsiteY79" fmla="*/ 317 h 10000"/>
                <a:gd name="connsiteX80" fmla="*/ 819 w 10000"/>
                <a:gd name="connsiteY80" fmla="*/ 188 h 10000"/>
                <a:gd name="connsiteX81" fmla="*/ 1054 w 10000"/>
                <a:gd name="connsiteY81" fmla="*/ 86 h 10000"/>
                <a:gd name="connsiteX82" fmla="*/ 2272 w 10000"/>
                <a:gd name="connsiteY82" fmla="*/ 0 h 10000"/>
                <a:gd name="connsiteX83" fmla="*/ 2426 w 10000"/>
                <a:gd name="connsiteY83" fmla="*/ 43 h 10000"/>
                <a:gd name="connsiteX84" fmla="*/ 2569 w 10000"/>
                <a:gd name="connsiteY84" fmla="*/ 115 h 10000"/>
                <a:gd name="connsiteX85" fmla="*/ 2712 w 10000"/>
                <a:gd name="connsiteY85" fmla="*/ 188 h 10000"/>
                <a:gd name="connsiteX86" fmla="*/ 2845 w 10000"/>
                <a:gd name="connsiteY86" fmla="*/ 274 h 10000"/>
                <a:gd name="connsiteX87" fmla="*/ 2989 w 10000"/>
                <a:gd name="connsiteY87" fmla="*/ 375 h 10000"/>
                <a:gd name="connsiteX88" fmla="*/ 3112 w 10000"/>
                <a:gd name="connsiteY88" fmla="*/ 461 h 10000"/>
                <a:gd name="connsiteX89" fmla="*/ 3234 w 10000"/>
                <a:gd name="connsiteY89" fmla="*/ 590 h 10000"/>
                <a:gd name="connsiteX90" fmla="*/ 3367 w 10000"/>
                <a:gd name="connsiteY90" fmla="*/ 720 h 10000"/>
                <a:gd name="connsiteX91" fmla="*/ 3490 w 10000"/>
                <a:gd name="connsiteY91" fmla="*/ 850 h 10000"/>
                <a:gd name="connsiteX92" fmla="*/ 3726 w 10000"/>
                <a:gd name="connsiteY92" fmla="*/ 1137 h 10000"/>
                <a:gd name="connsiteX93" fmla="*/ 3941 w 10000"/>
                <a:gd name="connsiteY93" fmla="*/ 1482 h 10000"/>
                <a:gd name="connsiteX94" fmla="*/ 4145 w 10000"/>
                <a:gd name="connsiteY94" fmla="*/ 1842 h 10000"/>
                <a:gd name="connsiteX95" fmla="*/ 4340 w 10000"/>
                <a:gd name="connsiteY95" fmla="*/ 2231 h 10000"/>
                <a:gd name="connsiteX96" fmla="*/ 4534 w 10000"/>
                <a:gd name="connsiteY96" fmla="*/ 2634 h 10000"/>
                <a:gd name="connsiteX97" fmla="*/ 4708 w 10000"/>
                <a:gd name="connsiteY97" fmla="*/ 3051 h 10000"/>
                <a:gd name="connsiteX98" fmla="*/ 4893 w 10000"/>
                <a:gd name="connsiteY98" fmla="*/ 3483 h 10000"/>
                <a:gd name="connsiteX99" fmla="*/ 5056 w 10000"/>
                <a:gd name="connsiteY99" fmla="*/ 3927 h 10000"/>
                <a:gd name="connsiteX100" fmla="*/ 5363 w 10000"/>
                <a:gd name="connsiteY100" fmla="*/ 4834 h 10000"/>
                <a:gd name="connsiteX101" fmla="*/ 5967 w 10000"/>
                <a:gd name="connsiteY101" fmla="*/ 6633 h 10000"/>
                <a:gd name="connsiteX102" fmla="*/ 6254 w 10000"/>
                <a:gd name="connsiteY102" fmla="*/ 7468 h 10000"/>
                <a:gd name="connsiteX103" fmla="*/ 6407 w 10000"/>
                <a:gd name="connsiteY103" fmla="*/ 7828 h 10000"/>
                <a:gd name="connsiteX104" fmla="*/ 6551 w 10000"/>
                <a:gd name="connsiteY104" fmla="*/ 8201 h 10000"/>
                <a:gd name="connsiteX105" fmla="*/ 6714 w 10000"/>
                <a:gd name="connsiteY105" fmla="*/ 8533 h 10000"/>
                <a:gd name="connsiteX106" fmla="*/ 6868 w 10000"/>
                <a:gd name="connsiteY106" fmla="*/ 8821 h 10000"/>
                <a:gd name="connsiteX107" fmla="*/ 7021 w 10000"/>
                <a:gd name="connsiteY107" fmla="*/ 9093 h 10000"/>
                <a:gd name="connsiteX108" fmla="*/ 7195 w 10000"/>
                <a:gd name="connsiteY108" fmla="*/ 9295 h 10000"/>
                <a:gd name="connsiteX109" fmla="*/ 7288 w 10000"/>
                <a:gd name="connsiteY109" fmla="*/ 9395 h 10000"/>
                <a:gd name="connsiteX110" fmla="*/ 7369 w 10000"/>
                <a:gd name="connsiteY110" fmla="*/ 9497 h 10000"/>
                <a:gd name="connsiteX111" fmla="*/ 7462 w 10000"/>
                <a:gd name="connsiteY111" fmla="*/ 9554 h 10000"/>
                <a:gd name="connsiteX112" fmla="*/ 7554 w 10000"/>
                <a:gd name="connsiteY112" fmla="*/ 9626 h 10000"/>
                <a:gd name="connsiteX113" fmla="*/ 7646 w 10000"/>
                <a:gd name="connsiteY113" fmla="*/ 9669 h 10000"/>
                <a:gd name="connsiteX114" fmla="*/ 7748 w 10000"/>
                <a:gd name="connsiteY114" fmla="*/ 9698 h 10000"/>
                <a:gd name="connsiteX115" fmla="*/ 7851 w 10000"/>
                <a:gd name="connsiteY115" fmla="*/ 9741 h 10000"/>
                <a:gd name="connsiteX116" fmla="*/ 7943 w 10000"/>
                <a:gd name="connsiteY11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279 w 10000"/>
                <a:gd name="connsiteY64" fmla="*/ 375 h 10000"/>
                <a:gd name="connsiteX65" fmla="*/ 1157 w 10000"/>
                <a:gd name="connsiteY65" fmla="*/ 461 h 10000"/>
                <a:gd name="connsiteX66" fmla="*/ 1044 w 10000"/>
                <a:gd name="connsiteY66" fmla="*/ 576 h 10000"/>
                <a:gd name="connsiteX67" fmla="*/ 931 w 10000"/>
                <a:gd name="connsiteY67" fmla="*/ 720 h 10000"/>
                <a:gd name="connsiteX68" fmla="*/ 809 w 10000"/>
                <a:gd name="connsiteY68" fmla="*/ 865 h 10000"/>
                <a:gd name="connsiteX69" fmla="*/ 706 w 10000"/>
                <a:gd name="connsiteY69" fmla="*/ 1050 h 10000"/>
                <a:gd name="connsiteX70" fmla="*/ 604 w 10000"/>
                <a:gd name="connsiteY70" fmla="*/ 1224 h 10000"/>
                <a:gd name="connsiteX71" fmla="*/ 491 w 10000"/>
                <a:gd name="connsiteY71" fmla="*/ 1425 h 10000"/>
                <a:gd name="connsiteX72" fmla="*/ 399 w 10000"/>
                <a:gd name="connsiteY72" fmla="*/ 1627 h 10000"/>
                <a:gd name="connsiteX73" fmla="*/ 194 w 10000"/>
                <a:gd name="connsiteY73" fmla="*/ 2101 h 10000"/>
                <a:gd name="connsiteX74" fmla="*/ 0 w 10000"/>
                <a:gd name="connsiteY74" fmla="*/ 2591 h 10000"/>
                <a:gd name="connsiteX75" fmla="*/ 10 w 10000"/>
                <a:gd name="connsiteY75" fmla="*/ 907 h 10000"/>
                <a:gd name="connsiteX76" fmla="*/ 205 w 10000"/>
                <a:gd name="connsiteY76" fmla="*/ 691 h 10000"/>
                <a:gd name="connsiteX77" fmla="*/ 399 w 10000"/>
                <a:gd name="connsiteY77" fmla="*/ 504 h 10000"/>
                <a:gd name="connsiteX78" fmla="*/ 604 w 10000"/>
                <a:gd name="connsiteY78" fmla="*/ 317 h 10000"/>
                <a:gd name="connsiteX79" fmla="*/ 819 w 10000"/>
                <a:gd name="connsiteY79" fmla="*/ 188 h 10000"/>
                <a:gd name="connsiteX80" fmla="*/ 1054 w 10000"/>
                <a:gd name="connsiteY80" fmla="*/ 86 h 10000"/>
                <a:gd name="connsiteX81" fmla="*/ 2272 w 10000"/>
                <a:gd name="connsiteY81" fmla="*/ 0 h 10000"/>
                <a:gd name="connsiteX82" fmla="*/ 2426 w 10000"/>
                <a:gd name="connsiteY82" fmla="*/ 43 h 10000"/>
                <a:gd name="connsiteX83" fmla="*/ 2569 w 10000"/>
                <a:gd name="connsiteY83" fmla="*/ 115 h 10000"/>
                <a:gd name="connsiteX84" fmla="*/ 2712 w 10000"/>
                <a:gd name="connsiteY84" fmla="*/ 188 h 10000"/>
                <a:gd name="connsiteX85" fmla="*/ 2845 w 10000"/>
                <a:gd name="connsiteY85" fmla="*/ 274 h 10000"/>
                <a:gd name="connsiteX86" fmla="*/ 2989 w 10000"/>
                <a:gd name="connsiteY86" fmla="*/ 375 h 10000"/>
                <a:gd name="connsiteX87" fmla="*/ 3112 w 10000"/>
                <a:gd name="connsiteY87" fmla="*/ 461 h 10000"/>
                <a:gd name="connsiteX88" fmla="*/ 3234 w 10000"/>
                <a:gd name="connsiteY88" fmla="*/ 590 h 10000"/>
                <a:gd name="connsiteX89" fmla="*/ 3367 w 10000"/>
                <a:gd name="connsiteY89" fmla="*/ 720 h 10000"/>
                <a:gd name="connsiteX90" fmla="*/ 3490 w 10000"/>
                <a:gd name="connsiteY90" fmla="*/ 850 h 10000"/>
                <a:gd name="connsiteX91" fmla="*/ 3726 w 10000"/>
                <a:gd name="connsiteY91" fmla="*/ 1137 h 10000"/>
                <a:gd name="connsiteX92" fmla="*/ 3941 w 10000"/>
                <a:gd name="connsiteY92" fmla="*/ 1482 h 10000"/>
                <a:gd name="connsiteX93" fmla="*/ 4145 w 10000"/>
                <a:gd name="connsiteY93" fmla="*/ 1842 h 10000"/>
                <a:gd name="connsiteX94" fmla="*/ 4340 w 10000"/>
                <a:gd name="connsiteY94" fmla="*/ 2231 h 10000"/>
                <a:gd name="connsiteX95" fmla="*/ 4534 w 10000"/>
                <a:gd name="connsiteY95" fmla="*/ 2634 h 10000"/>
                <a:gd name="connsiteX96" fmla="*/ 4708 w 10000"/>
                <a:gd name="connsiteY96" fmla="*/ 3051 h 10000"/>
                <a:gd name="connsiteX97" fmla="*/ 4893 w 10000"/>
                <a:gd name="connsiteY97" fmla="*/ 3483 h 10000"/>
                <a:gd name="connsiteX98" fmla="*/ 5056 w 10000"/>
                <a:gd name="connsiteY98" fmla="*/ 3927 h 10000"/>
                <a:gd name="connsiteX99" fmla="*/ 5363 w 10000"/>
                <a:gd name="connsiteY99" fmla="*/ 4834 h 10000"/>
                <a:gd name="connsiteX100" fmla="*/ 5967 w 10000"/>
                <a:gd name="connsiteY100" fmla="*/ 6633 h 10000"/>
                <a:gd name="connsiteX101" fmla="*/ 6254 w 10000"/>
                <a:gd name="connsiteY101" fmla="*/ 7468 h 10000"/>
                <a:gd name="connsiteX102" fmla="*/ 6407 w 10000"/>
                <a:gd name="connsiteY102" fmla="*/ 7828 h 10000"/>
                <a:gd name="connsiteX103" fmla="*/ 6551 w 10000"/>
                <a:gd name="connsiteY103" fmla="*/ 8201 h 10000"/>
                <a:gd name="connsiteX104" fmla="*/ 6714 w 10000"/>
                <a:gd name="connsiteY104" fmla="*/ 8533 h 10000"/>
                <a:gd name="connsiteX105" fmla="*/ 6868 w 10000"/>
                <a:gd name="connsiteY105" fmla="*/ 8821 h 10000"/>
                <a:gd name="connsiteX106" fmla="*/ 7021 w 10000"/>
                <a:gd name="connsiteY106" fmla="*/ 9093 h 10000"/>
                <a:gd name="connsiteX107" fmla="*/ 7195 w 10000"/>
                <a:gd name="connsiteY107" fmla="*/ 9295 h 10000"/>
                <a:gd name="connsiteX108" fmla="*/ 7288 w 10000"/>
                <a:gd name="connsiteY108" fmla="*/ 9395 h 10000"/>
                <a:gd name="connsiteX109" fmla="*/ 7369 w 10000"/>
                <a:gd name="connsiteY109" fmla="*/ 9497 h 10000"/>
                <a:gd name="connsiteX110" fmla="*/ 7462 w 10000"/>
                <a:gd name="connsiteY110" fmla="*/ 9554 h 10000"/>
                <a:gd name="connsiteX111" fmla="*/ 7554 w 10000"/>
                <a:gd name="connsiteY111" fmla="*/ 9626 h 10000"/>
                <a:gd name="connsiteX112" fmla="*/ 7646 w 10000"/>
                <a:gd name="connsiteY112" fmla="*/ 9669 h 10000"/>
                <a:gd name="connsiteX113" fmla="*/ 7748 w 10000"/>
                <a:gd name="connsiteY113" fmla="*/ 9698 h 10000"/>
                <a:gd name="connsiteX114" fmla="*/ 7851 w 10000"/>
                <a:gd name="connsiteY114" fmla="*/ 9741 h 10000"/>
                <a:gd name="connsiteX115" fmla="*/ 7943 w 10000"/>
                <a:gd name="connsiteY11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157 w 10000"/>
                <a:gd name="connsiteY64" fmla="*/ 461 h 10000"/>
                <a:gd name="connsiteX65" fmla="*/ 1044 w 10000"/>
                <a:gd name="connsiteY65" fmla="*/ 576 h 10000"/>
                <a:gd name="connsiteX66" fmla="*/ 931 w 10000"/>
                <a:gd name="connsiteY66" fmla="*/ 720 h 10000"/>
                <a:gd name="connsiteX67" fmla="*/ 809 w 10000"/>
                <a:gd name="connsiteY67" fmla="*/ 865 h 10000"/>
                <a:gd name="connsiteX68" fmla="*/ 706 w 10000"/>
                <a:gd name="connsiteY68" fmla="*/ 1050 h 10000"/>
                <a:gd name="connsiteX69" fmla="*/ 604 w 10000"/>
                <a:gd name="connsiteY69" fmla="*/ 1224 h 10000"/>
                <a:gd name="connsiteX70" fmla="*/ 491 w 10000"/>
                <a:gd name="connsiteY70" fmla="*/ 1425 h 10000"/>
                <a:gd name="connsiteX71" fmla="*/ 399 w 10000"/>
                <a:gd name="connsiteY71" fmla="*/ 1627 h 10000"/>
                <a:gd name="connsiteX72" fmla="*/ 194 w 10000"/>
                <a:gd name="connsiteY72" fmla="*/ 2101 h 10000"/>
                <a:gd name="connsiteX73" fmla="*/ 0 w 10000"/>
                <a:gd name="connsiteY73" fmla="*/ 2591 h 10000"/>
                <a:gd name="connsiteX74" fmla="*/ 10 w 10000"/>
                <a:gd name="connsiteY74" fmla="*/ 907 h 10000"/>
                <a:gd name="connsiteX75" fmla="*/ 205 w 10000"/>
                <a:gd name="connsiteY75" fmla="*/ 691 h 10000"/>
                <a:gd name="connsiteX76" fmla="*/ 399 w 10000"/>
                <a:gd name="connsiteY76" fmla="*/ 504 h 10000"/>
                <a:gd name="connsiteX77" fmla="*/ 604 w 10000"/>
                <a:gd name="connsiteY77" fmla="*/ 317 h 10000"/>
                <a:gd name="connsiteX78" fmla="*/ 819 w 10000"/>
                <a:gd name="connsiteY78" fmla="*/ 188 h 10000"/>
                <a:gd name="connsiteX79" fmla="*/ 1054 w 10000"/>
                <a:gd name="connsiteY79" fmla="*/ 86 h 10000"/>
                <a:gd name="connsiteX80" fmla="*/ 2272 w 10000"/>
                <a:gd name="connsiteY80" fmla="*/ 0 h 10000"/>
                <a:gd name="connsiteX81" fmla="*/ 2426 w 10000"/>
                <a:gd name="connsiteY81" fmla="*/ 43 h 10000"/>
                <a:gd name="connsiteX82" fmla="*/ 2569 w 10000"/>
                <a:gd name="connsiteY82" fmla="*/ 115 h 10000"/>
                <a:gd name="connsiteX83" fmla="*/ 2712 w 10000"/>
                <a:gd name="connsiteY83" fmla="*/ 188 h 10000"/>
                <a:gd name="connsiteX84" fmla="*/ 2845 w 10000"/>
                <a:gd name="connsiteY84" fmla="*/ 274 h 10000"/>
                <a:gd name="connsiteX85" fmla="*/ 2989 w 10000"/>
                <a:gd name="connsiteY85" fmla="*/ 375 h 10000"/>
                <a:gd name="connsiteX86" fmla="*/ 3112 w 10000"/>
                <a:gd name="connsiteY86" fmla="*/ 461 h 10000"/>
                <a:gd name="connsiteX87" fmla="*/ 3234 w 10000"/>
                <a:gd name="connsiteY87" fmla="*/ 590 h 10000"/>
                <a:gd name="connsiteX88" fmla="*/ 3367 w 10000"/>
                <a:gd name="connsiteY88" fmla="*/ 720 h 10000"/>
                <a:gd name="connsiteX89" fmla="*/ 3490 w 10000"/>
                <a:gd name="connsiteY89" fmla="*/ 850 h 10000"/>
                <a:gd name="connsiteX90" fmla="*/ 3726 w 10000"/>
                <a:gd name="connsiteY90" fmla="*/ 1137 h 10000"/>
                <a:gd name="connsiteX91" fmla="*/ 3941 w 10000"/>
                <a:gd name="connsiteY91" fmla="*/ 1482 h 10000"/>
                <a:gd name="connsiteX92" fmla="*/ 4145 w 10000"/>
                <a:gd name="connsiteY92" fmla="*/ 1842 h 10000"/>
                <a:gd name="connsiteX93" fmla="*/ 4340 w 10000"/>
                <a:gd name="connsiteY93" fmla="*/ 2231 h 10000"/>
                <a:gd name="connsiteX94" fmla="*/ 4534 w 10000"/>
                <a:gd name="connsiteY94" fmla="*/ 2634 h 10000"/>
                <a:gd name="connsiteX95" fmla="*/ 4708 w 10000"/>
                <a:gd name="connsiteY95" fmla="*/ 3051 h 10000"/>
                <a:gd name="connsiteX96" fmla="*/ 4893 w 10000"/>
                <a:gd name="connsiteY96" fmla="*/ 3483 h 10000"/>
                <a:gd name="connsiteX97" fmla="*/ 5056 w 10000"/>
                <a:gd name="connsiteY97" fmla="*/ 3927 h 10000"/>
                <a:gd name="connsiteX98" fmla="*/ 5363 w 10000"/>
                <a:gd name="connsiteY98" fmla="*/ 4834 h 10000"/>
                <a:gd name="connsiteX99" fmla="*/ 5967 w 10000"/>
                <a:gd name="connsiteY99" fmla="*/ 6633 h 10000"/>
                <a:gd name="connsiteX100" fmla="*/ 6254 w 10000"/>
                <a:gd name="connsiteY100" fmla="*/ 7468 h 10000"/>
                <a:gd name="connsiteX101" fmla="*/ 6407 w 10000"/>
                <a:gd name="connsiteY101" fmla="*/ 7828 h 10000"/>
                <a:gd name="connsiteX102" fmla="*/ 6551 w 10000"/>
                <a:gd name="connsiteY102" fmla="*/ 8201 h 10000"/>
                <a:gd name="connsiteX103" fmla="*/ 6714 w 10000"/>
                <a:gd name="connsiteY103" fmla="*/ 8533 h 10000"/>
                <a:gd name="connsiteX104" fmla="*/ 6868 w 10000"/>
                <a:gd name="connsiteY104" fmla="*/ 8821 h 10000"/>
                <a:gd name="connsiteX105" fmla="*/ 7021 w 10000"/>
                <a:gd name="connsiteY105" fmla="*/ 9093 h 10000"/>
                <a:gd name="connsiteX106" fmla="*/ 7195 w 10000"/>
                <a:gd name="connsiteY106" fmla="*/ 9295 h 10000"/>
                <a:gd name="connsiteX107" fmla="*/ 7288 w 10000"/>
                <a:gd name="connsiteY107" fmla="*/ 9395 h 10000"/>
                <a:gd name="connsiteX108" fmla="*/ 7369 w 10000"/>
                <a:gd name="connsiteY108" fmla="*/ 9497 h 10000"/>
                <a:gd name="connsiteX109" fmla="*/ 7462 w 10000"/>
                <a:gd name="connsiteY109" fmla="*/ 9554 h 10000"/>
                <a:gd name="connsiteX110" fmla="*/ 7554 w 10000"/>
                <a:gd name="connsiteY110" fmla="*/ 9626 h 10000"/>
                <a:gd name="connsiteX111" fmla="*/ 7646 w 10000"/>
                <a:gd name="connsiteY111" fmla="*/ 9669 h 10000"/>
                <a:gd name="connsiteX112" fmla="*/ 7748 w 10000"/>
                <a:gd name="connsiteY112" fmla="*/ 9698 h 10000"/>
                <a:gd name="connsiteX113" fmla="*/ 7851 w 10000"/>
                <a:gd name="connsiteY113" fmla="*/ 9741 h 10000"/>
                <a:gd name="connsiteX114" fmla="*/ 7943 w 10000"/>
                <a:gd name="connsiteY11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1054 w 10000"/>
                <a:gd name="connsiteY78" fmla="*/ 86 h 10000"/>
                <a:gd name="connsiteX79" fmla="*/ 2272 w 10000"/>
                <a:gd name="connsiteY79" fmla="*/ 0 h 10000"/>
                <a:gd name="connsiteX80" fmla="*/ 2426 w 10000"/>
                <a:gd name="connsiteY80" fmla="*/ 43 h 10000"/>
                <a:gd name="connsiteX81" fmla="*/ 2569 w 10000"/>
                <a:gd name="connsiteY81" fmla="*/ 115 h 10000"/>
                <a:gd name="connsiteX82" fmla="*/ 2712 w 10000"/>
                <a:gd name="connsiteY82" fmla="*/ 188 h 10000"/>
                <a:gd name="connsiteX83" fmla="*/ 2845 w 10000"/>
                <a:gd name="connsiteY83" fmla="*/ 274 h 10000"/>
                <a:gd name="connsiteX84" fmla="*/ 2989 w 10000"/>
                <a:gd name="connsiteY84" fmla="*/ 375 h 10000"/>
                <a:gd name="connsiteX85" fmla="*/ 3112 w 10000"/>
                <a:gd name="connsiteY85" fmla="*/ 461 h 10000"/>
                <a:gd name="connsiteX86" fmla="*/ 3234 w 10000"/>
                <a:gd name="connsiteY86" fmla="*/ 590 h 10000"/>
                <a:gd name="connsiteX87" fmla="*/ 3367 w 10000"/>
                <a:gd name="connsiteY87" fmla="*/ 720 h 10000"/>
                <a:gd name="connsiteX88" fmla="*/ 3490 w 10000"/>
                <a:gd name="connsiteY88" fmla="*/ 850 h 10000"/>
                <a:gd name="connsiteX89" fmla="*/ 3726 w 10000"/>
                <a:gd name="connsiteY89" fmla="*/ 1137 h 10000"/>
                <a:gd name="connsiteX90" fmla="*/ 3941 w 10000"/>
                <a:gd name="connsiteY90" fmla="*/ 1482 h 10000"/>
                <a:gd name="connsiteX91" fmla="*/ 4145 w 10000"/>
                <a:gd name="connsiteY91" fmla="*/ 1842 h 10000"/>
                <a:gd name="connsiteX92" fmla="*/ 4340 w 10000"/>
                <a:gd name="connsiteY92" fmla="*/ 2231 h 10000"/>
                <a:gd name="connsiteX93" fmla="*/ 4534 w 10000"/>
                <a:gd name="connsiteY93" fmla="*/ 2634 h 10000"/>
                <a:gd name="connsiteX94" fmla="*/ 4708 w 10000"/>
                <a:gd name="connsiteY94" fmla="*/ 3051 h 10000"/>
                <a:gd name="connsiteX95" fmla="*/ 4893 w 10000"/>
                <a:gd name="connsiteY95" fmla="*/ 3483 h 10000"/>
                <a:gd name="connsiteX96" fmla="*/ 5056 w 10000"/>
                <a:gd name="connsiteY96" fmla="*/ 3927 h 10000"/>
                <a:gd name="connsiteX97" fmla="*/ 5363 w 10000"/>
                <a:gd name="connsiteY97" fmla="*/ 4834 h 10000"/>
                <a:gd name="connsiteX98" fmla="*/ 5967 w 10000"/>
                <a:gd name="connsiteY98" fmla="*/ 6633 h 10000"/>
                <a:gd name="connsiteX99" fmla="*/ 6254 w 10000"/>
                <a:gd name="connsiteY99" fmla="*/ 7468 h 10000"/>
                <a:gd name="connsiteX100" fmla="*/ 6407 w 10000"/>
                <a:gd name="connsiteY100" fmla="*/ 7828 h 10000"/>
                <a:gd name="connsiteX101" fmla="*/ 6551 w 10000"/>
                <a:gd name="connsiteY101" fmla="*/ 8201 h 10000"/>
                <a:gd name="connsiteX102" fmla="*/ 6714 w 10000"/>
                <a:gd name="connsiteY102" fmla="*/ 8533 h 10000"/>
                <a:gd name="connsiteX103" fmla="*/ 6868 w 10000"/>
                <a:gd name="connsiteY103" fmla="*/ 8821 h 10000"/>
                <a:gd name="connsiteX104" fmla="*/ 7021 w 10000"/>
                <a:gd name="connsiteY104" fmla="*/ 9093 h 10000"/>
                <a:gd name="connsiteX105" fmla="*/ 7195 w 10000"/>
                <a:gd name="connsiteY105" fmla="*/ 9295 h 10000"/>
                <a:gd name="connsiteX106" fmla="*/ 7288 w 10000"/>
                <a:gd name="connsiteY106" fmla="*/ 9395 h 10000"/>
                <a:gd name="connsiteX107" fmla="*/ 7369 w 10000"/>
                <a:gd name="connsiteY107" fmla="*/ 9497 h 10000"/>
                <a:gd name="connsiteX108" fmla="*/ 7462 w 10000"/>
                <a:gd name="connsiteY108" fmla="*/ 9554 h 10000"/>
                <a:gd name="connsiteX109" fmla="*/ 7554 w 10000"/>
                <a:gd name="connsiteY109" fmla="*/ 9626 h 10000"/>
                <a:gd name="connsiteX110" fmla="*/ 7646 w 10000"/>
                <a:gd name="connsiteY110" fmla="*/ 9669 h 10000"/>
                <a:gd name="connsiteX111" fmla="*/ 7748 w 10000"/>
                <a:gd name="connsiteY111" fmla="*/ 9698 h 10000"/>
                <a:gd name="connsiteX112" fmla="*/ 7851 w 10000"/>
                <a:gd name="connsiteY112" fmla="*/ 9741 h 10000"/>
                <a:gd name="connsiteX113" fmla="*/ 7943 w 10000"/>
                <a:gd name="connsiteY11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2272 w 10000"/>
                <a:gd name="connsiteY78" fmla="*/ 0 h 10000"/>
                <a:gd name="connsiteX79" fmla="*/ 2426 w 10000"/>
                <a:gd name="connsiteY79" fmla="*/ 43 h 10000"/>
                <a:gd name="connsiteX80" fmla="*/ 2569 w 10000"/>
                <a:gd name="connsiteY80" fmla="*/ 115 h 10000"/>
                <a:gd name="connsiteX81" fmla="*/ 2712 w 10000"/>
                <a:gd name="connsiteY81" fmla="*/ 188 h 10000"/>
                <a:gd name="connsiteX82" fmla="*/ 2845 w 10000"/>
                <a:gd name="connsiteY82" fmla="*/ 274 h 10000"/>
                <a:gd name="connsiteX83" fmla="*/ 2989 w 10000"/>
                <a:gd name="connsiteY83" fmla="*/ 375 h 10000"/>
                <a:gd name="connsiteX84" fmla="*/ 3112 w 10000"/>
                <a:gd name="connsiteY84" fmla="*/ 461 h 10000"/>
                <a:gd name="connsiteX85" fmla="*/ 3234 w 10000"/>
                <a:gd name="connsiteY85" fmla="*/ 590 h 10000"/>
                <a:gd name="connsiteX86" fmla="*/ 3367 w 10000"/>
                <a:gd name="connsiteY86" fmla="*/ 720 h 10000"/>
                <a:gd name="connsiteX87" fmla="*/ 3490 w 10000"/>
                <a:gd name="connsiteY87" fmla="*/ 850 h 10000"/>
                <a:gd name="connsiteX88" fmla="*/ 3726 w 10000"/>
                <a:gd name="connsiteY88" fmla="*/ 1137 h 10000"/>
                <a:gd name="connsiteX89" fmla="*/ 3941 w 10000"/>
                <a:gd name="connsiteY89" fmla="*/ 1482 h 10000"/>
                <a:gd name="connsiteX90" fmla="*/ 4145 w 10000"/>
                <a:gd name="connsiteY90" fmla="*/ 1842 h 10000"/>
                <a:gd name="connsiteX91" fmla="*/ 4340 w 10000"/>
                <a:gd name="connsiteY91" fmla="*/ 2231 h 10000"/>
                <a:gd name="connsiteX92" fmla="*/ 4534 w 10000"/>
                <a:gd name="connsiteY92" fmla="*/ 2634 h 10000"/>
                <a:gd name="connsiteX93" fmla="*/ 4708 w 10000"/>
                <a:gd name="connsiteY93" fmla="*/ 3051 h 10000"/>
                <a:gd name="connsiteX94" fmla="*/ 4893 w 10000"/>
                <a:gd name="connsiteY94" fmla="*/ 3483 h 10000"/>
                <a:gd name="connsiteX95" fmla="*/ 5056 w 10000"/>
                <a:gd name="connsiteY95" fmla="*/ 3927 h 10000"/>
                <a:gd name="connsiteX96" fmla="*/ 5363 w 10000"/>
                <a:gd name="connsiteY96" fmla="*/ 4834 h 10000"/>
                <a:gd name="connsiteX97" fmla="*/ 5967 w 10000"/>
                <a:gd name="connsiteY97" fmla="*/ 6633 h 10000"/>
                <a:gd name="connsiteX98" fmla="*/ 6254 w 10000"/>
                <a:gd name="connsiteY98" fmla="*/ 7468 h 10000"/>
                <a:gd name="connsiteX99" fmla="*/ 6407 w 10000"/>
                <a:gd name="connsiteY99" fmla="*/ 7828 h 10000"/>
                <a:gd name="connsiteX100" fmla="*/ 6551 w 10000"/>
                <a:gd name="connsiteY100" fmla="*/ 8201 h 10000"/>
                <a:gd name="connsiteX101" fmla="*/ 6714 w 10000"/>
                <a:gd name="connsiteY101" fmla="*/ 8533 h 10000"/>
                <a:gd name="connsiteX102" fmla="*/ 6868 w 10000"/>
                <a:gd name="connsiteY102" fmla="*/ 8821 h 10000"/>
                <a:gd name="connsiteX103" fmla="*/ 7021 w 10000"/>
                <a:gd name="connsiteY103" fmla="*/ 9093 h 10000"/>
                <a:gd name="connsiteX104" fmla="*/ 7195 w 10000"/>
                <a:gd name="connsiteY104" fmla="*/ 9295 h 10000"/>
                <a:gd name="connsiteX105" fmla="*/ 7288 w 10000"/>
                <a:gd name="connsiteY105" fmla="*/ 9395 h 10000"/>
                <a:gd name="connsiteX106" fmla="*/ 7369 w 10000"/>
                <a:gd name="connsiteY106" fmla="*/ 9497 h 10000"/>
                <a:gd name="connsiteX107" fmla="*/ 7462 w 10000"/>
                <a:gd name="connsiteY107" fmla="*/ 9554 h 10000"/>
                <a:gd name="connsiteX108" fmla="*/ 7554 w 10000"/>
                <a:gd name="connsiteY108" fmla="*/ 9626 h 10000"/>
                <a:gd name="connsiteX109" fmla="*/ 7646 w 10000"/>
                <a:gd name="connsiteY109" fmla="*/ 9669 h 10000"/>
                <a:gd name="connsiteX110" fmla="*/ 7748 w 10000"/>
                <a:gd name="connsiteY110" fmla="*/ 9698 h 10000"/>
                <a:gd name="connsiteX111" fmla="*/ 7851 w 10000"/>
                <a:gd name="connsiteY111" fmla="*/ 9741 h 10000"/>
                <a:gd name="connsiteX112" fmla="*/ 7943 w 10000"/>
                <a:gd name="connsiteY11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819 w 10000"/>
                <a:gd name="connsiteY76" fmla="*/ 188 h 10000"/>
                <a:gd name="connsiteX77" fmla="*/ 2272 w 10000"/>
                <a:gd name="connsiteY77" fmla="*/ 0 h 10000"/>
                <a:gd name="connsiteX78" fmla="*/ 2426 w 10000"/>
                <a:gd name="connsiteY78" fmla="*/ 43 h 10000"/>
                <a:gd name="connsiteX79" fmla="*/ 2569 w 10000"/>
                <a:gd name="connsiteY79" fmla="*/ 115 h 10000"/>
                <a:gd name="connsiteX80" fmla="*/ 2712 w 10000"/>
                <a:gd name="connsiteY80" fmla="*/ 188 h 10000"/>
                <a:gd name="connsiteX81" fmla="*/ 2845 w 10000"/>
                <a:gd name="connsiteY81" fmla="*/ 274 h 10000"/>
                <a:gd name="connsiteX82" fmla="*/ 2989 w 10000"/>
                <a:gd name="connsiteY82" fmla="*/ 375 h 10000"/>
                <a:gd name="connsiteX83" fmla="*/ 3112 w 10000"/>
                <a:gd name="connsiteY83" fmla="*/ 461 h 10000"/>
                <a:gd name="connsiteX84" fmla="*/ 3234 w 10000"/>
                <a:gd name="connsiteY84" fmla="*/ 590 h 10000"/>
                <a:gd name="connsiteX85" fmla="*/ 3367 w 10000"/>
                <a:gd name="connsiteY85" fmla="*/ 720 h 10000"/>
                <a:gd name="connsiteX86" fmla="*/ 3490 w 10000"/>
                <a:gd name="connsiteY86" fmla="*/ 850 h 10000"/>
                <a:gd name="connsiteX87" fmla="*/ 3726 w 10000"/>
                <a:gd name="connsiteY87" fmla="*/ 1137 h 10000"/>
                <a:gd name="connsiteX88" fmla="*/ 3941 w 10000"/>
                <a:gd name="connsiteY88" fmla="*/ 1482 h 10000"/>
                <a:gd name="connsiteX89" fmla="*/ 4145 w 10000"/>
                <a:gd name="connsiteY89" fmla="*/ 1842 h 10000"/>
                <a:gd name="connsiteX90" fmla="*/ 4340 w 10000"/>
                <a:gd name="connsiteY90" fmla="*/ 2231 h 10000"/>
                <a:gd name="connsiteX91" fmla="*/ 4534 w 10000"/>
                <a:gd name="connsiteY91" fmla="*/ 2634 h 10000"/>
                <a:gd name="connsiteX92" fmla="*/ 4708 w 10000"/>
                <a:gd name="connsiteY92" fmla="*/ 3051 h 10000"/>
                <a:gd name="connsiteX93" fmla="*/ 4893 w 10000"/>
                <a:gd name="connsiteY93" fmla="*/ 3483 h 10000"/>
                <a:gd name="connsiteX94" fmla="*/ 5056 w 10000"/>
                <a:gd name="connsiteY94" fmla="*/ 3927 h 10000"/>
                <a:gd name="connsiteX95" fmla="*/ 5363 w 10000"/>
                <a:gd name="connsiteY95" fmla="*/ 4834 h 10000"/>
                <a:gd name="connsiteX96" fmla="*/ 5967 w 10000"/>
                <a:gd name="connsiteY96" fmla="*/ 6633 h 10000"/>
                <a:gd name="connsiteX97" fmla="*/ 6254 w 10000"/>
                <a:gd name="connsiteY97" fmla="*/ 7468 h 10000"/>
                <a:gd name="connsiteX98" fmla="*/ 6407 w 10000"/>
                <a:gd name="connsiteY98" fmla="*/ 7828 h 10000"/>
                <a:gd name="connsiteX99" fmla="*/ 6551 w 10000"/>
                <a:gd name="connsiteY99" fmla="*/ 8201 h 10000"/>
                <a:gd name="connsiteX100" fmla="*/ 6714 w 10000"/>
                <a:gd name="connsiteY100" fmla="*/ 8533 h 10000"/>
                <a:gd name="connsiteX101" fmla="*/ 6868 w 10000"/>
                <a:gd name="connsiteY101" fmla="*/ 8821 h 10000"/>
                <a:gd name="connsiteX102" fmla="*/ 7021 w 10000"/>
                <a:gd name="connsiteY102" fmla="*/ 9093 h 10000"/>
                <a:gd name="connsiteX103" fmla="*/ 7195 w 10000"/>
                <a:gd name="connsiteY103" fmla="*/ 9295 h 10000"/>
                <a:gd name="connsiteX104" fmla="*/ 7288 w 10000"/>
                <a:gd name="connsiteY104" fmla="*/ 9395 h 10000"/>
                <a:gd name="connsiteX105" fmla="*/ 7369 w 10000"/>
                <a:gd name="connsiteY105" fmla="*/ 9497 h 10000"/>
                <a:gd name="connsiteX106" fmla="*/ 7462 w 10000"/>
                <a:gd name="connsiteY106" fmla="*/ 9554 h 10000"/>
                <a:gd name="connsiteX107" fmla="*/ 7554 w 10000"/>
                <a:gd name="connsiteY107" fmla="*/ 9626 h 10000"/>
                <a:gd name="connsiteX108" fmla="*/ 7646 w 10000"/>
                <a:gd name="connsiteY108" fmla="*/ 9669 h 10000"/>
                <a:gd name="connsiteX109" fmla="*/ 7748 w 10000"/>
                <a:gd name="connsiteY109" fmla="*/ 9698 h 10000"/>
                <a:gd name="connsiteX110" fmla="*/ 7851 w 10000"/>
                <a:gd name="connsiteY110" fmla="*/ 9741 h 10000"/>
                <a:gd name="connsiteX111" fmla="*/ 7943 w 10000"/>
                <a:gd name="connsiteY11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2272 w 10000"/>
                <a:gd name="connsiteY76" fmla="*/ 0 h 10000"/>
                <a:gd name="connsiteX77" fmla="*/ 2426 w 10000"/>
                <a:gd name="connsiteY77" fmla="*/ 43 h 10000"/>
                <a:gd name="connsiteX78" fmla="*/ 2569 w 10000"/>
                <a:gd name="connsiteY78" fmla="*/ 115 h 10000"/>
                <a:gd name="connsiteX79" fmla="*/ 2712 w 10000"/>
                <a:gd name="connsiteY79" fmla="*/ 188 h 10000"/>
                <a:gd name="connsiteX80" fmla="*/ 2845 w 10000"/>
                <a:gd name="connsiteY80" fmla="*/ 274 h 10000"/>
                <a:gd name="connsiteX81" fmla="*/ 2989 w 10000"/>
                <a:gd name="connsiteY81" fmla="*/ 375 h 10000"/>
                <a:gd name="connsiteX82" fmla="*/ 3112 w 10000"/>
                <a:gd name="connsiteY82" fmla="*/ 461 h 10000"/>
                <a:gd name="connsiteX83" fmla="*/ 3234 w 10000"/>
                <a:gd name="connsiteY83" fmla="*/ 590 h 10000"/>
                <a:gd name="connsiteX84" fmla="*/ 3367 w 10000"/>
                <a:gd name="connsiteY84" fmla="*/ 720 h 10000"/>
                <a:gd name="connsiteX85" fmla="*/ 3490 w 10000"/>
                <a:gd name="connsiteY85" fmla="*/ 850 h 10000"/>
                <a:gd name="connsiteX86" fmla="*/ 3726 w 10000"/>
                <a:gd name="connsiteY86" fmla="*/ 1137 h 10000"/>
                <a:gd name="connsiteX87" fmla="*/ 3941 w 10000"/>
                <a:gd name="connsiteY87" fmla="*/ 1482 h 10000"/>
                <a:gd name="connsiteX88" fmla="*/ 4145 w 10000"/>
                <a:gd name="connsiteY88" fmla="*/ 1842 h 10000"/>
                <a:gd name="connsiteX89" fmla="*/ 4340 w 10000"/>
                <a:gd name="connsiteY89" fmla="*/ 2231 h 10000"/>
                <a:gd name="connsiteX90" fmla="*/ 4534 w 10000"/>
                <a:gd name="connsiteY90" fmla="*/ 2634 h 10000"/>
                <a:gd name="connsiteX91" fmla="*/ 4708 w 10000"/>
                <a:gd name="connsiteY91" fmla="*/ 3051 h 10000"/>
                <a:gd name="connsiteX92" fmla="*/ 4893 w 10000"/>
                <a:gd name="connsiteY92" fmla="*/ 3483 h 10000"/>
                <a:gd name="connsiteX93" fmla="*/ 5056 w 10000"/>
                <a:gd name="connsiteY93" fmla="*/ 3927 h 10000"/>
                <a:gd name="connsiteX94" fmla="*/ 5363 w 10000"/>
                <a:gd name="connsiteY94" fmla="*/ 4834 h 10000"/>
                <a:gd name="connsiteX95" fmla="*/ 5967 w 10000"/>
                <a:gd name="connsiteY95" fmla="*/ 6633 h 10000"/>
                <a:gd name="connsiteX96" fmla="*/ 6254 w 10000"/>
                <a:gd name="connsiteY96" fmla="*/ 7468 h 10000"/>
                <a:gd name="connsiteX97" fmla="*/ 6407 w 10000"/>
                <a:gd name="connsiteY97" fmla="*/ 7828 h 10000"/>
                <a:gd name="connsiteX98" fmla="*/ 6551 w 10000"/>
                <a:gd name="connsiteY98" fmla="*/ 8201 h 10000"/>
                <a:gd name="connsiteX99" fmla="*/ 6714 w 10000"/>
                <a:gd name="connsiteY99" fmla="*/ 8533 h 10000"/>
                <a:gd name="connsiteX100" fmla="*/ 6868 w 10000"/>
                <a:gd name="connsiteY100" fmla="*/ 8821 h 10000"/>
                <a:gd name="connsiteX101" fmla="*/ 7021 w 10000"/>
                <a:gd name="connsiteY101" fmla="*/ 9093 h 10000"/>
                <a:gd name="connsiteX102" fmla="*/ 7195 w 10000"/>
                <a:gd name="connsiteY102" fmla="*/ 9295 h 10000"/>
                <a:gd name="connsiteX103" fmla="*/ 7288 w 10000"/>
                <a:gd name="connsiteY103" fmla="*/ 9395 h 10000"/>
                <a:gd name="connsiteX104" fmla="*/ 7369 w 10000"/>
                <a:gd name="connsiteY104" fmla="*/ 9497 h 10000"/>
                <a:gd name="connsiteX105" fmla="*/ 7462 w 10000"/>
                <a:gd name="connsiteY105" fmla="*/ 9554 h 10000"/>
                <a:gd name="connsiteX106" fmla="*/ 7554 w 10000"/>
                <a:gd name="connsiteY106" fmla="*/ 9626 h 10000"/>
                <a:gd name="connsiteX107" fmla="*/ 7646 w 10000"/>
                <a:gd name="connsiteY107" fmla="*/ 9669 h 10000"/>
                <a:gd name="connsiteX108" fmla="*/ 7748 w 10000"/>
                <a:gd name="connsiteY108" fmla="*/ 9698 h 10000"/>
                <a:gd name="connsiteX109" fmla="*/ 7851 w 10000"/>
                <a:gd name="connsiteY109" fmla="*/ 9741 h 10000"/>
                <a:gd name="connsiteX110" fmla="*/ 7943 w 10000"/>
                <a:gd name="connsiteY110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706 w 10000"/>
                <a:gd name="connsiteY65" fmla="*/ 1050 h 10000"/>
                <a:gd name="connsiteX66" fmla="*/ 604 w 10000"/>
                <a:gd name="connsiteY66" fmla="*/ 1224 h 10000"/>
                <a:gd name="connsiteX67" fmla="*/ 491 w 10000"/>
                <a:gd name="connsiteY67" fmla="*/ 1425 h 10000"/>
                <a:gd name="connsiteX68" fmla="*/ 399 w 10000"/>
                <a:gd name="connsiteY68" fmla="*/ 1627 h 10000"/>
                <a:gd name="connsiteX69" fmla="*/ 194 w 10000"/>
                <a:gd name="connsiteY69" fmla="*/ 2101 h 10000"/>
                <a:gd name="connsiteX70" fmla="*/ 0 w 10000"/>
                <a:gd name="connsiteY70" fmla="*/ 2591 h 10000"/>
                <a:gd name="connsiteX71" fmla="*/ 10 w 10000"/>
                <a:gd name="connsiteY71" fmla="*/ 907 h 10000"/>
                <a:gd name="connsiteX72" fmla="*/ 205 w 10000"/>
                <a:gd name="connsiteY72" fmla="*/ 691 h 10000"/>
                <a:gd name="connsiteX73" fmla="*/ 399 w 10000"/>
                <a:gd name="connsiteY73" fmla="*/ 504 h 10000"/>
                <a:gd name="connsiteX74" fmla="*/ 604 w 10000"/>
                <a:gd name="connsiteY74" fmla="*/ 317 h 10000"/>
                <a:gd name="connsiteX75" fmla="*/ 2272 w 10000"/>
                <a:gd name="connsiteY75" fmla="*/ 0 h 10000"/>
                <a:gd name="connsiteX76" fmla="*/ 2426 w 10000"/>
                <a:gd name="connsiteY76" fmla="*/ 43 h 10000"/>
                <a:gd name="connsiteX77" fmla="*/ 2569 w 10000"/>
                <a:gd name="connsiteY77" fmla="*/ 115 h 10000"/>
                <a:gd name="connsiteX78" fmla="*/ 2712 w 10000"/>
                <a:gd name="connsiteY78" fmla="*/ 188 h 10000"/>
                <a:gd name="connsiteX79" fmla="*/ 2845 w 10000"/>
                <a:gd name="connsiteY79" fmla="*/ 274 h 10000"/>
                <a:gd name="connsiteX80" fmla="*/ 2989 w 10000"/>
                <a:gd name="connsiteY80" fmla="*/ 375 h 10000"/>
                <a:gd name="connsiteX81" fmla="*/ 3112 w 10000"/>
                <a:gd name="connsiteY81" fmla="*/ 461 h 10000"/>
                <a:gd name="connsiteX82" fmla="*/ 3234 w 10000"/>
                <a:gd name="connsiteY82" fmla="*/ 590 h 10000"/>
                <a:gd name="connsiteX83" fmla="*/ 3367 w 10000"/>
                <a:gd name="connsiteY83" fmla="*/ 720 h 10000"/>
                <a:gd name="connsiteX84" fmla="*/ 3490 w 10000"/>
                <a:gd name="connsiteY84" fmla="*/ 850 h 10000"/>
                <a:gd name="connsiteX85" fmla="*/ 3726 w 10000"/>
                <a:gd name="connsiteY85" fmla="*/ 1137 h 10000"/>
                <a:gd name="connsiteX86" fmla="*/ 3941 w 10000"/>
                <a:gd name="connsiteY86" fmla="*/ 1482 h 10000"/>
                <a:gd name="connsiteX87" fmla="*/ 4145 w 10000"/>
                <a:gd name="connsiteY87" fmla="*/ 1842 h 10000"/>
                <a:gd name="connsiteX88" fmla="*/ 4340 w 10000"/>
                <a:gd name="connsiteY88" fmla="*/ 2231 h 10000"/>
                <a:gd name="connsiteX89" fmla="*/ 4534 w 10000"/>
                <a:gd name="connsiteY89" fmla="*/ 2634 h 10000"/>
                <a:gd name="connsiteX90" fmla="*/ 4708 w 10000"/>
                <a:gd name="connsiteY90" fmla="*/ 3051 h 10000"/>
                <a:gd name="connsiteX91" fmla="*/ 4893 w 10000"/>
                <a:gd name="connsiteY91" fmla="*/ 3483 h 10000"/>
                <a:gd name="connsiteX92" fmla="*/ 5056 w 10000"/>
                <a:gd name="connsiteY92" fmla="*/ 3927 h 10000"/>
                <a:gd name="connsiteX93" fmla="*/ 5363 w 10000"/>
                <a:gd name="connsiteY93" fmla="*/ 4834 h 10000"/>
                <a:gd name="connsiteX94" fmla="*/ 5967 w 10000"/>
                <a:gd name="connsiteY94" fmla="*/ 6633 h 10000"/>
                <a:gd name="connsiteX95" fmla="*/ 6254 w 10000"/>
                <a:gd name="connsiteY95" fmla="*/ 7468 h 10000"/>
                <a:gd name="connsiteX96" fmla="*/ 6407 w 10000"/>
                <a:gd name="connsiteY96" fmla="*/ 7828 h 10000"/>
                <a:gd name="connsiteX97" fmla="*/ 6551 w 10000"/>
                <a:gd name="connsiteY97" fmla="*/ 8201 h 10000"/>
                <a:gd name="connsiteX98" fmla="*/ 6714 w 10000"/>
                <a:gd name="connsiteY98" fmla="*/ 8533 h 10000"/>
                <a:gd name="connsiteX99" fmla="*/ 6868 w 10000"/>
                <a:gd name="connsiteY99" fmla="*/ 8821 h 10000"/>
                <a:gd name="connsiteX100" fmla="*/ 7021 w 10000"/>
                <a:gd name="connsiteY100" fmla="*/ 9093 h 10000"/>
                <a:gd name="connsiteX101" fmla="*/ 7195 w 10000"/>
                <a:gd name="connsiteY101" fmla="*/ 9295 h 10000"/>
                <a:gd name="connsiteX102" fmla="*/ 7288 w 10000"/>
                <a:gd name="connsiteY102" fmla="*/ 9395 h 10000"/>
                <a:gd name="connsiteX103" fmla="*/ 7369 w 10000"/>
                <a:gd name="connsiteY103" fmla="*/ 9497 h 10000"/>
                <a:gd name="connsiteX104" fmla="*/ 7462 w 10000"/>
                <a:gd name="connsiteY104" fmla="*/ 9554 h 10000"/>
                <a:gd name="connsiteX105" fmla="*/ 7554 w 10000"/>
                <a:gd name="connsiteY105" fmla="*/ 9626 h 10000"/>
                <a:gd name="connsiteX106" fmla="*/ 7646 w 10000"/>
                <a:gd name="connsiteY106" fmla="*/ 9669 h 10000"/>
                <a:gd name="connsiteX107" fmla="*/ 7748 w 10000"/>
                <a:gd name="connsiteY107" fmla="*/ 9698 h 10000"/>
                <a:gd name="connsiteX108" fmla="*/ 7851 w 10000"/>
                <a:gd name="connsiteY108" fmla="*/ 9741 h 10000"/>
                <a:gd name="connsiteX109" fmla="*/ 7943 w 10000"/>
                <a:gd name="connsiteY109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604 w 10000"/>
                <a:gd name="connsiteY65" fmla="*/ 1224 h 10000"/>
                <a:gd name="connsiteX66" fmla="*/ 491 w 10000"/>
                <a:gd name="connsiteY66" fmla="*/ 1425 h 10000"/>
                <a:gd name="connsiteX67" fmla="*/ 399 w 10000"/>
                <a:gd name="connsiteY67" fmla="*/ 1627 h 10000"/>
                <a:gd name="connsiteX68" fmla="*/ 194 w 10000"/>
                <a:gd name="connsiteY68" fmla="*/ 2101 h 10000"/>
                <a:gd name="connsiteX69" fmla="*/ 0 w 10000"/>
                <a:gd name="connsiteY69" fmla="*/ 2591 h 10000"/>
                <a:gd name="connsiteX70" fmla="*/ 10 w 10000"/>
                <a:gd name="connsiteY70" fmla="*/ 907 h 10000"/>
                <a:gd name="connsiteX71" fmla="*/ 205 w 10000"/>
                <a:gd name="connsiteY71" fmla="*/ 691 h 10000"/>
                <a:gd name="connsiteX72" fmla="*/ 399 w 10000"/>
                <a:gd name="connsiteY72" fmla="*/ 504 h 10000"/>
                <a:gd name="connsiteX73" fmla="*/ 604 w 10000"/>
                <a:gd name="connsiteY73" fmla="*/ 317 h 10000"/>
                <a:gd name="connsiteX74" fmla="*/ 2272 w 10000"/>
                <a:gd name="connsiteY74" fmla="*/ 0 h 10000"/>
                <a:gd name="connsiteX75" fmla="*/ 2426 w 10000"/>
                <a:gd name="connsiteY75" fmla="*/ 43 h 10000"/>
                <a:gd name="connsiteX76" fmla="*/ 2569 w 10000"/>
                <a:gd name="connsiteY76" fmla="*/ 115 h 10000"/>
                <a:gd name="connsiteX77" fmla="*/ 2712 w 10000"/>
                <a:gd name="connsiteY77" fmla="*/ 188 h 10000"/>
                <a:gd name="connsiteX78" fmla="*/ 2845 w 10000"/>
                <a:gd name="connsiteY78" fmla="*/ 274 h 10000"/>
                <a:gd name="connsiteX79" fmla="*/ 2989 w 10000"/>
                <a:gd name="connsiteY79" fmla="*/ 375 h 10000"/>
                <a:gd name="connsiteX80" fmla="*/ 3112 w 10000"/>
                <a:gd name="connsiteY80" fmla="*/ 461 h 10000"/>
                <a:gd name="connsiteX81" fmla="*/ 3234 w 10000"/>
                <a:gd name="connsiteY81" fmla="*/ 590 h 10000"/>
                <a:gd name="connsiteX82" fmla="*/ 3367 w 10000"/>
                <a:gd name="connsiteY82" fmla="*/ 720 h 10000"/>
                <a:gd name="connsiteX83" fmla="*/ 3490 w 10000"/>
                <a:gd name="connsiteY83" fmla="*/ 850 h 10000"/>
                <a:gd name="connsiteX84" fmla="*/ 3726 w 10000"/>
                <a:gd name="connsiteY84" fmla="*/ 1137 h 10000"/>
                <a:gd name="connsiteX85" fmla="*/ 3941 w 10000"/>
                <a:gd name="connsiteY85" fmla="*/ 1482 h 10000"/>
                <a:gd name="connsiteX86" fmla="*/ 4145 w 10000"/>
                <a:gd name="connsiteY86" fmla="*/ 1842 h 10000"/>
                <a:gd name="connsiteX87" fmla="*/ 4340 w 10000"/>
                <a:gd name="connsiteY87" fmla="*/ 2231 h 10000"/>
                <a:gd name="connsiteX88" fmla="*/ 4534 w 10000"/>
                <a:gd name="connsiteY88" fmla="*/ 2634 h 10000"/>
                <a:gd name="connsiteX89" fmla="*/ 4708 w 10000"/>
                <a:gd name="connsiteY89" fmla="*/ 3051 h 10000"/>
                <a:gd name="connsiteX90" fmla="*/ 4893 w 10000"/>
                <a:gd name="connsiteY90" fmla="*/ 3483 h 10000"/>
                <a:gd name="connsiteX91" fmla="*/ 5056 w 10000"/>
                <a:gd name="connsiteY91" fmla="*/ 3927 h 10000"/>
                <a:gd name="connsiteX92" fmla="*/ 5363 w 10000"/>
                <a:gd name="connsiteY92" fmla="*/ 4834 h 10000"/>
                <a:gd name="connsiteX93" fmla="*/ 5967 w 10000"/>
                <a:gd name="connsiteY93" fmla="*/ 6633 h 10000"/>
                <a:gd name="connsiteX94" fmla="*/ 6254 w 10000"/>
                <a:gd name="connsiteY94" fmla="*/ 7468 h 10000"/>
                <a:gd name="connsiteX95" fmla="*/ 6407 w 10000"/>
                <a:gd name="connsiteY95" fmla="*/ 7828 h 10000"/>
                <a:gd name="connsiteX96" fmla="*/ 6551 w 10000"/>
                <a:gd name="connsiteY96" fmla="*/ 8201 h 10000"/>
                <a:gd name="connsiteX97" fmla="*/ 6714 w 10000"/>
                <a:gd name="connsiteY97" fmla="*/ 8533 h 10000"/>
                <a:gd name="connsiteX98" fmla="*/ 6868 w 10000"/>
                <a:gd name="connsiteY98" fmla="*/ 8821 h 10000"/>
                <a:gd name="connsiteX99" fmla="*/ 7021 w 10000"/>
                <a:gd name="connsiteY99" fmla="*/ 9093 h 10000"/>
                <a:gd name="connsiteX100" fmla="*/ 7195 w 10000"/>
                <a:gd name="connsiteY100" fmla="*/ 9295 h 10000"/>
                <a:gd name="connsiteX101" fmla="*/ 7288 w 10000"/>
                <a:gd name="connsiteY101" fmla="*/ 9395 h 10000"/>
                <a:gd name="connsiteX102" fmla="*/ 7369 w 10000"/>
                <a:gd name="connsiteY102" fmla="*/ 9497 h 10000"/>
                <a:gd name="connsiteX103" fmla="*/ 7462 w 10000"/>
                <a:gd name="connsiteY103" fmla="*/ 9554 h 10000"/>
                <a:gd name="connsiteX104" fmla="*/ 7554 w 10000"/>
                <a:gd name="connsiteY104" fmla="*/ 9626 h 10000"/>
                <a:gd name="connsiteX105" fmla="*/ 7646 w 10000"/>
                <a:gd name="connsiteY105" fmla="*/ 9669 h 10000"/>
                <a:gd name="connsiteX106" fmla="*/ 7748 w 10000"/>
                <a:gd name="connsiteY106" fmla="*/ 9698 h 10000"/>
                <a:gd name="connsiteX107" fmla="*/ 7851 w 10000"/>
                <a:gd name="connsiteY107" fmla="*/ 9741 h 10000"/>
                <a:gd name="connsiteX108" fmla="*/ 7943 w 10000"/>
                <a:gd name="connsiteY108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604 w 10000"/>
                <a:gd name="connsiteY72" fmla="*/ 317 h 10000"/>
                <a:gd name="connsiteX73" fmla="*/ 2272 w 10000"/>
                <a:gd name="connsiteY73" fmla="*/ 0 h 10000"/>
                <a:gd name="connsiteX74" fmla="*/ 2426 w 10000"/>
                <a:gd name="connsiteY74" fmla="*/ 43 h 10000"/>
                <a:gd name="connsiteX75" fmla="*/ 2569 w 10000"/>
                <a:gd name="connsiteY75" fmla="*/ 115 h 10000"/>
                <a:gd name="connsiteX76" fmla="*/ 2712 w 10000"/>
                <a:gd name="connsiteY76" fmla="*/ 188 h 10000"/>
                <a:gd name="connsiteX77" fmla="*/ 2845 w 10000"/>
                <a:gd name="connsiteY77" fmla="*/ 274 h 10000"/>
                <a:gd name="connsiteX78" fmla="*/ 2989 w 10000"/>
                <a:gd name="connsiteY78" fmla="*/ 375 h 10000"/>
                <a:gd name="connsiteX79" fmla="*/ 3112 w 10000"/>
                <a:gd name="connsiteY79" fmla="*/ 461 h 10000"/>
                <a:gd name="connsiteX80" fmla="*/ 3234 w 10000"/>
                <a:gd name="connsiteY80" fmla="*/ 590 h 10000"/>
                <a:gd name="connsiteX81" fmla="*/ 3367 w 10000"/>
                <a:gd name="connsiteY81" fmla="*/ 720 h 10000"/>
                <a:gd name="connsiteX82" fmla="*/ 3490 w 10000"/>
                <a:gd name="connsiteY82" fmla="*/ 850 h 10000"/>
                <a:gd name="connsiteX83" fmla="*/ 3726 w 10000"/>
                <a:gd name="connsiteY83" fmla="*/ 1137 h 10000"/>
                <a:gd name="connsiteX84" fmla="*/ 3941 w 10000"/>
                <a:gd name="connsiteY84" fmla="*/ 1482 h 10000"/>
                <a:gd name="connsiteX85" fmla="*/ 4145 w 10000"/>
                <a:gd name="connsiteY85" fmla="*/ 1842 h 10000"/>
                <a:gd name="connsiteX86" fmla="*/ 4340 w 10000"/>
                <a:gd name="connsiteY86" fmla="*/ 2231 h 10000"/>
                <a:gd name="connsiteX87" fmla="*/ 4534 w 10000"/>
                <a:gd name="connsiteY87" fmla="*/ 2634 h 10000"/>
                <a:gd name="connsiteX88" fmla="*/ 4708 w 10000"/>
                <a:gd name="connsiteY88" fmla="*/ 3051 h 10000"/>
                <a:gd name="connsiteX89" fmla="*/ 4893 w 10000"/>
                <a:gd name="connsiteY89" fmla="*/ 3483 h 10000"/>
                <a:gd name="connsiteX90" fmla="*/ 5056 w 10000"/>
                <a:gd name="connsiteY90" fmla="*/ 3927 h 10000"/>
                <a:gd name="connsiteX91" fmla="*/ 5363 w 10000"/>
                <a:gd name="connsiteY91" fmla="*/ 4834 h 10000"/>
                <a:gd name="connsiteX92" fmla="*/ 5967 w 10000"/>
                <a:gd name="connsiteY92" fmla="*/ 6633 h 10000"/>
                <a:gd name="connsiteX93" fmla="*/ 6254 w 10000"/>
                <a:gd name="connsiteY93" fmla="*/ 7468 h 10000"/>
                <a:gd name="connsiteX94" fmla="*/ 6407 w 10000"/>
                <a:gd name="connsiteY94" fmla="*/ 7828 h 10000"/>
                <a:gd name="connsiteX95" fmla="*/ 6551 w 10000"/>
                <a:gd name="connsiteY95" fmla="*/ 8201 h 10000"/>
                <a:gd name="connsiteX96" fmla="*/ 6714 w 10000"/>
                <a:gd name="connsiteY96" fmla="*/ 8533 h 10000"/>
                <a:gd name="connsiteX97" fmla="*/ 6868 w 10000"/>
                <a:gd name="connsiteY97" fmla="*/ 8821 h 10000"/>
                <a:gd name="connsiteX98" fmla="*/ 7021 w 10000"/>
                <a:gd name="connsiteY98" fmla="*/ 9093 h 10000"/>
                <a:gd name="connsiteX99" fmla="*/ 7195 w 10000"/>
                <a:gd name="connsiteY99" fmla="*/ 9295 h 10000"/>
                <a:gd name="connsiteX100" fmla="*/ 7288 w 10000"/>
                <a:gd name="connsiteY100" fmla="*/ 9395 h 10000"/>
                <a:gd name="connsiteX101" fmla="*/ 7369 w 10000"/>
                <a:gd name="connsiteY101" fmla="*/ 9497 h 10000"/>
                <a:gd name="connsiteX102" fmla="*/ 7462 w 10000"/>
                <a:gd name="connsiteY102" fmla="*/ 9554 h 10000"/>
                <a:gd name="connsiteX103" fmla="*/ 7554 w 10000"/>
                <a:gd name="connsiteY103" fmla="*/ 9626 h 10000"/>
                <a:gd name="connsiteX104" fmla="*/ 7646 w 10000"/>
                <a:gd name="connsiteY104" fmla="*/ 9669 h 10000"/>
                <a:gd name="connsiteX105" fmla="*/ 7748 w 10000"/>
                <a:gd name="connsiteY105" fmla="*/ 9698 h 10000"/>
                <a:gd name="connsiteX106" fmla="*/ 7851 w 10000"/>
                <a:gd name="connsiteY106" fmla="*/ 9741 h 10000"/>
                <a:gd name="connsiteX107" fmla="*/ 7943 w 10000"/>
                <a:gd name="connsiteY107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2272 w 10000"/>
                <a:gd name="connsiteY72" fmla="*/ 0 h 10000"/>
                <a:gd name="connsiteX73" fmla="*/ 2426 w 10000"/>
                <a:gd name="connsiteY73" fmla="*/ 43 h 10000"/>
                <a:gd name="connsiteX74" fmla="*/ 2569 w 10000"/>
                <a:gd name="connsiteY74" fmla="*/ 115 h 10000"/>
                <a:gd name="connsiteX75" fmla="*/ 2712 w 10000"/>
                <a:gd name="connsiteY75" fmla="*/ 188 h 10000"/>
                <a:gd name="connsiteX76" fmla="*/ 2845 w 10000"/>
                <a:gd name="connsiteY76" fmla="*/ 274 h 10000"/>
                <a:gd name="connsiteX77" fmla="*/ 2989 w 10000"/>
                <a:gd name="connsiteY77" fmla="*/ 375 h 10000"/>
                <a:gd name="connsiteX78" fmla="*/ 3112 w 10000"/>
                <a:gd name="connsiteY78" fmla="*/ 461 h 10000"/>
                <a:gd name="connsiteX79" fmla="*/ 3234 w 10000"/>
                <a:gd name="connsiteY79" fmla="*/ 590 h 10000"/>
                <a:gd name="connsiteX80" fmla="*/ 3367 w 10000"/>
                <a:gd name="connsiteY80" fmla="*/ 720 h 10000"/>
                <a:gd name="connsiteX81" fmla="*/ 3490 w 10000"/>
                <a:gd name="connsiteY81" fmla="*/ 850 h 10000"/>
                <a:gd name="connsiteX82" fmla="*/ 3726 w 10000"/>
                <a:gd name="connsiteY82" fmla="*/ 1137 h 10000"/>
                <a:gd name="connsiteX83" fmla="*/ 3941 w 10000"/>
                <a:gd name="connsiteY83" fmla="*/ 1482 h 10000"/>
                <a:gd name="connsiteX84" fmla="*/ 4145 w 10000"/>
                <a:gd name="connsiteY84" fmla="*/ 1842 h 10000"/>
                <a:gd name="connsiteX85" fmla="*/ 4340 w 10000"/>
                <a:gd name="connsiteY85" fmla="*/ 2231 h 10000"/>
                <a:gd name="connsiteX86" fmla="*/ 4534 w 10000"/>
                <a:gd name="connsiteY86" fmla="*/ 2634 h 10000"/>
                <a:gd name="connsiteX87" fmla="*/ 4708 w 10000"/>
                <a:gd name="connsiteY87" fmla="*/ 3051 h 10000"/>
                <a:gd name="connsiteX88" fmla="*/ 4893 w 10000"/>
                <a:gd name="connsiteY88" fmla="*/ 3483 h 10000"/>
                <a:gd name="connsiteX89" fmla="*/ 5056 w 10000"/>
                <a:gd name="connsiteY89" fmla="*/ 3927 h 10000"/>
                <a:gd name="connsiteX90" fmla="*/ 5363 w 10000"/>
                <a:gd name="connsiteY90" fmla="*/ 4834 h 10000"/>
                <a:gd name="connsiteX91" fmla="*/ 5967 w 10000"/>
                <a:gd name="connsiteY91" fmla="*/ 6633 h 10000"/>
                <a:gd name="connsiteX92" fmla="*/ 6254 w 10000"/>
                <a:gd name="connsiteY92" fmla="*/ 7468 h 10000"/>
                <a:gd name="connsiteX93" fmla="*/ 6407 w 10000"/>
                <a:gd name="connsiteY93" fmla="*/ 7828 h 10000"/>
                <a:gd name="connsiteX94" fmla="*/ 6551 w 10000"/>
                <a:gd name="connsiteY94" fmla="*/ 8201 h 10000"/>
                <a:gd name="connsiteX95" fmla="*/ 6714 w 10000"/>
                <a:gd name="connsiteY95" fmla="*/ 8533 h 10000"/>
                <a:gd name="connsiteX96" fmla="*/ 6868 w 10000"/>
                <a:gd name="connsiteY96" fmla="*/ 8821 h 10000"/>
                <a:gd name="connsiteX97" fmla="*/ 7021 w 10000"/>
                <a:gd name="connsiteY97" fmla="*/ 9093 h 10000"/>
                <a:gd name="connsiteX98" fmla="*/ 7195 w 10000"/>
                <a:gd name="connsiteY98" fmla="*/ 9295 h 10000"/>
                <a:gd name="connsiteX99" fmla="*/ 7288 w 10000"/>
                <a:gd name="connsiteY99" fmla="*/ 9395 h 10000"/>
                <a:gd name="connsiteX100" fmla="*/ 7369 w 10000"/>
                <a:gd name="connsiteY100" fmla="*/ 9497 h 10000"/>
                <a:gd name="connsiteX101" fmla="*/ 7462 w 10000"/>
                <a:gd name="connsiteY101" fmla="*/ 9554 h 10000"/>
                <a:gd name="connsiteX102" fmla="*/ 7554 w 10000"/>
                <a:gd name="connsiteY102" fmla="*/ 9626 h 10000"/>
                <a:gd name="connsiteX103" fmla="*/ 7646 w 10000"/>
                <a:gd name="connsiteY103" fmla="*/ 9669 h 10000"/>
                <a:gd name="connsiteX104" fmla="*/ 7748 w 10000"/>
                <a:gd name="connsiteY104" fmla="*/ 9698 h 10000"/>
                <a:gd name="connsiteX105" fmla="*/ 7851 w 10000"/>
                <a:gd name="connsiteY105" fmla="*/ 9741 h 10000"/>
                <a:gd name="connsiteX106" fmla="*/ 7943 w 10000"/>
                <a:gd name="connsiteY10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2272 w 10000"/>
                <a:gd name="connsiteY71" fmla="*/ 0 h 10000"/>
                <a:gd name="connsiteX72" fmla="*/ 2426 w 10000"/>
                <a:gd name="connsiteY72" fmla="*/ 43 h 10000"/>
                <a:gd name="connsiteX73" fmla="*/ 2569 w 10000"/>
                <a:gd name="connsiteY73" fmla="*/ 115 h 10000"/>
                <a:gd name="connsiteX74" fmla="*/ 2712 w 10000"/>
                <a:gd name="connsiteY74" fmla="*/ 188 h 10000"/>
                <a:gd name="connsiteX75" fmla="*/ 2845 w 10000"/>
                <a:gd name="connsiteY75" fmla="*/ 274 h 10000"/>
                <a:gd name="connsiteX76" fmla="*/ 2989 w 10000"/>
                <a:gd name="connsiteY76" fmla="*/ 375 h 10000"/>
                <a:gd name="connsiteX77" fmla="*/ 3112 w 10000"/>
                <a:gd name="connsiteY77" fmla="*/ 461 h 10000"/>
                <a:gd name="connsiteX78" fmla="*/ 3234 w 10000"/>
                <a:gd name="connsiteY78" fmla="*/ 590 h 10000"/>
                <a:gd name="connsiteX79" fmla="*/ 3367 w 10000"/>
                <a:gd name="connsiteY79" fmla="*/ 720 h 10000"/>
                <a:gd name="connsiteX80" fmla="*/ 3490 w 10000"/>
                <a:gd name="connsiteY80" fmla="*/ 850 h 10000"/>
                <a:gd name="connsiteX81" fmla="*/ 3726 w 10000"/>
                <a:gd name="connsiteY81" fmla="*/ 1137 h 10000"/>
                <a:gd name="connsiteX82" fmla="*/ 3941 w 10000"/>
                <a:gd name="connsiteY82" fmla="*/ 1482 h 10000"/>
                <a:gd name="connsiteX83" fmla="*/ 4145 w 10000"/>
                <a:gd name="connsiteY83" fmla="*/ 1842 h 10000"/>
                <a:gd name="connsiteX84" fmla="*/ 4340 w 10000"/>
                <a:gd name="connsiteY84" fmla="*/ 2231 h 10000"/>
                <a:gd name="connsiteX85" fmla="*/ 4534 w 10000"/>
                <a:gd name="connsiteY85" fmla="*/ 2634 h 10000"/>
                <a:gd name="connsiteX86" fmla="*/ 4708 w 10000"/>
                <a:gd name="connsiteY86" fmla="*/ 3051 h 10000"/>
                <a:gd name="connsiteX87" fmla="*/ 4893 w 10000"/>
                <a:gd name="connsiteY87" fmla="*/ 3483 h 10000"/>
                <a:gd name="connsiteX88" fmla="*/ 5056 w 10000"/>
                <a:gd name="connsiteY88" fmla="*/ 3927 h 10000"/>
                <a:gd name="connsiteX89" fmla="*/ 5363 w 10000"/>
                <a:gd name="connsiteY89" fmla="*/ 4834 h 10000"/>
                <a:gd name="connsiteX90" fmla="*/ 5967 w 10000"/>
                <a:gd name="connsiteY90" fmla="*/ 6633 h 10000"/>
                <a:gd name="connsiteX91" fmla="*/ 6254 w 10000"/>
                <a:gd name="connsiteY91" fmla="*/ 7468 h 10000"/>
                <a:gd name="connsiteX92" fmla="*/ 6407 w 10000"/>
                <a:gd name="connsiteY92" fmla="*/ 7828 h 10000"/>
                <a:gd name="connsiteX93" fmla="*/ 6551 w 10000"/>
                <a:gd name="connsiteY93" fmla="*/ 8201 h 10000"/>
                <a:gd name="connsiteX94" fmla="*/ 6714 w 10000"/>
                <a:gd name="connsiteY94" fmla="*/ 8533 h 10000"/>
                <a:gd name="connsiteX95" fmla="*/ 6868 w 10000"/>
                <a:gd name="connsiteY95" fmla="*/ 8821 h 10000"/>
                <a:gd name="connsiteX96" fmla="*/ 7021 w 10000"/>
                <a:gd name="connsiteY96" fmla="*/ 9093 h 10000"/>
                <a:gd name="connsiteX97" fmla="*/ 7195 w 10000"/>
                <a:gd name="connsiteY97" fmla="*/ 9295 h 10000"/>
                <a:gd name="connsiteX98" fmla="*/ 7288 w 10000"/>
                <a:gd name="connsiteY98" fmla="*/ 9395 h 10000"/>
                <a:gd name="connsiteX99" fmla="*/ 7369 w 10000"/>
                <a:gd name="connsiteY99" fmla="*/ 9497 h 10000"/>
                <a:gd name="connsiteX100" fmla="*/ 7462 w 10000"/>
                <a:gd name="connsiteY100" fmla="*/ 9554 h 10000"/>
                <a:gd name="connsiteX101" fmla="*/ 7554 w 10000"/>
                <a:gd name="connsiteY101" fmla="*/ 9626 h 10000"/>
                <a:gd name="connsiteX102" fmla="*/ 7646 w 10000"/>
                <a:gd name="connsiteY102" fmla="*/ 9669 h 10000"/>
                <a:gd name="connsiteX103" fmla="*/ 7748 w 10000"/>
                <a:gd name="connsiteY103" fmla="*/ 9698 h 10000"/>
                <a:gd name="connsiteX104" fmla="*/ 7851 w 10000"/>
                <a:gd name="connsiteY104" fmla="*/ 9741 h 10000"/>
                <a:gd name="connsiteX105" fmla="*/ 7943 w 10000"/>
                <a:gd name="connsiteY10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399 w 10000"/>
                <a:gd name="connsiteY65" fmla="*/ 1627 h 10000"/>
                <a:gd name="connsiteX66" fmla="*/ 194 w 10000"/>
                <a:gd name="connsiteY66" fmla="*/ 2101 h 10000"/>
                <a:gd name="connsiteX67" fmla="*/ 0 w 10000"/>
                <a:gd name="connsiteY67" fmla="*/ 2591 h 10000"/>
                <a:gd name="connsiteX68" fmla="*/ 10 w 10000"/>
                <a:gd name="connsiteY68" fmla="*/ 907 h 10000"/>
                <a:gd name="connsiteX69" fmla="*/ 205 w 10000"/>
                <a:gd name="connsiteY69" fmla="*/ 691 h 10000"/>
                <a:gd name="connsiteX70" fmla="*/ 2272 w 10000"/>
                <a:gd name="connsiteY70" fmla="*/ 0 h 10000"/>
                <a:gd name="connsiteX71" fmla="*/ 2426 w 10000"/>
                <a:gd name="connsiteY71" fmla="*/ 43 h 10000"/>
                <a:gd name="connsiteX72" fmla="*/ 2569 w 10000"/>
                <a:gd name="connsiteY72" fmla="*/ 115 h 10000"/>
                <a:gd name="connsiteX73" fmla="*/ 2712 w 10000"/>
                <a:gd name="connsiteY73" fmla="*/ 188 h 10000"/>
                <a:gd name="connsiteX74" fmla="*/ 2845 w 10000"/>
                <a:gd name="connsiteY74" fmla="*/ 274 h 10000"/>
                <a:gd name="connsiteX75" fmla="*/ 2989 w 10000"/>
                <a:gd name="connsiteY75" fmla="*/ 375 h 10000"/>
                <a:gd name="connsiteX76" fmla="*/ 3112 w 10000"/>
                <a:gd name="connsiteY76" fmla="*/ 461 h 10000"/>
                <a:gd name="connsiteX77" fmla="*/ 3234 w 10000"/>
                <a:gd name="connsiteY77" fmla="*/ 590 h 10000"/>
                <a:gd name="connsiteX78" fmla="*/ 3367 w 10000"/>
                <a:gd name="connsiteY78" fmla="*/ 720 h 10000"/>
                <a:gd name="connsiteX79" fmla="*/ 3490 w 10000"/>
                <a:gd name="connsiteY79" fmla="*/ 850 h 10000"/>
                <a:gd name="connsiteX80" fmla="*/ 3726 w 10000"/>
                <a:gd name="connsiteY80" fmla="*/ 1137 h 10000"/>
                <a:gd name="connsiteX81" fmla="*/ 3941 w 10000"/>
                <a:gd name="connsiteY81" fmla="*/ 1482 h 10000"/>
                <a:gd name="connsiteX82" fmla="*/ 4145 w 10000"/>
                <a:gd name="connsiteY82" fmla="*/ 1842 h 10000"/>
                <a:gd name="connsiteX83" fmla="*/ 4340 w 10000"/>
                <a:gd name="connsiteY83" fmla="*/ 2231 h 10000"/>
                <a:gd name="connsiteX84" fmla="*/ 4534 w 10000"/>
                <a:gd name="connsiteY84" fmla="*/ 2634 h 10000"/>
                <a:gd name="connsiteX85" fmla="*/ 4708 w 10000"/>
                <a:gd name="connsiteY85" fmla="*/ 3051 h 10000"/>
                <a:gd name="connsiteX86" fmla="*/ 4893 w 10000"/>
                <a:gd name="connsiteY86" fmla="*/ 3483 h 10000"/>
                <a:gd name="connsiteX87" fmla="*/ 5056 w 10000"/>
                <a:gd name="connsiteY87" fmla="*/ 3927 h 10000"/>
                <a:gd name="connsiteX88" fmla="*/ 5363 w 10000"/>
                <a:gd name="connsiteY88" fmla="*/ 4834 h 10000"/>
                <a:gd name="connsiteX89" fmla="*/ 5967 w 10000"/>
                <a:gd name="connsiteY89" fmla="*/ 6633 h 10000"/>
                <a:gd name="connsiteX90" fmla="*/ 6254 w 10000"/>
                <a:gd name="connsiteY90" fmla="*/ 7468 h 10000"/>
                <a:gd name="connsiteX91" fmla="*/ 6407 w 10000"/>
                <a:gd name="connsiteY91" fmla="*/ 7828 h 10000"/>
                <a:gd name="connsiteX92" fmla="*/ 6551 w 10000"/>
                <a:gd name="connsiteY92" fmla="*/ 8201 h 10000"/>
                <a:gd name="connsiteX93" fmla="*/ 6714 w 10000"/>
                <a:gd name="connsiteY93" fmla="*/ 8533 h 10000"/>
                <a:gd name="connsiteX94" fmla="*/ 6868 w 10000"/>
                <a:gd name="connsiteY94" fmla="*/ 8821 h 10000"/>
                <a:gd name="connsiteX95" fmla="*/ 7021 w 10000"/>
                <a:gd name="connsiteY95" fmla="*/ 9093 h 10000"/>
                <a:gd name="connsiteX96" fmla="*/ 7195 w 10000"/>
                <a:gd name="connsiteY96" fmla="*/ 9295 h 10000"/>
                <a:gd name="connsiteX97" fmla="*/ 7288 w 10000"/>
                <a:gd name="connsiteY97" fmla="*/ 9395 h 10000"/>
                <a:gd name="connsiteX98" fmla="*/ 7369 w 10000"/>
                <a:gd name="connsiteY98" fmla="*/ 9497 h 10000"/>
                <a:gd name="connsiteX99" fmla="*/ 7462 w 10000"/>
                <a:gd name="connsiteY99" fmla="*/ 9554 h 10000"/>
                <a:gd name="connsiteX100" fmla="*/ 7554 w 10000"/>
                <a:gd name="connsiteY100" fmla="*/ 9626 h 10000"/>
                <a:gd name="connsiteX101" fmla="*/ 7646 w 10000"/>
                <a:gd name="connsiteY101" fmla="*/ 9669 h 10000"/>
                <a:gd name="connsiteX102" fmla="*/ 7748 w 10000"/>
                <a:gd name="connsiteY102" fmla="*/ 9698 h 10000"/>
                <a:gd name="connsiteX103" fmla="*/ 7851 w 10000"/>
                <a:gd name="connsiteY103" fmla="*/ 9741 h 10000"/>
                <a:gd name="connsiteX104" fmla="*/ 7943 w 10000"/>
                <a:gd name="connsiteY10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194 w 10000"/>
                <a:gd name="connsiteY65" fmla="*/ 2101 h 10000"/>
                <a:gd name="connsiteX66" fmla="*/ 0 w 10000"/>
                <a:gd name="connsiteY66" fmla="*/ 2591 h 10000"/>
                <a:gd name="connsiteX67" fmla="*/ 10 w 10000"/>
                <a:gd name="connsiteY67" fmla="*/ 907 h 10000"/>
                <a:gd name="connsiteX68" fmla="*/ 205 w 10000"/>
                <a:gd name="connsiteY68" fmla="*/ 691 h 10000"/>
                <a:gd name="connsiteX69" fmla="*/ 2272 w 10000"/>
                <a:gd name="connsiteY69" fmla="*/ 0 h 10000"/>
                <a:gd name="connsiteX70" fmla="*/ 2426 w 10000"/>
                <a:gd name="connsiteY70" fmla="*/ 43 h 10000"/>
                <a:gd name="connsiteX71" fmla="*/ 2569 w 10000"/>
                <a:gd name="connsiteY71" fmla="*/ 115 h 10000"/>
                <a:gd name="connsiteX72" fmla="*/ 2712 w 10000"/>
                <a:gd name="connsiteY72" fmla="*/ 188 h 10000"/>
                <a:gd name="connsiteX73" fmla="*/ 2845 w 10000"/>
                <a:gd name="connsiteY73" fmla="*/ 274 h 10000"/>
                <a:gd name="connsiteX74" fmla="*/ 2989 w 10000"/>
                <a:gd name="connsiteY74" fmla="*/ 375 h 10000"/>
                <a:gd name="connsiteX75" fmla="*/ 3112 w 10000"/>
                <a:gd name="connsiteY75" fmla="*/ 461 h 10000"/>
                <a:gd name="connsiteX76" fmla="*/ 3234 w 10000"/>
                <a:gd name="connsiteY76" fmla="*/ 590 h 10000"/>
                <a:gd name="connsiteX77" fmla="*/ 3367 w 10000"/>
                <a:gd name="connsiteY77" fmla="*/ 720 h 10000"/>
                <a:gd name="connsiteX78" fmla="*/ 3490 w 10000"/>
                <a:gd name="connsiteY78" fmla="*/ 850 h 10000"/>
                <a:gd name="connsiteX79" fmla="*/ 3726 w 10000"/>
                <a:gd name="connsiteY79" fmla="*/ 1137 h 10000"/>
                <a:gd name="connsiteX80" fmla="*/ 3941 w 10000"/>
                <a:gd name="connsiteY80" fmla="*/ 1482 h 10000"/>
                <a:gd name="connsiteX81" fmla="*/ 4145 w 10000"/>
                <a:gd name="connsiteY81" fmla="*/ 1842 h 10000"/>
                <a:gd name="connsiteX82" fmla="*/ 4340 w 10000"/>
                <a:gd name="connsiteY82" fmla="*/ 2231 h 10000"/>
                <a:gd name="connsiteX83" fmla="*/ 4534 w 10000"/>
                <a:gd name="connsiteY83" fmla="*/ 2634 h 10000"/>
                <a:gd name="connsiteX84" fmla="*/ 4708 w 10000"/>
                <a:gd name="connsiteY84" fmla="*/ 3051 h 10000"/>
                <a:gd name="connsiteX85" fmla="*/ 4893 w 10000"/>
                <a:gd name="connsiteY85" fmla="*/ 3483 h 10000"/>
                <a:gd name="connsiteX86" fmla="*/ 5056 w 10000"/>
                <a:gd name="connsiteY86" fmla="*/ 3927 h 10000"/>
                <a:gd name="connsiteX87" fmla="*/ 5363 w 10000"/>
                <a:gd name="connsiteY87" fmla="*/ 4834 h 10000"/>
                <a:gd name="connsiteX88" fmla="*/ 5967 w 10000"/>
                <a:gd name="connsiteY88" fmla="*/ 6633 h 10000"/>
                <a:gd name="connsiteX89" fmla="*/ 6254 w 10000"/>
                <a:gd name="connsiteY89" fmla="*/ 7468 h 10000"/>
                <a:gd name="connsiteX90" fmla="*/ 6407 w 10000"/>
                <a:gd name="connsiteY90" fmla="*/ 7828 h 10000"/>
                <a:gd name="connsiteX91" fmla="*/ 6551 w 10000"/>
                <a:gd name="connsiteY91" fmla="*/ 8201 h 10000"/>
                <a:gd name="connsiteX92" fmla="*/ 6714 w 10000"/>
                <a:gd name="connsiteY92" fmla="*/ 8533 h 10000"/>
                <a:gd name="connsiteX93" fmla="*/ 6868 w 10000"/>
                <a:gd name="connsiteY93" fmla="*/ 8821 h 10000"/>
                <a:gd name="connsiteX94" fmla="*/ 7021 w 10000"/>
                <a:gd name="connsiteY94" fmla="*/ 9093 h 10000"/>
                <a:gd name="connsiteX95" fmla="*/ 7195 w 10000"/>
                <a:gd name="connsiteY95" fmla="*/ 9295 h 10000"/>
                <a:gd name="connsiteX96" fmla="*/ 7288 w 10000"/>
                <a:gd name="connsiteY96" fmla="*/ 9395 h 10000"/>
                <a:gd name="connsiteX97" fmla="*/ 7369 w 10000"/>
                <a:gd name="connsiteY97" fmla="*/ 9497 h 10000"/>
                <a:gd name="connsiteX98" fmla="*/ 7462 w 10000"/>
                <a:gd name="connsiteY98" fmla="*/ 9554 h 10000"/>
                <a:gd name="connsiteX99" fmla="*/ 7554 w 10000"/>
                <a:gd name="connsiteY99" fmla="*/ 9626 h 10000"/>
                <a:gd name="connsiteX100" fmla="*/ 7646 w 10000"/>
                <a:gd name="connsiteY100" fmla="*/ 9669 h 10000"/>
                <a:gd name="connsiteX101" fmla="*/ 7748 w 10000"/>
                <a:gd name="connsiteY101" fmla="*/ 9698 h 10000"/>
                <a:gd name="connsiteX102" fmla="*/ 7851 w 10000"/>
                <a:gd name="connsiteY102" fmla="*/ 9741 h 10000"/>
                <a:gd name="connsiteX103" fmla="*/ 7943 w 10000"/>
                <a:gd name="connsiteY10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05 w 10000"/>
                <a:gd name="connsiteY67" fmla="*/ 691 h 10000"/>
                <a:gd name="connsiteX68" fmla="*/ 2272 w 10000"/>
                <a:gd name="connsiteY68" fmla="*/ 0 h 10000"/>
                <a:gd name="connsiteX69" fmla="*/ 2426 w 10000"/>
                <a:gd name="connsiteY69" fmla="*/ 43 h 10000"/>
                <a:gd name="connsiteX70" fmla="*/ 2569 w 10000"/>
                <a:gd name="connsiteY70" fmla="*/ 115 h 10000"/>
                <a:gd name="connsiteX71" fmla="*/ 2712 w 10000"/>
                <a:gd name="connsiteY71" fmla="*/ 188 h 10000"/>
                <a:gd name="connsiteX72" fmla="*/ 2845 w 10000"/>
                <a:gd name="connsiteY72" fmla="*/ 274 h 10000"/>
                <a:gd name="connsiteX73" fmla="*/ 2989 w 10000"/>
                <a:gd name="connsiteY73" fmla="*/ 375 h 10000"/>
                <a:gd name="connsiteX74" fmla="*/ 3112 w 10000"/>
                <a:gd name="connsiteY74" fmla="*/ 461 h 10000"/>
                <a:gd name="connsiteX75" fmla="*/ 3234 w 10000"/>
                <a:gd name="connsiteY75" fmla="*/ 590 h 10000"/>
                <a:gd name="connsiteX76" fmla="*/ 3367 w 10000"/>
                <a:gd name="connsiteY76" fmla="*/ 720 h 10000"/>
                <a:gd name="connsiteX77" fmla="*/ 3490 w 10000"/>
                <a:gd name="connsiteY77" fmla="*/ 850 h 10000"/>
                <a:gd name="connsiteX78" fmla="*/ 3726 w 10000"/>
                <a:gd name="connsiteY78" fmla="*/ 1137 h 10000"/>
                <a:gd name="connsiteX79" fmla="*/ 3941 w 10000"/>
                <a:gd name="connsiteY79" fmla="*/ 1482 h 10000"/>
                <a:gd name="connsiteX80" fmla="*/ 4145 w 10000"/>
                <a:gd name="connsiteY80" fmla="*/ 1842 h 10000"/>
                <a:gd name="connsiteX81" fmla="*/ 4340 w 10000"/>
                <a:gd name="connsiteY81" fmla="*/ 2231 h 10000"/>
                <a:gd name="connsiteX82" fmla="*/ 4534 w 10000"/>
                <a:gd name="connsiteY82" fmla="*/ 2634 h 10000"/>
                <a:gd name="connsiteX83" fmla="*/ 4708 w 10000"/>
                <a:gd name="connsiteY83" fmla="*/ 3051 h 10000"/>
                <a:gd name="connsiteX84" fmla="*/ 4893 w 10000"/>
                <a:gd name="connsiteY84" fmla="*/ 3483 h 10000"/>
                <a:gd name="connsiteX85" fmla="*/ 5056 w 10000"/>
                <a:gd name="connsiteY85" fmla="*/ 3927 h 10000"/>
                <a:gd name="connsiteX86" fmla="*/ 5363 w 10000"/>
                <a:gd name="connsiteY86" fmla="*/ 4834 h 10000"/>
                <a:gd name="connsiteX87" fmla="*/ 5967 w 10000"/>
                <a:gd name="connsiteY87" fmla="*/ 6633 h 10000"/>
                <a:gd name="connsiteX88" fmla="*/ 6254 w 10000"/>
                <a:gd name="connsiteY88" fmla="*/ 7468 h 10000"/>
                <a:gd name="connsiteX89" fmla="*/ 6407 w 10000"/>
                <a:gd name="connsiteY89" fmla="*/ 7828 h 10000"/>
                <a:gd name="connsiteX90" fmla="*/ 6551 w 10000"/>
                <a:gd name="connsiteY90" fmla="*/ 8201 h 10000"/>
                <a:gd name="connsiteX91" fmla="*/ 6714 w 10000"/>
                <a:gd name="connsiteY91" fmla="*/ 8533 h 10000"/>
                <a:gd name="connsiteX92" fmla="*/ 6868 w 10000"/>
                <a:gd name="connsiteY92" fmla="*/ 8821 h 10000"/>
                <a:gd name="connsiteX93" fmla="*/ 7021 w 10000"/>
                <a:gd name="connsiteY93" fmla="*/ 9093 h 10000"/>
                <a:gd name="connsiteX94" fmla="*/ 7195 w 10000"/>
                <a:gd name="connsiteY94" fmla="*/ 9295 h 10000"/>
                <a:gd name="connsiteX95" fmla="*/ 7288 w 10000"/>
                <a:gd name="connsiteY95" fmla="*/ 9395 h 10000"/>
                <a:gd name="connsiteX96" fmla="*/ 7369 w 10000"/>
                <a:gd name="connsiteY96" fmla="*/ 9497 h 10000"/>
                <a:gd name="connsiteX97" fmla="*/ 7462 w 10000"/>
                <a:gd name="connsiteY97" fmla="*/ 9554 h 10000"/>
                <a:gd name="connsiteX98" fmla="*/ 7554 w 10000"/>
                <a:gd name="connsiteY98" fmla="*/ 9626 h 10000"/>
                <a:gd name="connsiteX99" fmla="*/ 7646 w 10000"/>
                <a:gd name="connsiteY99" fmla="*/ 9669 h 10000"/>
                <a:gd name="connsiteX100" fmla="*/ 7748 w 10000"/>
                <a:gd name="connsiteY100" fmla="*/ 9698 h 10000"/>
                <a:gd name="connsiteX101" fmla="*/ 7851 w 10000"/>
                <a:gd name="connsiteY101" fmla="*/ 9741 h 10000"/>
                <a:gd name="connsiteX102" fmla="*/ 7943 w 10000"/>
                <a:gd name="connsiteY10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272 w 10000"/>
                <a:gd name="connsiteY67" fmla="*/ 0 h 10000"/>
                <a:gd name="connsiteX68" fmla="*/ 2426 w 10000"/>
                <a:gd name="connsiteY68" fmla="*/ 43 h 10000"/>
                <a:gd name="connsiteX69" fmla="*/ 2569 w 10000"/>
                <a:gd name="connsiteY69" fmla="*/ 115 h 10000"/>
                <a:gd name="connsiteX70" fmla="*/ 2712 w 10000"/>
                <a:gd name="connsiteY70" fmla="*/ 188 h 10000"/>
                <a:gd name="connsiteX71" fmla="*/ 2845 w 10000"/>
                <a:gd name="connsiteY71" fmla="*/ 274 h 10000"/>
                <a:gd name="connsiteX72" fmla="*/ 2989 w 10000"/>
                <a:gd name="connsiteY72" fmla="*/ 375 h 10000"/>
                <a:gd name="connsiteX73" fmla="*/ 3112 w 10000"/>
                <a:gd name="connsiteY73" fmla="*/ 461 h 10000"/>
                <a:gd name="connsiteX74" fmla="*/ 3234 w 10000"/>
                <a:gd name="connsiteY74" fmla="*/ 590 h 10000"/>
                <a:gd name="connsiteX75" fmla="*/ 3367 w 10000"/>
                <a:gd name="connsiteY75" fmla="*/ 720 h 10000"/>
                <a:gd name="connsiteX76" fmla="*/ 3490 w 10000"/>
                <a:gd name="connsiteY76" fmla="*/ 850 h 10000"/>
                <a:gd name="connsiteX77" fmla="*/ 3726 w 10000"/>
                <a:gd name="connsiteY77" fmla="*/ 1137 h 10000"/>
                <a:gd name="connsiteX78" fmla="*/ 3941 w 10000"/>
                <a:gd name="connsiteY78" fmla="*/ 1482 h 10000"/>
                <a:gd name="connsiteX79" fmla="*/ 4145 w 10000"/>
                <a:gd name="connsiteY79" fmla="*/ 1842 h 10000"/>
                <a:gd name="connsiteX80" fmla="*/ 4340 w 10000"/>
                <a:gd name="connsiteY80" fmla="*/ 2231 h 10000"/>
                <a:gd name="connsiteX81" fmla="*/ 4534 w 10000"/>
                <a:gd name="connsiteY81" fmla="*/ 2634 h 10000"/>
                <a:gd name="connsiteX82" fmla="*/ 4708 w 10000"/>
                <a:gd name="connsiteY82" fmla="*/ 3051 h 10000"/>
                <a:gd name="connsiteX83" fmla="*/ 4893 w 10000"/>
                <a:gd name="connsiteY83" fmla="*/ 3483 h 10000"/>
                <a:gd name="connsiteX84" fmla="*/ 5056 w 10000"/>
                <a:gd name="connsiteY84" fmla="*/ 3927 h 10000"/>
                <a:gd name="connsiteX85" fmla="*/ 5363 w 10000"/>
                <a:gd name="connsiteY85" fmla="*/ 4834 h 10000"/>
                <a:gd name="connsiteX86" fmla="*/ 5967 w 10000"/>
                <a:gd name="connsiteY86" fmla="*/ 6633 h 10000"/>
                <a:gd name="connsiteX87" fmla="*/ 6254 w 10000"/>
                <a:gd name="connsiteY87" fmla="*/ 7468 h 10000"/>
                <a:gd name="connsiteX88" fmla="*/ 6407 w 10000"/>
                <a:gd name="connsiteY88" fmla="*/ 7828 h 10000"/>
                <a:gd name="connsiteX89" fmla="*/ 6551 w 10000"/>
                <a:gd name="connsiteY89" fmla="*/ 8201 h 10000"/>
                <a:gd name="connsiteX90" fmla="*/ 6714 w 10000"/>
                <a:gd name="connsiteY90" fmla="*/ 8533 h 10000"/>
                <a:gd name="connsiteX91" fmla="*/ 6868 w 10000"/>
                <a:gd name="connsiteY91" fmla="*/ 8821 h 10000"/>
                <a:gd name="connsiteX92" fmla="*/ 7021 w 10000"/>
                <a:gd name="connsiteY92" fmla="*/ 9093 h 10000"/>
                <a:gd name="connsiteX93" fmla="*/ 7195 w 10000"/>
                <a:gd name="connsiteY93" fmla="*/ 9295 h 10000"/>
                <a:gd name="connsiteX94" fmla="*/ 7288 w 10000"/>
                <a:gd name="connsiteY94" fmla="*/ 9395 h 10000"/>
                <a:gd name="connsiteX95" fmla="*/ 7369 w 10000"/>
                <a:gd name="connsiteY95" fmla="*/ 9497 h 10000"/>
                <a:gd name="connsiteX96" fmla="*/ 7462 w 10000"/>
                <a:gd name="connsiteY96" fmla="*/ 9554 h 10000"/>
                <a:gd name="connsiteX97" fmla="*/ 7554 w 10000"/>
                <a:gd name="connsiteY97" fmla="*/ 9626 h 10000"/>
                <a:gd name="connsiteX98" fmla="*/ 7646 w 10000"/>
                <a:gd name="connsiteY98" fmla="*/ 9669 h 10000"/>
                <a:gd name="connsiteX99" fmla="*/ 7748 w 10000"/>
                <a:gd name="connsiteY99" fmla="*/ 9698 h 10000"/>
                <a:gd name="connsiteX100" fmla="*/ 7851 w 10000"/>
                <a:gd name="connsiteY100" fmla="*/ 9741 h 10000"/>
                <a:gd name="connsiteX101" fmla="*/ 7943 w 10000"/>
                <a:gd name="connsiteY10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0 w 10000"/>
                <a:gd name="connsiteY64" fmla="*/ 2591 h 10000"/>
                <a:gd name="connsiteX65" fmla="*/ 10 w 10000"/>
                <a:gd name="connsiteY65" fmla="*/ 907 h 10000"/>
                <a:gd name="connsiteX66" fmla="*/ 2272 w 10000"/>
                <a:gd name="connsiteY66" fmla="*/ 0 h 10000"/>
                <a:gd name="connsiteX67" fmla="*/ 2426 w 10000"/>
                <a:gd name="connsiteY67" fmla="*/ 43 h 10000"/>
                <a:gd name="connsiteX68" fmla="*/ 2569 w 10000"/>
                <a:gd name="connsiteY68" fmla="*/ 115 h 10000"/>
                <a:gd name="connsiteX69" fmla="*/ 2712 w 10000"/>
                <a:gd name="connsiteY69" fmla="*/ 188 h 10000"/>
                <a:gd name="connsiteX70" fmla="*/ 2845 w 10000"/>
                <a:gd name="connsiteY70" fmla="*/ 274 h 10000"/>
                <a:gd name="connsiteX71" fmla="*/ 2989 w 10000"/>
                <a:gd name="connsiteY71" fmla="*/ 375 h 10000"/>
                <a:gd name="connsiteX72" fmla="*/ 3112 w 10000"/>
                <a:gd name="connsiteY72" fmla="*/ 461 h 10000"/>
                <a:gd name="connsiteX73" fmla="*/ 3234 w 10000"/>
                <a:gd name="connsiteY73" fmla="*/ 590 h 10000"/>
                <a:gd name="connsiteX74" fmla="*/ 3367 w 10000"/>
                <a:gd name="connsiteY74" fmla="*/ 720 h 10000"/>
                <a:gd name="connsiteX75" fmla="*/ 3490 w 10000"/>
                <a:gd name="connsiteY75" fmla="*/ 850 h 10000"/>
                <a:gd name="connsiteX76" fmla="*/ 3726 w 10000"/>
                <a:gd name="connsiteY76" fmla="*/ 1137 h 10000"/>
                <a:gd name="connsiteX77" fmla="*/ 3941 w 10000"/>
                <a:gd name="connsiteY77" fmla="*/ 1482 h 10000"/>
                <a:gd name="connsiteX78" fmla="*/ 4145 w 10000"/>
                <a:gd name="connsiteY78" fmla="*/ 1842 h 10000"/>
                <a:gd name="connsiteX79" fmla="*/ 4340 w 10000"/>
                <a:gd name="connsiteY79" fmla="*/ 2231 h 10000"/>
                <a:gd name="connsiteX80" fmla="*/ 4534 w 10000"/>
                <a:gd name="connsiteY80" fmla="*/ 2634 h 10000"/>
                <a:gd name="connsiteX81" fmla="*/ 4708 w 10000"/>
                <a:gd name="connsiteY81" fmla="*/ 3051 h 10000"/>
                <a:gd name="connsiteX82" fmla="*/ 4893 w 10000"/>
                <a:gd name="connsiteY82" fmla="*/ 3483 h 10000"/>
                <a:gd name="connsiteX83" fmla="*/ 5056 w 10000"/>
                <a:gd name="connsiteY83" fmla="*/ 3927 h 10000"/>
                <a:gd name="connsiteX84" fmla="*/ 5363 w 10000"/>
                <a:gd name="connsiteY84" fmla="*/ 4834 h 10000"/>
                <a:gd name="connsiteX85" fmla="*/ 5967 w 10000"/>
                <a:gd name="connsiteY85" fmla="*/ 6633 h 10000"/>
                <a:gd name="connsiteX86" fmla="*/ 6254 w 10000"/>
                <a:gd name="connsiteY86" fmla="*/ 7468 h 10000"/>
                <a:gd name="connsiteX87" fmla="*/ 6407 w 10000"/>
                <a:gd name="connsiteY87" fmla="*/ 7828 h 10000"/>
                <a:gd name="connsiteX88" fmla="*/ 6551 w 10000"/>
                <a:gd name="connsiteY88" fmla="*/ 8201 h 10000"/>
                <a:gd name="connsiteX89" fmla="*/ 6714 w 10000"/>
                <a:gd name="connsiteY89" fmla="*/ 8533 h 10000"/>
                <a:gd name="connsiteX90" fmla="*/ 6868 w 10000"/>
                <a:gd name="connsiteY90" fmla="*/ 8821 h 10000"/>
                <a:gd name="connsiteX91" fmla="*/ 7021 w 10000"/>
                <a:gd name="connsiteY91" fmla="*/ 9093 h 10000"/>
                <a:gd name="connsiteX92" fmla="*/ 7195 w 10000"/>
                <a:gd name="connsiteY92" fmla="*/ 9295 h 10000"/>
                <a:gd name="connsiteX93" fmla="*/ 7288 w 10000"/>
                <a:gd name="connsiteY93" fmla="*/ 9395 h 10000"/>
                <a:gd name="connsiteX94" fmla="*/ 7369 w 10000"/>
                <a:gd name="connsiteY94" fmla="*/ 9497 h 10000"/>
                <a:gd name="connsiteX95" fmla="*/ 7462 w 10000"/>
                <a:gd name="connsiteY95" fmla="*/ 9554 h 10000"/>
                <a:gd name="connsiteX96" fmla="*/ 7554 w 10000"/>
                <a:gd name="connsiteY96" fmla="*/ 9626 h 10000"/>
                <a:gd name="connsiteX97" fmla="*/ 7646 w 10000"/>
                <a:gd name="connsiteY97" fmla="*/ 9669 h 10000"/>
                <a:gd name="connsiteX98" fmla="*/ 7748 w 10000"/>
                <a:gd name="connsiteY98" fmla="*/ 9698 h 10000"/>
                <a:gd name="connsiteX99" fmla="*/ 7851 w 10000"/>
                <a:gd name="connsiteY99" fmla="*/ 9741 h 10000"/>
                <a:gd name="connsiteX100" fmla="*/ 7943 w 10000"/>
                <a:gd name="connsiteY100" fmla="*/ 9741 h 10000"/>
                <a:gd name="connsiteX0" fmla="*/ 7933 w 9990"/>
                <a:gd name="connsiteY0" fmla="*/ 9741 h 10000"/>
                <a:gd name="connsiteX1" fmla="*/ 7933 w 9990"/>
                <a:gd name="connsiteY1" fmla="*/ 9741 h 10000"/>
                <a:gd name="connsiteX2" fmla="*/ 8066 w 9990"/>
                <a:gd name="connsiteY2" fmla="*/ 9741 h 10000"/>
                <a:gd name="connsiteX3" fmla="*/ 8168 w 9990"/>
                <a:gd name="connsiteY3" fmla="*/ 9698 h 10000"/>
                <a:gd name="connsiteX4" fmla="*/ 8281 w 9990"/>
                <a:gd name="connsiteY4" fmla="*/ 9655 h 10000"/>
                <a:gd name="connsiteX5" fmla="*/ 8393 w 9990"/>
                <a:gd name="connsiteY5" fmla="*/ 9611 h 10000"/>
                <a:gd name="connsiteX6" fmla="*/ 8496 w 9990"/>
                <a:gd name="connsiteY6" fmla="*/ 9526 h 10000"/>
                <a:gd name="connsiteX7" fmla="*/ 8598 w 9990"/>
                <a:gd name="connsiteY7" fmla="*/ 9425 h 10000"/>
                <a:gd name="connsiteX8" fmla="*/ 8690 w 9990"/>
                <a:gd name="connsiteY8" fmla="*/ 9338 h 10000"/>
                <a:gd name="connsiteX9" fmla="*/ 8792 w 9990"/>
                <a:gd name="connsiteY9" fmla="*/ 9209 h 10000"/>
                <a:gd name="connsiteX10" fmla="*/ 8905 w 9990"/>
                <a:gd name="connsiteY10" fmla="*/ 9079 h 10000"/>
                <a:gd name="connsiteX11" fmla="*/ 8997 w 9990"/>
                <a:gd name="connsiteY11" fmla="*/ 8936 h 10000"/>
                <a:gd name="connsiteX12" fmla="*/ 9181 w 9990"/>
                <a:gd name="connsiteY12" fmla="*/ 8604 h 10000"/>
                <a:gd name="connsiteX13" fmla="*/ 9366 w 9990"/>
                <a:gd name="connsiteY13" fmla="*/ 8231 h 10000"/>
                <a:gd name="connsiteX14" fmla="*/ 9529 w 9990"/>
                <a:gd name="connsiteY14" fmla="*/ 7828 h 10000"/>
                <a:gd name="connsiteX15" fmla="*/ 9765 w 9990"/>
                <a:gd name="connsiteY15" fmla="*/ 8274 h 10000"/>
                <a:gd name="connsiteX16" fmla="*/ 9990 w 9990"/>
                <a:gd name="connsiteY16" fmla="*/ 8691 h 10000"/>
                <a:gd name="connsiteX17" fmla="*/ 9775 w 9990"/>
                <a:gd name="connsiteY17" fmla="*/ 8979 h 10000"/>
                <a:gd name="connsiteX18" fmla="*/ 9560 w 9990"/>
                <a:gd name="connsiteY18" fmla="*/ 9238 h 10000"/>
                <a:gd name="connsiteX19" fmla="*/ 9314 w 9990"/>
                <a:gd name="connsiteY19" fmla="*/ 9467 h 10000"/>
                <a:gd name="connsiteX20" fmla="*/ 9202 w 9990"/>
                <a:gd name="connsiteY20" fmla="*/ 9554 h 10000"/>
                <a:gd name="connsiteX21" fmla="*/ 9069 w 9990"/>
                <a:gd name="connsiteY21" fmla="*/ 9655 h 10000"/>
                <a:gd name="connsiteX22" fmla="*/ 8936 w 9990"/>
                <a:gd name="connsiteY22" fmla="*/ 9741 h 10000"/>
                <a:gd name="connsiteX23" fmla="*/ 8813 w 9990"/>
                <a:gd name="connsiteY23" fmla="*/ 9798 h 10000"/>
                <a:gd name="connsiteX24" fmla="*/ 8670 w 9990"/>
                <a:gd name="connsiteY24" fmla="*/ 9870 h 10000"/>
                <a:gd name="connsiteX25" fmla="*/ 8537 w 9990"/>
                <a:gd name="connsiteY25" fmla="*/ 9914 h 10000"/>
                <a:gd name="connsiteX26" fmla="*/ 8393 w 9990"/>
                <a:gd name="connsiteY26" fmla="*/ 9943 h 10000"/>
                <a:gd name="connsiteX27" fmla="*/ 8250 w 9990"/>
                <a:gd name="connsiteY27" fmla="*/ 9971 h 10000"/>
                <a:gd name="connsiteX28" fmla="*/ 8096 w 9990"/>
                <a:gd name="connsiteY28" fmla="*/ 10000 h 10000"/>
                <a:gd name="connsiteX29" fmla="*/ 7933 w 9990"/>
                <a:gd name="connsiteY29" fmla="*/ 10000 h 10000"/>
                <a:gd name="connsiteX30" fmla="*/ 7769 w 9990"/>
                <a:gd name="connsiteY30" fmla="*/ 10000 h 10000"/>
                <a:gd name="connsiteX31" fmla="*/ 7615 w 9990"/>
                <a:gd name="connsiteY31" fmla="*/ 9957 h 10000"/>
                <a:gd name="connsiteX32" fmla="*/ 7452 w 9990"/>
                <a:gd name="connsiteY32" fmla="*/ 9929 h 10000"/>
                <a:gd name="connsiteX33" fmla="*/ 7298 w 9990"/>
                <a:gd name="connsiteY33" fmla="*/ 9886 h 10000"/>
                <a:gd name="connsiteX34" fmla="*/ 7155 w 9990"/>
                <a:gd name="connsiteY34" fmla="*/ 9812 h 10000"/>
                <a:gd name="connsiteX35" fmla="*/ 7011 w 9990"/>
                <a:gd name="connsiteY35" fmla="*/ 9755 h 10000"/>
                <a:gd name="connsiteX36" fmla="*/ 6878 w 9990"/>
                <a:gd name="connsiteY36" fmla="*/ 9655 h 10000"/>
                <a:gd name="connsiteX37" fmla="*/ 6735 w 9990"/>
                <a:gd name="connsiteY37" fmla="*/ 9554 h 10000"/>
                <a:gd name="connsiteX38" fmla="*/ 6612 w 9990"/>
                <a:gd name="connsiteY38" fmla="*/ 9467 h 10000"/>
                <a:gd name="connsiteX39" fmla="*/ 6469 w 9990"/>
                <a:gd name="connsiteY39" fmla="*/ 9338 h 10000"/>
                <a:gd name="connsiteX40" fmla="*/ 6356 w 9990"/>
                <a:gd name="connsiteY40" fmla="*/ 9224 h 10000"/>
                <a:gd name="connsiteX41" fmla="*/ 6234 w 9990"/>
                <a:gd name="connsiteY41" fmla="*/ 9079 h 10000"/>
                <a:gd name="connsiteX42" fmla="*/ 5998 w 9990"/>
                <a:gd name="connsiteY42" fmla="*/ 8777 h 10000"/>
                <a:gd name="connsiteX43" fmla="*/ 5783 w 9990"/>
                <a:gd name="connsiteY43" fmla="*/ 8446 h 10000"/>
                <a:gd name="connsiteX44" fmla="*/ 5579 w 9990"/>
                <a:gd name="connsiteY44" fmla="*/ 8086 h 10000"/>
                <a:gd name="connsiteX45" fmla="*/ 5384 w 9990"/>
                <a:gd name="connsiteY45" fmla="*/ 7697 h 10000"/>
                <a:gd name="connsiteX46" fmla="*/ 5190 w 9990"/>
                <a:gd name="connsiteY46" fmla="*/ 7295 h 10000"/>
                <a:gd name="connsiteX47" fmla="*/ 5016 w 9990"/>
                <a:gd name="connsiteY47" fmla="*/ 6878 h 10000"/>
                <a:gd name="connsiteX48" fmla="*/ 4842 w 9990"/>
                <a:gd name="connsiteY48" fmla="*/ 6446 h 10000"/>
                <a:gd name="connsiteX49" fmla="*/ 4678 w 9990"/>
                <a:gd name="connsiteY49" fmla="*/ 6000 h 10000"/>
                <a:gd name="connsiteX50" fmla="*/ 4361 w 9990"/>
                <a:gd name="connsiteY50" fmla="*/ 5094 h 10000"/>
                <a:gd name="connsiteX51" fmla="*/ 3767 w 9990"/>
                <a:gd name="connsiteY51" fmla="*/ 3310 h 10000"/>
                <a:gd name="connsiteX52" fmla="*/ 3634 w 9990"/>
                <a:gd name="connsiteY52" fmla="*/ 2863 h 10000"/>
                <a:gd name="connsiteX53" fmla="*/ 3480 w 9990"/>
                <a:gd name="connsiteY53" fmla="*/ 2460 h 10000"/>
                <a:gd name="connsiteX54" fmla="*/ 3337 w 9990"/>
                <a:gd name="connsiteY54" fmla="*/ 2101 h 10000"/>
                <a:gd name="connsiteX55" fmla="*/ 3183 w 9990"/>
                <a:gd name="connsiteY55" fmla="*/ 1727 h 10000"/>
                <a:gd name="connsiteX56" fmla="*/ 3030 w 9990"/>
                <a:gd name="connsiteY56" fmla="*/ 1396 h 10000"/>
                <a:gd name="connsiteX57" fmla="*/ 2876 w 9990"/>
                <a:gd name="connsiteY57" fmla="*/ 1108 h 10000"/>
                <a:gd name="connsiteX58" fmla="*/ 2713 w 9990"/>
                <a:gd name="connsiteY58" fmla="*/ 836 h 10000"/>
                <a:gd name="connsiteX59" fmla="*/ 2549 w 9990"/>
                <a:gd name="connsiteY59" fmla="*/ 634 h 10000"/>
                <a:gd name="connsiteX60" fmla="*/ 2457 w 9990"/>
                <a:gd name="connsiteY60" fmla="*/ 533 h 10000"/>
                <a:gd name="connsiteX61" fmla="*/ 2365 w 9990"/>
                <a:gd name="connsiteY61" fmla="*/ 432 h 10000"/>
                <a:gd name="connsiteX62" fmla="*/ 2272 w 9990"/>
                <a:gd name="connsiteY62" fmla="*/ 375 h 10000"/>
                <a:gd name="connsiteX63" fmla="*/ 2180 w 9990"/>
                <a:gd name="connsiteY63" fmla="*/ 302 h 10000"/>
                <a:gd name="connsiteX64" fmla="*/ 0 w 9990"/>
                <a:gd name="connsiteY64" fmla="*/ 907 h 10000"/>
                <a:gd name="connsiteX65" fmla="*/ 2262 w 9990"/>
                <a:gd name="connsiteY65" fmla="*/ 0 h 10000"/>
                <a:gd name="connsiteX66" fmla="*/ 2416 w 9990"/>
                <a:gd name="connsiteY66" fmla="*/ 43 h 10000"/>
                <a:gd name="connsiteX67" fmla="*/ 2559 w 9990"/>
                <a:gd name="connsiteY67" fmla="*/ 115 h 10000"/>
                <a:gd name="connsiteX68" fmla="*/ 2702 w 9990"/>
                <a:gd name="connsiteY68" fmla="*/ 188 h 10000"/>
                <a:gd name="connsiteX69" fmla="*/ 2835 w 9990"/>
                <a:gd name="connsiteY69" fmla="*/ 274 h 10000"/>
                <a:gd name="connsiteX70" fmla="*/ 2979 w 9990"/>
                <a:gd name="connsiteY70" fmla="*/ 375 h 10000"/>
                <a:gd name="connsiteX71" fmla="*/ 3102 w 9990"/>
                <a:gd name="connsiteY71" fmla="*/ 461 h 10000"/>
                <a:gd name="connsiteX72" fmla="*/ 3224 w 9990"/>
                <a:gd name="connsiteY72" fmla="*/ 590 h 10000"/>
                <a:gd name="connsiteX73" fmla="*/ 3357 w 9990"/>
                <a:gd name="connsiteY73" fmla="*/ 720 h 10000"/>
                <a:gd name="connsiteX74" fmla="*/ 3480 w 9990"/>
                <a:gd name="connsiteY74" fmla="*/ 850 h 10000"/>
                <a:gd name="connsiteX75" fmla="*/ 3716 w 9990"/>
                <a:gd name="connsiteY75" fmla="*/ 1137 h 10000"/>
                <a:gd name="connsiteX76" fmla="*/ 3931 w 9990"/>
                <a:gd name="connsiteY76" fmla="*/ 1482 h 10000"/>
                <a:gd name="connsiteX77" fmla="*/ 4135 w 9990"/>
                <a:gd name="connsiteY77" fmla="*/ 1842 h 10000"/>
                <a:gd name="connsiteX78" fmla="*/ 4330 w 9990"/>
                <a:gd name="connsiteY78" fmla="*/ 2231 h 10000"/>
                <a:gd name="connsiteX79" fmla="*/ 4524 w 9990"/>
                <a:gd name="connsiteY79" fmla="*/ 2634 h 10000"/>
                <a:gd name="connsiteX80" fmla="*/ 4698 w 9990"/>
                <a:gd name="connsiteY80" fmla="*/ 3051 h 10000"/>
                <a:gd name="connsiteX81" fmla="*/ 4883 w 9990"/>
                <a:gd name="connsiteY81" fmla="*/ 3483 h 10000"/>
                <a:gd name="connsiteX82" fmla="*/ 5046 w 9990"/>
                <a:gd name="connsiteY82" fmla="*/ 3927 h 10000"/>
                <a:gd name="connsiteX83" fmla="*/ 5353 w 9990"/>
                <a:gd name="connsiteY83" fmla="*/ 4834 h 10000"/>
                <a:gd name="connsiteX84" fmla="*/ 5957 w 9990"/>
                <a:gd name="connsiteY84" fmla="*/ 6633 h 10000"/>
                <a:gd name="connsiteX85" fmla="*/ 6244 w 9990"/>
                <a:gd name="connsiteY85" fmla="*/ 7468 h 10000"/>
                <a:gd name="connsiteX86" fmla="*/ 6397 w 9990"/>
                <a:gd name="connsiteY86" fmla="*/ 7828 h 10000"/>
                <a:gd name="connsiteX87" fmla="*/ 6541 w 9990"/>
                <a:gd name="connsiteY87" fmla="*/ 8201 h 10000"/>
                <a:gd name="connsiteX88" fmla="*/ 6704 w 9990"/>
                <a:gd name="connsiteY88" fmla="*/ 8533 h 10000"/>
                <a:gd name="connsiteX89" fmla="*/ 6858 w 9990"/>
                <a:gd name="connsiteY89" fmla="*/ 8821 h 10000"/>
                <a:gd name="connsiteX90" fmla="*/ 7011 w 9990"/>
                <a:gd name="connsiteY90" fmla="*/ 9093 h 10000"/>
                <a:gd name="connsiteX91" fmla="*/ 7185 w 9990"/>
                <a:gd name="connsiteY91" fmla="*/ 9295 h 10000"/>
                <a:gd name="connsiteX92" fmla="*/ 7278 w 9990"/>
                <a:gd name="connsiteY92" fmla="*/ 9395 h 10000"/>
                <a:gd name="connsiteX93" fmla="*/ 7359 w 9990"/>
                <a:gd name="connsiteY93" fmla="*/ 9497 h 10000"/>
                <a:gd name="connsiteX94" fmla="*/ 7452 w 9990"/>
                <a:gd name="connsiteY94" fmla="*/ 9554 h 10000"/>
                <a:gd name="connsiteX95" fmla="*/ 7544 w 9990"/>
                <a:gd name="connsiteY95" fmla="*/ 9626 h 10000"/>
                <a:gd name="connsiteX96" fmla="*/ 7636 w 9990"/>
                <a:gd name="connsiteY96" fmla="*/ 9669 h 10000"/>
                <a:gd name="connsiteX97" fmla="*/ 7738 w 9990"/>
                <a:gd name="connsiteY97" fmla="*/ 9698 h 10000"/>
                <a:gd name="connsiteX98" fmla="*/ 7841 w 9990"/>
                <a:gd name="connsiteY98" fmla="*/ 9741 h 10000"/>
                <a:gd name="connsiteX99" fmla="*/ 7933 w 9990"/>
                <a:gd name="connsiteY99" fmla="*/ 9741 h 10000"/>
                <a:gd name="connsiteX0" fmla="*/ 5759 w 7818"/>
                <a:gd name="connsiteY0" fmla="*/ 9741 h 10000"/>
                <a:gd name="connsiteX1" fmla="*/ 5759 w 7818"/>
                <a:gd name="connsiteY1" fmla="*/ 9741 h 10000"/>
                <a:gd name="connsiteX2" fmla="*/ 5892 w 7818"/>
                <a:gd name="connsiteY2" fmla="*/ 9741 h 10000"/>
                <a:gd name="connsiteX3" fmla="*/ 5994 w 7818"/>
                <a:gd name="connsiteY3" fmla="*/ 9698 h 10000"/>
                <a:gd name="connsiteX4" fmla="*/ 6107 w 7818"/>
                <a:gd name="connsiteY4" fmla="*/ 9655 h 10000"/>
                <a:gd name="connsiteX5" fmla="*/ 6219 w 7818"/>
                <a:gd name="connsiteY5" fmla="*/ 9611 h 10000"/>
                <a:gd name="connsiteX6" fmla="*/ 6323 w 7818"/>
                <a:gd name="connsiteY6" fmla="*/ 9526 h 10000"/>
                <a:gd name="connsiteX7" fmla="*/ 6425 w 7818"/>
                <a:gd name="connsiteY7" fmla="*/ 9425 h 10000"/>
                <a:gd name="connsiteX8" fmla="*/ 6517 w 7818"/>
                <a:gd name="connsiteY8" fmla="*/ 9338 h 10000"/>
                <a:gd name="connsiteX9" fmla="*/ 6619 w 7818"/>
                <a:gd name="connsiteY9" fmla="*/ 9209 h 10000"/>
                <a:gd name="connsiteX10" fmla="*/ 6732 w 7818"/>
                <a:gd name="connsiteY10" fmla="*/ 9079 h 10000"/>
                <a:gd name="connsiteX11" fmla="*/ 6824 w 7818"/>
                <a:gd name="connsiteY11" fmla="*/ 8936 h 10000"/>
                <a:gd name="connsiteX12" fmla="*/ 7008 w 7818"/>
                <a:gd name="connsiteY12" fmla="*/ 8604 h 10000"/>
                <a:gd name="connsiteX13" fmla="*/ 7193 w 7818"/>
                <a:gd name="connsiteY13" fmla="*/ 8231 h 10000"/>
                <a:gd name="connsiteX14" fmla="*/ 7357 w 7818"/>
                <a:gd name="connsiteY14" fmla="*/ 7828 h 10000"/>
                <a:gd name="connsiteX15" fmla="*/ 7593 w 7818"/>
                <a:gd name="connsiteY15" fmla="*/ 8274 h 10000"/>
                <a:gd name="connsiteX16" fmla="*/ 7818 w 7818"/>
                <a:gd name="connsiteY16" fmla="*/ 8691 h 10000"/>
                <a:gd name="connsiteX17" fmla="*/ 7603 w 7818"/>
                <a:gd name="connsiteY17" fmla="*/ 8979 h 10000"/>
                <a:gd name="connsiteX18" fmla="*/ 7388 w 7818"/>
                <a:gd name="connsiteY18" fmla="*/ 9238 h 10000"/>
                <a:gd name="connsiteX19" fmla="*/ 7141 w 7818"/>
                <a:gd name="connsiteY19" fmla="*/ 9467 h 10000"/>
                <a:gd name="connsiteX20" fmla="*/ 7029 w 7818"/>
                <a:gd name="connsiteY20" fmla="*/ 9554 h 10000"/>
                <a:gd name="connsiteX21" fmla="*/ 6896 w 7818"/>
                <a:gd name="connsiteY21" fmla="*/ 9655 h 10000"/>
                <a:gd name="connsiteX22" fmla="*/ 6763 w 7818"/>
                <a:gd name="connsiteY22" fmla="*/ 9741 h 10000"/>
                <a:gd name="connsiteX23" fmla="*/ 6640 w 7818"/>
                <a:gd name="connsiteY23" fmla="*/ 9798 h 10000"/>
                <a:gd name="connsiteX24" fmla="*/ 6497 w 7818"/>
                <a:gd name="connsiteY24" fmla="*/ 9870 h 10000"/>
                <a:gd name="connsiteX25" fmla="*/ 6364 w 7818"/>
                <a:gd name="connsiteY25" fmla="*/ 9914 h 10000"/>
                <a:gd name="connsiteX26" fmla="*/ 6219 w 7818"/>
                <a:gd name="connsiteY26" fmla="*/ 9943 h 10000"/>
                <a:gd name="connsiteX27" fmla="*/ 6076 w 7818"/>
                <a:gd name="connsiteY27" fmla="*/ 9971 h 10000"/>
                <a:gd name="connsiteX28" fmla="*/ 5922 w 7818"/>
                <a:gd name="connsiteY28" fmla="*/ 10000 h 10000"/>
                <a:gd name="connsiteX29" fmla="*/ 5759 w 7818"/>
                <a:gd name="connsiteY29" fmla="*/ 10000 h 10000"/>
                <a:gd name="connsiteX30" fmla="*/ 5595 w 7818"/>
                <a:gd name="connsiteY30" fmla="*/ 10000 h 10000"/>
                <a:gd name="connsiteX31" fmla="*/ 5441 w 7818"/>
                <a:gd name="connsiteY31" fmla="*/ 9957 h 10000"/>
                <a:gd name="connsiteX32" fmla="*/ 5277 w 7818"/>
                <a:gd name="connsiteY32" fmla="*/ 9929 h 10000"/>
                <a:gd name="connsiteX33" fmla="*/ 5123 w 7818"/>
                <a:gd name="connsiteY33" fmla="*/ 9886 h 10000"/>
                <a:gd name="connsiteX34" fmla="*/ 4980 w 7818"/>
                <a:gd name="connsiteY34" fmla="*/ 9812 h 10000"/>
                <a:gd name="connsiteX35" fmla="*/ 4836 w 7818"/>
                <a:gd name="connsiteY35" fmla="*/ 9755 h 10000"/>
                <a:gd name="connsiteX36" fmla="*/ 4703 w 7818"/>
                <a:gd name="connsiteY36" fmla="*/ 9655 h 10000"/>
                <a:gd name="connsiteX37" fmla="*/ 4560 w 7818"/>
                <a:gd name="connsiteY37" fmla="*/ 9554 h 10000"/>
                <a:gd name="connsiteX38" fmla="*/ 4437 w 7818"/>
                <a:gd name="connsiteY38" fmla="*/ 9467 h 10000"/>
                <a:gd name="connsiteX39" fmla="*/ 4293 w 7818"/>
                <a:gd name="connsiteY39" fmla="*/ 9338 h 10000"/>
                <a:gd name="connsiteX40" fmla="*/ 4180 w 7818"/>
                <a:gd name="connsiteY40" fmla="*/ 9224 h 10000"/>
                <a:gd name="connsiteX41" fmla="*/ 4058 w 7818"/>
                <a:gd name="connsiteY41" fmla="*/ 9079 h 10000"/>
                <a:gd name="connsiteX42" fmla="*/ 3822 w 7818"/>
                <a:gd name="connsiteY42" fmla="*/ 8777 h 10000"/>
                <a:gd name="connsiteX43" fmla="*/ 3607 w 7818"/>
                <a:gd name="connsiteY43" fmla="*/ 8446 h 10000"/>
                <a:gd name="connsiteX44" fmla="*/ 3403 w 7818"/>
                <a:gd name="connsiteY44" fmla="*/ 8086 h 10000"/>
                <a:gd name="connsiteX45" fmla="*/ 3207 w 7818"/>
                <a:gd name="connsiteY45" fmla="*/ 7697 h 10000"/>
                <a:gd name="connsiteX46" fmla="*/ 3013 w 7818"/>
                <a:gd name="connsiteY46" fmla="*/ 7295 h 10000"/>
                <a:gd name="connsiteX47" fmla="*/ 2839 w 7818"/>
                <a:gd name="connsiteY47" fmla="*/ 6878 h 10000"/>
                <a:gd name="connsiteX48" fmla="*/ 2665 w 7818"/>
                <a:gd name="connsiteY48" fmla="*/ 6446 h 10000"/>
                <a:gd name="connsiteX49" fmla="*/ 2501 w 7818"/>
                <a:gd name="connsiteY49" fmla="*/ 6000 h 10000"/>
                <a:gd name="connsiteX50" fmla="*/ 2183 w 7818"/>
                <a:gd name="connsiteY50" fmla="*/ 5094 h 10000"/>
                <a:gd name="connsiteX51" fmla="*/ 1589 w 7818"/>
                <a:gd name="connsiteY51" fmla="*/ 3310 h 10000"/>
                <a:gd name="connsiteX52" fmla="*/ 1456 w 7818"/>
                <a:gd name="connsiteY52" fmla="*/ 2863 h 10000"/>
                <a:gd name="connsiteX53" fmla="*/ 1301 w 7818"/>
                <a:gd name="connsiteY53" fmla="*/ 2460 h 10000"/>
                <a:gd name="connsiteX54" fmla="*/ 1158 w 7818"/>
                <a:gd name="connsiteY54" fmla="*/ 2101 h 10000"/>
                <a:gd name="connsiteX55" fmla="*/ 1004 w 7818"/>
                <a:gd name="connsiteY55" fmla="*/ 1727 h 10000"/>
                <a:gd name="connsiteX56" fmla="*/ 851 w 7818"/>
                <a:gd name="connsiteY56" fmla="*/ 1396 h 10000"/>
                <a:gd name="connsiteX57" fmla="*/ 697 w 7818"/>
                <a:gd name="connsiteY57" fmla="*/ 1108 h 10000"/>
                <a:gd name="connsiteX58" fmla="*/ 534 w 7818"/>
                <a:gd name="connsiteY58" fmla="*/ 836 h 10000"/>
                <a:gd name="connsiteX59" fmla="*/ 370 w 7818"/>
                <a:gd name="connsiteY59" fmla="*/ 634 h 10000"/>
                <a:gd name="connsiteX60" fmla="*/ 277 w 7818"/>
                <a:gd name="connsiteY60" fmla="*/ 533 h 10000"/>
                <a:gd name="connsiteX61" fmla="*/ 185 w 7818"/>
                <a:gd name="connsiteY61" fmla="*/ 432 h 10000"/>
                <a:gd name="connsiteX62" fmla="*/ 92 w 7818"/>
                <a:gd name="connsiteY62" fmla="*/ 375 h 10000"/>
                <a:gd name="connsiteX63" fmla="*/ 0 w 7818"/>
                <a:gd name="connsiteY63" fmla="*/ 302 h 10000"/>
                <a:gd name="connsiteX64" fmla="*/ 82 w 7818"/>
                <a:gd name="connsiteY64" fmla="*/ 0 h 10000"/>
                <a:gd name="connsiteX65" fmla="*/ 236 w 7818"/>
                <a:gd name="connsiteY65" fmla="*/ 43 h 10000"/>
                <a:gd name="connsiteX66" fmla="*/ 380 w 7818"/>
                <a:gd name="connsiteY66" fmla="*/ 115 h 10000"/>
                <a:gd name="connsiteX67" fmla="*/ 523 w 7818"/>
                <a:gd name="connsiteY67" fmla="*/ 188 h 10000"/>
                <a:gd name="connsiteX68" fmla="*/ 656 w 7818"/>
                <a:gd name="connsiteY68" fmla="*/ 274 h 10000"/>
                <a:gd name="connsiteX69" fmla="*/ 800 w 7818"/>
                <a:gd name="connsiteY69" fmla="*/ 375 h 10000"/>
                <a:gd name="connsiteX70" fmla="*/ 923 w 7818"/>
                <a:gd name="connsiteY70" fmla="*/ 461 h 10000"/>
                <a:gd name="connsiteX71" fmla="*/ 1045 w 7818"/>
                <a:gd name="connsiteY71" fmla="*/ 590 h 10000"/>
                <a:gd name="connsiteX72" fmla="*/ 1178 w 7818"/>
                <a:gd name="connsiteY72" fmla="*/ 720 h 10000"/>
                <a:gd name="connsiteX73" fmla="*/ 1301 w 7818"/>
                <a:gd name="connsiteY73" fmla="*/ 850 h 10000"/>
                <a:gd name="connsiteX74" fmla="*/ 1538 w 7818"/>
                <a:gd name="connsiteY74" fmla="*/ 1137 h 10000"/>
                <a:gd name="connsiteX75" fmla="*/ 1753 w 7818"/>
                <a:gd name="connsiteY75" fmla="*/ 1482 h 10000"/>
                <a:gd name="connsiteX76" fmla="*/ 1957 w 7818"/>
                <a:gd name="connsiteY76" fmla="*/ 1842 h 10000"/>
                <a:gd name="connsiteX77" fmla="*/ 2152 w 7818"/>
                <a:gd name="connsiteY77" fmla="*/ 2231 h 10000"/>
                <a:gd name="connsiteX78" fmla="*/ 2347 w 7818"/>
                <a:gd name="connsiteY78" fmla="*/ 2634 h 10000"/>
                <a:gd name="connsiteX79" fmla="*/ 2521 w 7818"/>
                <a:gd name="connsiteY79" fmla="*/ 3051 h 10000"/>
                <a:gd name="connsiteX80" fmla="*/ 2706 w 7818"/>
                <a:gd name="connsiteY80" fmla="*/ 3483 h 10000"/>
                <a:gd name="connsiteX81" fmla="*/ 2869 w 7818"/>
                <a:gd name="connsiteY81" fmla="*/ 3927 h 10000"/>
                <a:gd name="connsiteX82" fmla="*/ 3176 w 7818"/>
                <a:gd name="connsiteY82" fmla="*/ 4834 h 10000"/>
                <a:gd name="connsiteX83" fmla="*/ 3781 w 7818"/>
                <a:gd name="connsiteY83" fmla="*/ 6633 h 10000"/>
                <a:gd name="connsiteX84" fmla="*/ 4068 w 7818"/>
                <a:gd name="connsiteY84" fmla="*/ 7468 h 10000"/>
                <a:gd name="connsiteX85" fmla="*/ 4221 w 7818"/>
                <a:gd name="connsiteY85" fmla="*/ 7828 h 10000"/>
                <a:gd name="connsiteX86" fmla="*/ 4366 w 7818"/>
                <a:gd name="connsiteY86" fmla="*/ 8201 h 10000"/>
                <a:gd name="connsiteX87" fmla="*/ 4529 w 7818"/>
                <a:gd name="connsiteY87" fmla="*/ 8533 h 10000"/>
                <a:gd name="connsiteX88" fmla="*/ 4683 w 7818"/>
                <a:gd name="connsiteY88" fmla="*/ 8821 h 10000"/>
                <a:gd name="connsiteX89" fmla="*/ 4836 w 7818"/>
                <a:gd name="connsiteY89" fmla="*/ 9093 h 10000"/>
                <a:gd name="connsiteX90" fmla="*/ 5010 w 7818"/>
                <a:gd name="connsiteY90" fmla="*/ 9295 h 10000"/>
                <a:gd name="connsiteX91" fmla="*/ 5103 w 7818"/>
                <a:gd name="connsiteY91" fmla="*/ 9395 h 10000"/>
                <a:gd name="connsiteX92" fmla="*/ 5184 w 7818"/>
                <a:gd name="connsiteY92" fmla="*/ 9497 h 10000"/>
                <a:gd name="connsiteX93" fmla="*/ 5277 w 7818"/>
                <a:gd name="connsiteY93" fmla="*/ 9554 h 10000"/>
                <a:gd name="connsiteX94" fmla="*/ 5370 w 7818"/>
                <a:gd name="connsiteY94" fmla="*/ 9626 h 10000"/>
                <a:gd name="connsiteX95" fmla="*/ 5462 w 7818"/>
                <a:gd name="connsiteY95" fmla="*/ 9669 h 10000"/>
                <a:gd name="connsiteX96" fmla="*/ 5564 w 7818"/>
                <a:gd name="connsiteY96" fmla="*/ 9698 h 10000"/>
                <a:gd name="connsiteX97" fmla="*/ 5667 w 7818"/>
                <a:gd name="connsiteY97" fmla="*/ 9741 h 10000"/>
                <a:gd name="connsiteX98" fmla="*/ 5759 w 7818"/>
                <a:gd name="connsiteY98" fmla="*/ 9741 h 10000"/>
                <a:gd name="connsiteX0" fmla="*/ 7919 w 10553"/>
                <a:gd name="connsiteY0" fmla="*/ 9741 h 10000"/>
                <a:gd name="connsiteX1" fmla="*/ 7919 w 10553"/>
                <a:gd name="connsiteY1" fmla="*/ 9741 h 10000"/>
                <a:gd name="connsiteX2" fmla="*/ 8089 w 10553"/>
                <a:gd name="connsiteY2" fmla="*/ 9741 h 10000"/>
                <a:gd name="connsiteX3" fmla="*/ 8220 w 10553"/>
                <a:gd name="connsiteY3" fmla="*/ 9698 h 10000"/>
                <a:gd name="connsiteX4" fmla="*/ 8364 w 10553"/>
                <a:gd name="connsiteY4" fmla="*/ 9655 h 10000"/>
                <a:gd name="connsiteX5" fmla="*/ 8508 w 10553"/>
                <a:gd name="connsiteY5" fmla="*/ 9611 h 10000"/>
                <a:gd name="connsiteX6" fmla="*/ 8641 w 10553"/>
                <a:gd name="connsiteY6" fmla="*/ 9526 h 10000"/>
                <a:gd name="connsiteX7" fmla="*/ 8771 w 10553"/>
                <a:gd name="connsiteY7" fmla="*/ 9425 h 10000"/>
                <a:gd name="connsiteX8" fmla="*/ 8889 w 10553"/>
                <a:gd name="connsiteY8" fmla="*/ 9338 h 10000"/>
                <a:gd name="connsiteX9" fmla="*/ 9019 w 10553"/>
                <a:gd name="connsiteY9" fmla="*/ 9209 h 10000"/>
                <a:gd name="connsiteX10" fmla="*/ 9164 w 10553"/>
                <a:gd name="connsiteY10" fmla="*/ 9079 h 10000"/>
                <a:gd name="connsiteX11" fmla="*/ 9282 w 10553"/>
                <a:gd name="connsiteY11" fmla="*/ 8936 h 10000"/>
                <a:gd name="connsiteX12" fmla="*/ 9517 w 10553"/>
                <a:gd name="connsiteY12" fmla="*/ 8604 h 10000"/>
                <a:gd name="connsiteX13" fmla="*/ 9754 w 10553"/>
                <a:gd name="connsiteY13" fmla="*/ 8231 h 10000"/>
                <a:gd name="connsiteX14" fmla="*/ 9963 w 10553"/>
                <a:gd name="connsiteY14" fmla="*/ 7828 h 10000"/>
                <a:gd name="connsiteX15" fmla="*/ 10265 w 10553"/>
                <a:gd name="connsiteY15" fmla="*/ 8274 h 10000"/>
                <a:gd name="connsiteX16" fmla="*/ 10553 w 10553"/>
                <a:gd name="connsiteY16" fmla="*/ 8691 h 10000"/>
                <a:gd name="connsiteX17" fmla="*/ 10278 w 10553"/>
                <a:gd name="connsiteY17" fmla="*/ 8979 h 10000"/>
                <a:gd name="connsiteX18" fmla="*/ 10003 w 10553"/>
                <a:gd name="connsiteY18" fmla="*/ 9238 h 10000"/>
                <a:gd name="connsiteX19" fmla="*/ 9687 w 10553"/>
                <a:gd name="connsiteY19" fmla="*/ 9467 h 10000"/>
                <a:gd name="connsiteX20" fmla="*/ 9544 w 10553"/>
                <a:gd name="connsiteY20" fmla="*/ 9554 h 10000"/>
                <a:gd name="connsiteX21" fmla="*/ 9374 w 10553"/>
                <a:gd name="connsiteY21" fmla="*/ 9655 h 10000"/>
                <a:gd name="connsiteX22" fmla="*/ 9204 w 10553"/>
                <a:gd name="connsiteY22" fmla="*/ 9741 h 10000"/>
                <a:gd name="connsiteX23" fmla="*/ 9046 w 10553"/>
                <a:gd name="connsiteY23" fmla="*/ 9798 h 10000"/>
                <a:gd name="connsiteX24" fmla="*/ 8863 w 10553"/>
                <a:gd name="connsiteY24" fmla="*/ 9870 h 10000"/>
                <a:gd name="connsiteX25" fmla="*/ 8693 w 10553"/>
                <a:gd name="connsiteY25" fmla="*/ 9914 h 10000"/>
                <a:gd name="connsiteX26" fmla="*/ 8508 w 10553"/>
                <a:gd name="connsiteY26" fmla="*/ 9943 h 10000"/>
                <a:gd name="connsiteX27" fmla="*/ 8325 w 10553"/>
                <a:gd name="connsiteY27" fmla="*/ 9971 h 10000"/>
                <a:gd name="connsiteX28" fmla="*/ 8128 w 10553"/>
                <a:gd name="connsiteY28" fmla="*/ 10000 h 10000"/>
                <a:gd name="connsiteX29" fmla="*/ 7919 w 10553"/>
                <a:gd name="connsiteY29" fmla="*/ 10000 h 10000"/>
                <a:gd name="connsiteX30" fmla="*/ 7710 w 10553"/>
                <a:gd name="connsiteY30" fmla="*/ 10000 h 10000"/>
                <a:gd name="connsiteX31" fmla="*/ 7513 w 10553"/>
                <a:gd name="connsiteY31" fmla="*/ 9957 h 10000"/>
                <a:gd name="connsiteX32" fmla="*/ 7303 w 10553"/>
                <a:gd name="connsiteY32" fmla="*/ 9929 h 10000"/>
                <a:gd name="connsiteX33" fmla="*/ 7106 w 10553"/>
                <a:gd name="connsiteY33" fmla="*/ 9886 h 10000"/>
                <a:gd name="connsiteX34" fmla="*/ 6923 w 10553"/>
                <a:gd name="connsiteY34" fmla="*/ 9812 h 10000"/>
                <a:gd name="connsiteX35" fmla="*/ 6739 w 10553"/>
                <a:gd name="connsiteY35" fmla="*/ 9755 h 10000"/>
                <a:gd name="connsiteX36" fmla="*/ 6569 w 10553"/>
                <a:gd name="connsiteY36" fmla="*/ 9655 h 10000"/>
                <a:gd name="connsiteX37" fmla="*/ 6386 w 10553"/>
                <a:gd name="connsiteY37" fmla="*/ 9554 h 10000"/>
                <a:gd name="connsiteX38" fmla="*/ 6228 w 10553"/>
                <a:gd name="connsiteY38" fmla="*/ 9467 h 10000"/>
                <a:gd name="connsiteX39" fmla="*/ 6044 w 10553"/>
                <a:gd name="connsiteY39" fmla="*/ 9338 h 10000"/>
                <a:gd name="connsiteX40" fmla="*/ 5900 w 10553"/>
                <a:gd name="connsiteY40" fmla="*/ 9224 h 10000"/>
                <a:gd name="connsiteX41" fmla="*/ 5744 w 10553"/>
                <a:gd name="connsiteY41" fmla="*/ 9079 h 10000"/>
                <a:gd name="connsiteX42" fmla="*/ 5442 w 10553"/>
                <a:gd name="connsiteY42" fmla="*/ 8777 h 10000"/>
                <a:gd name="connsiteX43" fmla="*/ 5167 w 10553"/>
                <a:gd name="connsiteY43" fmla="*/ 8446 h 10000"/>
                <a:gd name="connsiteX44" fmla="*/ 4906 w 10553"/>
                <a:gd name="connsiteY44" fmla="*/ 8086 h 10000"/>
                <a:gd name="connsiteX45" fmla="*/ 4655 w 10553"/>
                <a:gd name="connsiteY45" fmla="*/ 7697 h 10000"/>
                <a:gd name="connsiteX46" fmla="*/ 4407 w 10553"/>
                <a:gd name="connsiteY46" fmla="*/ 7295 h 10000"/>
                <a:gd name="connsiteX47" fmla="*/ 4184 w 10553"/>
                <a:gd name="connsiteY47" fmla="*/ 6878 h 10000"/>
                <a:gd name="connsiteX48" fmla="*/ 3962 w 10553"/>
                <a:gd name="connsiteY48" fmla="*/ 6446 h 10000"/>
                <a:gd name="connsiteX49" fmla="*/ 3752 w 10553"/>
                <a:gd name="connsiteY49" fmla="*/ 6000 h 10000"/>
                <a:gd name="connsiteX50" fmla="*/ 3345 w 10553"/>
                <a:gd name="connsiteY50" fmla="*/ 5094 h 10000"/>
                <a:gd name="connsiteX51" fmla="*/ 2585 w 10553"/>
                <a:gd name="connsiteY51" fmla="*/ 3310 h 10000"/>
                <a:gd name="connsiteX52" fmla="*/ 2415 w 10553"/>
                <a:gd name="connsiteY52" fmla="*/ 2863 h 10000"/>
                <a:gd name="connsiteX53" fmla="*/ 2217 w 10553"/>
                <a:gd name="connsiteY53" fmla="*/ 2460 h 10000"/>
                <a:gd name="connsiteX54" fmla="*/ 2034 w 10553"/>
                <a:gd name="connsiteY54" fmla="*/ 2101 h 10000"/>
                <a:gd name="connsiteX55" fmla="*/ 1837 w 10553"/>
                <a:gd name="connsiteY55" fmla="*/ 1727 h 10000"/>
                <a:gd name="connsiteX56" fmla="*/ 1642 w 10553"/>
                <a:gd name="connsiteY56" fmla="*/ 1396 h 10000"/>
                <a:gd name="connsiteX57" fmla="*/ 1445 w 10553"/>
                <a:gd name="connsiteY57" fmla="*/ 1108 h 10000"/>
                <a:gd name="connsiteX58" fmla="*/ 1236 w 10553"/>
                <a:gd name="connsiteY58" fmla="*/ 836 h 10000"/>
                <a:gd name="connsiteX59" fmla="*/ 1026 w 10553"/>
                <a:gd name="connsiteY59" fmla="*/ 634 h 10000"/>
                <a:gd name="connsiteX60" fmla="*/ 907 w 10553"/>
                <a:gd name="connsiteY60" fmla="*/ 533 h 10000"/>
                <a:gd name="connsiteX61" fmla="*/ 790 w 10553"/>
                <a:gd name="connsiteY61" fmla="*/ 432 h 10000"/>
                <a:gd name="connsiteX62" fmla="*/ 671 w 10553"/>
                <a:gd name="connsiteY62" fmla="*/ 375 h 10000"/>
                <a:gd name="connsiteX63" fmla="*/ 0 w 10553"/>
                <a:gd name="connsiteY63" fmla="*/ 841 h 10000"/>
                <a:gd name="connsiteX64" fmla="*/ 658 w 10553"/>
                <a:gd name="connsiteY64" fmla="*/ 0 h 10000"/>
                <a:gd name="connsiteX65" fmla="*/ 855 w 10553"/>
                <a:gd name="connsiteY65" fmla="*/ 43 h 10000"/>
                <a:gd name="connsiteX66" fmla="*/ 1039 w 10553"/>
                <a:gd name="connsiteY66" fmla="*/ 115 h 10000"/>
                <a:gd name="connsiteX67" fmla="*/ 1222 w 10553"/>
                <a:gd name="connsiteY67" fmla="*/ 188 h 10000"/>
                <a:gd name="connsiteX68" fmla="*/ 1392 w 10553"/>
                <a:gd name="connsiteY68" fmla="*/ 274 h 10000"/>
                <a:gd name="connsiteX69" fmla="*/ 1576 w 10553"/>
                <a:gd name="connsiteY69" fmla="*/ 375 h 10000"/>
                <a:gd name="connsiteX70" fmla="*/ 1734 w 10553"/>
                <a:gd name="connsiteY70" fmla="*/ 461 h 10000"/>
                <a:gd name="connsiteX71" fmla="*/ 1890 w 10553"/>
                <a:gd name="connsiteY71" fmla="*/ 590 h 10000"/>
                <a:gd name="connsiteX72" fmla="*/ 2060 w 10553"/>
                <a:gd name="connsiteY72" fmla="*/ 720 h 10000"/>
                <a:gd name="connsiteX73" fmla="*/ 2217 w 10553"/>
                <a:gd name="connsiteY73" fmla="*/ 850 h 10000"/>
                <a:gd name="connsiteX74" fmla="*/ 2520 w 10553"/>
                <a:gd name="connsiteY74" fmla="*/ 1137 h 10000"/>
                <a:gd name="connsiteX75" fmla="*/ 2795 w 10553"/>
                <a:gd name="connsiteY75" fmla="*/ 1482 h 10000"/>
                <a:gd name="connsiteX76" fmla="*/ 3056 w 10553"/>
                <a:gd name="connsiteY76" fmla="*/ 1842 h 10000"/>
                <a:gd name="connsiteX77" fmla="*/ 3306 w 10553"/>
                <a:gd name="connsiteY77" fmla="*/ 2231 h 10000"/>
                <a:gd name="connsiteX78" fmla="*/ 3555 w 10553"/>
                <a:gd name="connsiteY78" fmla="*/ 2634 h 10000"/>
                <a:gd name="connsiteX79" fmla="*/ 3778 w 10553"/>
                <a:gd name="connsiteY79" fmla="*/ 3051 h 10000"/>
                <a:gd name="connsiteX80" fmla="*/ 4014 w 10553"/>
                <a:gd name="connsiteY80" fmla="*/ 3483 h 10000"/>
                <a:gd name="connsiteX81" fmla="*/ 4223 w 10553"/>
                <a:gd name="connsiteY81" fmla="*/ 3927 h 10000"/>
                <a:gd name="connsiteX82" fmla="*/ 4615 w 10553"/>
                <a:gd name="connsiteY82" fmla="*/ 4834 h 10000"/>
                <a:gd name="connsiteX83" fmla="*/ 5389 w 10553"/>
                <a:gd name="connsiteY83" fmla="*/ 6633 h 10000"/>
                <a:gd name="connsiteX84" fmla="*/ 5756 w 10553"/>
                <a:gd name="connsiteY84" fmla="*/ 7468 h 10000"/>
                <a:gd name="connsiteX85" fmla="*/ 5952 w 10553"/>
                <a:gd name="connsiteY85" fmla="*/ 7828 h 10000"/>
                <a:gd name="connsiteX86" fmla="*/ 6138 w 10553"/>
                <a:gd name="connsiteY86" fmla="*/ 8201 h 10000"/>
                <a:gd name="connsiteX87" fmla="*/ 6346 w 10553"/>
                <a:gd name="connsiteY87" fmla="*/ 8533 h 10000"/>
                <a:gd name="connsiteX88" fmla="*/ 6543 w 10553"/>
                <a:gd name="connsiteY88" fmla="*/ 8821 h 10000"/>
                <a:gd name="connsiteX89" fmla="*/ 6739 w 10553"/>
                <a:gd name="connsiteY89" fmla="*/ 9093 h 10000"/>
                <a:gd name="connsiteX90" fmla="*/ 6961 w 10553"/>
                <a:gd name="connsiteY90" fmla="*/ 9295 h 10000"/>
                <a:gd name="connsiteX91" fmla="*/ 7080 w 10553"/>
                <a:gd name="connsiteY91" fmla="*/ 9395 h 10000"/>
                <a:gd name="connsiteX92" fmla="*/ 7184 w 10553"/>
                <a:gd name="connsiteY92" fmla="*/ 9497 h 10000"/>
                <a:gd name="connsiteX93" fmla="*/ 7303 w 10553"/>
                <a:gd name="connsiteY93" fmla="*/ 9554 h 10000"/>
                <a:gd name="connsiteX94" fmla="*/ 7422 w 10553"/>
                <a:gd name="connsiteY94" fmla="*/ 9626 h 10000"/>
                <a:gd name="connsiteX95" fmla="*/ 7539 w 10553"/>
                <a:gd name="connsiteY95" fmla="*/ 9669 h 10000"/>
                <a:gd name="connsiteX96" fmla="*/ 7670 w 10553"/>
                <a:gd name="connsiteY96" fmla="*/ 9698 h 10000"/>
                <a:gd name="connsiteX97" fmla="*/ 7802 w 10553"/>
                <a:gd name="connsiteY97" fmla="*/ 9741 h 10000"/>
                <a:gd name="connsiteX98" fmla="*/ 7919 w 10553"/>
                <a:gd name="connsiteY98" fmla="*/ 9741 h 10000"/>
                <a:gd name="connsiteX0" fmla="*/ 7960 w 10594"/>
                <a:gd name="connsiteY0" fmla="*/ 9813 h 10072"/>
                <a:gd name="connsiteX1" fmla="*/ 7960 w 10594"/>
                <a:gd name="connsiteY1" fmla="*/ 9813 h 10072"/>
                <a:gd name="connsiteX2" fmla="*/ 8130 w 10594"/>
                <a:gd name="connsiteY2" fmla="*/ 9813 h 10072"/>
                <a:gd name="connsiteX3" fmla="*/ 8261 w 10594"/>
                <a:gd name="connsiteY3" fmla="*/ 9770 h 10072"/>
                <a:gd name="connsiteX4" fmla="*/ 8405 w 10594"/>
                <a:gd name="connsiteY4" fmla="*/ 9727 h 10072"/>
                <a:gd name="connsiteX5" fmla="*/ 8549 w 10594"/>
                <a:gd name="connsiteY5" fmla="*/ 9683 h 10072"/>
                <a:gd name="connsiteX6" fmla="*/ 8682 w 10594"/>
                <a:gd name="connsiteY6" fmla="*/ 9598 h 10072"/>
                <a:gd name="connsiteX7" fmla="*/ 8812 w 10594"/>
                <a:gd name="connsiteY7" fmla="*/ 9497 h 10072"/>
                <a:gd name="connsiteX8" fmla="*/ 8930 w 10594"/>
                <a:gd name="connsiteY8" fmla="*/ 9410 h 10072"/>
                <a:gd name="connsiteX9" fmla="*/ 9060 w 10594"/>
                <a:gd name="connsiteY9" fmla="*/ 9281 h 10072"/>
                <a:gd name="connsiteX10" fmla="*/ 9205 w 10594"/>
                <a:gd name="connsiteY10" fmla="*/ 9151 h 10072"/>
                <a:gd name="connsiteX11" fmla="*/ 9323 w 10594"/>
                <a:gd name="connsiteY11" fmla="*/ 9008 h 10072"/>
                <a:gd name="connsiteX12" fmla="*/ 9558 w 10594"/>
                <a:gd name="connsiteY12" fmla="*/ 8676 h 10072"/>
                <a:gd name="connsiteX13" fmla="*/ 9795 w 10594"/>
                <a:gd name="connsiteY13" fmla="*/ 8303 h 10072"/>
                <a:gd name="connsiteX14" fmla="*/ 10004 w 10594"/>
                <a:gd name="connsiteY14" fmla="*/ 7900 h 10072"/>
                <a:gd name="connsiteX15" fmla="*/ 10306 w 10594"/>
                <a:gd name="connsiteY15" fmla="*/ 8346 h 10072"/>
                <a:gd name="connsiteX16" fmla="*/ 10594 w 10594"/>
                <a:gd name="connsiteY16" fmla="*/ 8763 h 10072"/>
                <a:gd name="connsiteX17" fmla="*/ 10319 w 10594"/>
                <a:gd name="connsiteY17" fmla="*/ 9051 h 10072"/>
                <a:gd name="connsiteX18" fmla="*/ 10044 w 10594"/>
                <a:gd name="connsiteY18" fmla="*/ 9310 h 10072"/>
                <a:gd name="connsiteX19" fmla="*/ 9728 w 10594"/>
                <a:gd name="connsiteY19" fmla="*/ 9539 h 10072"/>
                <a:gd name="connsiteX20" fmla="*/ 9585 w 10594"/>
                <a:gd name="connsiteY20" fmla="*/ 9626 h 10072"/>
                <a:gd name="connsiteX21" fmla="*/ 9415 w 10594"/>
                <a:gd name="connsiteY21" fmla="*/ 9727 h 10072"/>
                <a:gd name="connsiteX22" fmla="*/ 9245 w 10594"/>
                <a:gd name="connsiteY22" fmla="*/ 9813 h 10072"/>
                <a:gd name="connsiteX23" fmla="*/ 9087 w 10594"/>
                <a:gd name="connsiteY23" fmla="*/ 9870 h 10072"/>
                <a:gd name="connsiteX24" fmla="*/ 8904 w 10594"/>
                <a:gd name="connsiteY24" fmla="*/ 9942 h 10072"/>
                <a:gd name="connsiteX25" fmla="*/ 8734 w 10594"/>
                <a:gd name="connsiteY25" fmla="*/ 9986 h 10072"/>
                <a:gd name="connsiteX26" fmla="*/ 8549 w 10594"/>
                <a:gd name="connsiteY26" fmla="*/ 10015 h 10072"/>
                <a:gd name="connsiteX27" fmla="*/ 8366 w 10594"/>
                <a:gd name="connsiteY27" fmla="*/ 10043 h 10072"/>
                <a:gd name="connsiteX28" fmla="*/ 8169 w 10594"/>
                <a:gd name="connsiteY28" fmla="*/ 10072 h 10072"/>
                <a:gd name="connsiteX29" fmla="*/ 7960 w 10594"/>
                <a:gd name="connsiteY29" fmla="*/ 10072 h 10072"/>
                <a:gd name="connsiteX30" fmla="*/ 7751 w 10594"/>
                <a:gd name="connsiteY30" fmla="*/ 10072 h 10072"/>
                <a:gd name="connsiteX31" fmla="*/ 7554 w 10594"/>
                <a:gd name="connsiteY31" fmla="*/ 10029 h 10072"/>
                <a:gd name="connsiteX32" fmla="*/ 7344 w 10594"/>
                <a:gd name="connsiteY32" fmla="*/ 10001 h 10072"/>
                <a:gd name="connsiteX33" fmla="*/ 7147 w 10594"/>
                <a:gd name="connsiteY33" fmla="*/ 9958 h 10072"/>
                <a:gd name="connsiteX34" fmla="*/ 6964 w 10594"/>
                <a:gd name="connsiteY34" fmla="*/ 9884 h 10072"/>
                <a:gd name="connsiteX35" fmla="*/ 6780 w 10594"/>
                <a:gd name="connsiteY35" fmla="*/ 9827 h 10072"/>
                <a:gd name="connsiteX36" fmla="*/ 6610 w 10594"/>
                <a:gd name="connsiteY36" fmla="*/ 9727 h 10072"/>
                <a:gd name="connsiteX37" fmla="*/ 6427 w 10594"/>
                <a:gd name="connsiteY37" fmla="*/ 9626 h 10072"/>
                <a:gd name="connsiteX38" fmla="*/ 6269 w 10594"/>
                <a:gd name="connsiteY38" fmla="*/ 9539 h 10072"/>
                <a:gd name="connsiteX39" fmla="*/ 6085 w 10594"/>
                <a:gd name="connsiteY39" fmla="*/ 9410 h 10072"/>
                <a:gd name="connsiteX40" fmla="*/ 5941 w 10594"/>
                <a:gd name="connsiteY40" fmla="*/ 9296 h 10072"/>
                <a:gd name="connsiteX41" fmla="*/ 5785 w 10594"/>
                <a:gd name="connsiteY41" fmla="*/ 9151 h 10072"/>
                <a:gd name="connsiteX42" fmla="*/ 5483 w 10594"/>
                <a:gd name="connsiteY42" fmla="*/ 8849 h 10072"/>
                <a:gd name="connsiteX43" fmla="*/ 5208 w 10594"/>
                <a:gd name="connsiteY43" fmla="*/ 8518 h 10072"/>
                <a:gd name="connsiteX44" fmla="*/ 4947 w 10594"/>
                <a:gd name="connsiteY44" fmla="*/ 8158 h 10072"/>
                <a:gd name="connsiteX45" fmla="*/ 4696 w 10594"/>
                <a:gd name="connsiteY45" fmla="*/ 7769 h 10072"/>
                <a:gd name="connsiteX46" fmla="*/ 4448 w 10594"/>
                <a:gd name="connsiteY46" fmla="*/ 7367 h 10072"/>
                <a:gd name="connsiteX47" fmla="*/ 4225 w 10594"/>
                <a:gd name="connsiteY47" fmla="*/ 6950 h 10072"/>
                <a:gd name="connsiteX48" fmla="*/ 4003 w 10594"/>
                <a:gd name="connsiteY48" fmla="*/ 6518 h 10072"/>
                <a:gd name="connsiteX49" fmla="*/ 3793 w 10594"/>
                <a:gd name="connsiteY49" fmla="*/ 6072 h 10072"/>
                <a:gd name="connsiteX50" fmla="*/ 3386 w 10594"/>
                <a:gd name="connsiteY50" fmla="*/ 5166 h 10072"/>
                <a:gd name="connsiteX51" fmla="*/ 2626 w 10594"/>
                <a:gd name="connsiteY51" fmla="*/ 3382 h 10072"/>
                <a:gd name="connsiteX52" fmla="*/ 2456 w 10594"/>
                <a:gd name="connsiteY52" fmla="*/ 2935 h 10072"/>
                <a:gd name="connsiteX53" fmla="*/ 2258 w 10594"/>
                <a:gd name="connsiteY53" fmla="*/ 2532 h 10072"/>
                <a:gd name="connsiteX54" fmla="*/ 2075 w 10594"/>
                <a:gd name="connsiteY54" fmla="*/ 2173 h 10072"/>
                <a:gd name="connsiteX55" fmla="*/ 1878 w 10594"/>
                <a:gd name="connsiteY55" fmla="*/ 1799 h 10072"/>
                <a:gd name="connsiteX56" fmla="*/ 1683 w 10594"/>
                <a:gd name="connsiteY56" fmla="*/ 1468 h 10072"/>
                <a:gd name="connsiteX57" fmla="*/ 1486 w 10594"/>
                <a:gd name="connsiteY57" fmla="*/ 1180 h 10072"/>
                <a:gd name="connsiteX58" fmla="*/ 1277 w 10594"/>
                <a:gd name="connsiteY58" fmla="*/ 908 h 10072"/>
                <a:gd name="connsiteX59" fmla="*/ 1067 w 10594"/>
                <a:gd name="connsiteY59" fmla="*/ 706 h 10072"/>
                <a:gd name="connsiteX60" fmla="*/ 948 w 10594"/>
                <a:gd name="connsiteY60" fmla="*/ 605 h 10072"/>
                <a:gd name="connsiteX61" fmla="*/ 831 w 10594"/>
                <a:gd name="connsiteY61" fmla="*/ 504 h 10072"/>
                <a:gd name="connsiteX62" fmla="*/ 712 w 10594"/>
                <a:gd name="connsiteY62" fmla="*/ 447 h 10072"/>
                <a:gd name="connsiteX63" fmla="*/ 41 w 10594"/>
                <a:gd name="connsiteY63" fmla="*/ 913 h 10072"/>
                <a:gd name="connsiteX64" fmla="*/ 7 w 10594"/>
                <a:gd name="connsiteY64" fmla="*/ 0 h 10072"/>
                <a:gd name="connsiteX65" fmla="*/ 896 w 10594"/>
                <a:gd name="connsiteY65" fmla="*/ 115 h 10072"/>
                <a:gd name="connsiteX66" fmla="*/ 1080 w 10594"/>
                <a:gd name="connsiteY66" fmla="*/ 187 h 10072"/>
                <a:gd name="connsiteX67" fmla="*/ 1263 w 10594"/>
                <a:gd name="connsiteY67" fmla="*/ 260 h 10072"/>
                <a:gd name="connsiteX68" fmla="*/ 1433 w 10594"/>
                <a:gd name="connsiteY68" fmla="*/ 346 h 10072"/>
                <a:gd name="connsiteX69" fmla="*/ 1617 w 10594"/>
                <a:gd name="connsiteY69" fmla="*/ 447 h 10072"/>
                <a:gd name="connsiteX70" fmla="*/ 1775 w 10594"/>
                <a:gd name="connsiteY70" fmla="*/ 533 h 10072"/>
                <a:gd name="connsiteX71" fmla="*/ 1931 w 10594"/>
                <a:gd name="connsiteY71" fmla="*/ 662 h 10072"/>
                <a:gd name="connsiteX72" fmla="*/ 2101 w 10594"/>
                <a:gd name="connsiteY72" fmla="*/ 792 h 10072"/>
                <a:gd name="connsiteX73" fmla="*/ 2258 w 10594"/>
                <a:gd name="connsiteY73" fmla="*/ 922 h 10072"/>
                <a:gd name="connsiteX74" fmla="*/ 2561 w 10594"/>
                <a:gd name="connsiteY74" fmla="*/ 1209 h 10072"/>
                <a:gd name="connsiteX75" fmla="*/ 2836 w 10594"/>
                <a:gd name="connsiteY75" fmla="*/ 1554 h 10072"/>
                <a:gd name="connsiteX76" fmla="*/ 3097 w 10594"/>
                <a:gd name="connsiteY76" fmla="*/ 1914 h 10072"/>
                <a:gd name="connsiteX77" fmla="*/ 3347 w 10594"/>
                <a:gd name="connsiteY77" fmla="*/ 2303 h 10072"/>
                <a:gd name="connsiteX78" fmla="*/ 3596 w 10594"/>
                <a:gd name="connsiteY78" fmla="*/ 2706 h 10072"/>
                <a:gd name="connsiteX79" fmla="*/ 3819 w 10594"/>
                <a:gd name="connsiteY79" fmla="*/ 3123 h 10072"/>
                <a:gd name="connsiteX80" fmla="*/ 4055 w 10594"/>
                <a:gd name="connsiteY80" fmla="*/ 3555 h 10072"/>
                <a:gd name="connsiteX81" fmla="*/ 4264 w 10594"/>
                <a:gd name="connsiteY81" fmla="*/ 3999 h 10072"/>
                <a:gd name="connsiteX82" fmla="*/ 4656 w 10594"/>
                <a:gd name="connsiteY82" fmla="*/ 4906 h 10072"/>
                <a:gd name="connsiteX83" fmla="*/ 5430 w 10594"/>
                <a:gd name="connsiteY83" fmla="*/ 6705 h 10072"/>
                <a:gd name="connsiteX84" fmla="*/ 5797 w 10594"/>
                <a:gd name="connsiteY84" fmla="*/ 7540 h 10072"/>
                <a:gd name="connsiteX85" fmla="*/ 5993 w 10594"/>
                <a:gd name="connsiteY85" fmla="*/ 7900 h 10072"/>
                <a:gd name="connsiteX86" fmla="*/ 6179 w 10594"/>
                <a:gd name="connsiteY86" fmla="*/ 8273 h 10072"/>
                <a:gd name="connsiteX87" fmla="*/ 6387 w 10594"/>
                <a:gd name="connsiteY87" fmla="*/ 8605 h 10072"/>
                <a:gd name="connsiteX88" fmla="*/ 6584 w 10594"/>
                <a:gd name="connsiteY88" fmla="*/ 8893 h 10072"/>
                <a:gd name="connsiteX89" fmla="*/ 6780 w 10594"/>
                <a:gd name="connsiteY89" fmla="*/ 9165 h 10072"/>
                <a:gd name="connsiteX90" fmla="*/ 7002 w 10594"/>
                <a:gd name="connsiteY90" fmla="*/ 9367 h 10072"/>
                <a:gd name="connsiteX91" fmla="*/ 7121 w 10594"/>
                <a:gd name="connsiteY91" fmla="*/ 9467 h 10072"/>
                <a:gd name="connsiteX92" fmla="*/ 7225 w 10594"/>
                <a:gd name="connsiteY92" fmla="*/ 9569 h 10072"/>
                <a:gd name="connsiteX93" fmla="*/ 7344 w 10594"/>
                <a:gd name="connsiteY93" fmla="*/ 9626 h 10072"/>
                <a:gd name="connsiteX94" fmla="*/ 7463 w 10594"/>
                <a:gd name="connsiteY94" fmla="*/ 9698 h 10072"/>
                <a:gd name="connsiteX95" fmla="*/ 7580 w 10594"/>
                <a:gd name="connsiteY95" fmla="*/ 9741 h 10072"/>
                <a:gd name="connsiteX96" fmla="*/ 7711 w 10594"/>
                <a:gd name="connsiteY96" fmla="*/ 9770 h 10072"/>
                <a:gd name="connsiteX97" fmla="*/ 7843 w 10594"/>
                <a:gd name="connsiteY97" fmla="*/ 9813 h 10072"/>
                <a:gd name="connsiteX98" fmla="*/ 7960 w 10594"/>
                <a:gd name="connsiteY98" fmla="*/ 9813 h 10072"/>
                <a:gd name="connsiteX0" fmla="*/ 8265 w 10899"/>
                <a:gd name="connsiteY0" fmla="*/ 9813 h 10072"/>
                <a:gd name="connsiteX1" fmla="*/ 8265 w 10899"/>
                <a:gd name="connsiteY1" fmla="*/ 9813 h 10072"/>
                <a:gd name="connsiteX2" fmla="*/ 8435 w 10899"/>
                <a:gd name="connsiteY2" fmla="*/ 9813 h 10072"/>
                <a:gd name="connsiteX3" fmla="*/ 8566 w 10899"/>
                <a:gd name="connsiteY3" fmla="*/ 9770 h 10072"/>
                <a:gd name="connsiteX4" fmla="*/ 8710 w 10899"/>
                <a:gd name="connsiteY4" fmla="*/ 9727 h 10072"/>
                <a:gd name="connsiteX5" fmla="*/ 8854 w 10899"/>
                <a:gd name="connsiteY5" fmla="*/ 9683 h 10072"/>
                <a:gd name="connsiteX6" fmla="*/ 8987 w 10899"/>
                <a:gd name="connsiteY6" fmla="*/ 9598 h 10072"/>
                <a:gd name="connsiteX7" fmla="*/ 9117 w 10899"/>
                <a:gd name="connsiteY7" fmla="*/ 9497 h 10072"/>
                <a:gd name="connsiteX8" fmla="*/ 9235 w 10899"/>
                <a:gd name="connsiteY8" fmla="*/ 9410 h 10072"/>
                <a:gd name="connsiteX9" fmla="*/ 9365 w 10899"/>
                <a:gd name="connsiteY9" fmla="*/ 9281 h 10072"/>
                <a:gd name="connsiteX10" fmla="*/ 9510 w 10899"/>
                <a:gd name="connsiteY10" fmla="*/ 9151 h 10072"/>
                <a:gd name="connsiteX11" fmla="*/ 9628 w 10899"/>
                <a:gd name="connsiteY11" fmla="*/ 9008 h 10072"/>
                <a:gd name="connsiteX12" fmla="*/ 9863 w 10899"/>
                <a:gd name="connsiteY12" fmla="*/ 8676 h 10072"/>
                <a:gd name="connsiteX13" fmla="*/ 10100 w 10899"/>
                <a:gd name="connsiteY13" fmla="*/ 8303 h 10072"/>
                <a:gd name="connsiteX14" fmla="*/ 10309 w 10899"/>
                <a:gd name="connsiteY14" fmla="*/ 7900 h 10072"/>
                <a:gd name="connsiteX15" fmla="*/ 10611 w 10899"/>
                <a:gd name="connsiteY15" fmla="*/ 8346 h 10072"/>
                <a:gd name="connsiteX16" fmla="*/ 10899 w 10899"/>
                <a:gd name="connsiteY16" fmla="*/ 8763 h 10072"/>
                <a:gd name="connsiteX17" fmla="*/ 10624 w 10899"/>
                <a:gd name="connsiteY17" fmla="*/ 9051 h 10072"/>
                <a:gd name="connsiteX18" fmla="*/ 10349 w 10899"/>
                <a:gd name="connsiteY18" fmla="*/ 9310 h 10072"/>
                <a:gd name="connsiteX19" fmla="*/ 10033 w 10899"/>
                <a:gd name="connsiteY19" fmla="*/ 9539 h 10072"/>
                <a:gd name="connsiteX20" fmla="*/ 9890 w 10899"/>
                <a:gd name="connsiteY20" fmla="*/ 9626 h 10072"/>
                <a:gd name="connsiteX21" fmla="*/ 9720 w 10899"/>
                <a:gd name="connsiteY21" fmla="*/ 9727 h 10072"/>
                <a:gd name="connsiteX22" fmla="*/ 9550 w 10899"/>
                <a:gd name="connsiteY22" fmla="*/ 9813 h 10072"/>
                <a:gd name="connsiteX23" fmla="*/ 9392 w 10899"/>
                <a:gd name="connsiteY23" fmla="*/ 9870 h 10072"/>
                <a:gd name="connsiteX24" fmla="*/ 9209 w 10899"/>
                <a:gd name="connsiteY24" fmla="*/ 9942 h 10072"/>
                <a:gd name="connsiteX25" fmla="*/ 9039 w 10899"/>
                <a:gd name="connsiteY25" fmla="*/ 9986 h 10072"/>
                <a:gd name="connsiteX26" fmla="*/ 8854 w 10899"/>
                <a:gd name="connsiteY26" fmla="*/ 10015 h 10072"/>
                <a:gd name="connsiteX27" fmla="*/ 8671 w 10899"/>
                <a:gd name="connsiteY27" fmla="*/ 10043 h 10072"/>
                <a:gd name="connsiteX28" fmla="*/ 8474 w 10899"/>
                <a:gd name="connsiteY28" fmla="*/ 10072 h 10072"/>
                <a:gd name="connsiteX29" fmla="*/ 8265 w 10899"/>
                <a:gd name="connsiteY29" fmla="*/ 10072 h 10072"/>
                <a:gd name="connsiteX30" fmla="*/ 8056 w 10899"/>
                <a:gd name="connsiteY30" fmla="*/ 10072 h 10072"/>
                <a:gd name="connsiteX31" fmla="*/ 7859 w 10899"/>
                <a:gd name="connsiteY31" fmla="*/ 10029 h 10072"/>
                <a:gd name="connsiteX32" fmla="*/ 7649 w 10899"/>
                <a:gd name="connsiteY32" fmla="*/ 10001 h 10072"/>
                <a:gd name="connsiteX33" fmla="*/ 7452 w 10899"/>
                <a:gd name="connsiteY33" fmla="*/ 9958 h 10072"/>
                <a:gd name="connsiteX34" fmla="*/ 7269 w 10899"/>
                <a:gd name="connsiteY34" fmla="*/ 9884 h 10072"/>
                <a:gd name="connsiteX35" fmla="*/ 7085 w 10899"/>
                <a:gd name="connsiteY35" fmla="*/ 9827 h 10072"/>
                <a:gd name="connsiteX36" fmla="*/ 6915 w 10899"/>
                <a:gd name="connsiteY36" fmla="*/ 9727 h 10072"/>
                <a:gd name="connsiteX37" fmla="*/ 6732 w 10899"/>
                <a:gd name="connsiteY37" fmla="*/ 9626 h 10072"/>
                <a:gd name="connsiteX38" fmla="*/ 6574 w 10899"/>
                <a:gd name="connsiteY38" fmla="*/ 9539 h 10072"/>
                <a:gd name="connsiteX39" fmla="*/ 6390 w 10899"/>
                <a:gd name="connsiteY39" fmla="*/ 9410 h 10072"/>
                <a:gd name="connsiteX40" fmla="*/ 6246 w 10899"/>
                <a:gd name="connsiteY40" fmla="*/ 9296 h 10072"/>
                <a:gd name="connsiteX41" fmla="*/ 6090 w 10899"/>
                <a:gd name="connsiteY41" fmla="*/ 9151 h 10072"/>
                <a:gd name="connsiteX42" fmla="*/ 5788 w 10899"/>
                <a:gd name="connsiteY42" fmla="*/ 8849 h 10072"/>
                <a:gd name="connsiteX43" fmla="*/ 5513 w 10899"/>
                <a:gd name="connsiteY43" fmla="*/ 8518 h 10072"/>
                <a:gd name="connsiteX44" fmla="*/ 5252 w 10899"/>
                <a:gd name="connsiteY44" fmla="*/ 8158 h 10072"/>
                <a:gd name="connsiteX45" fmla="*/ 5001 w 10899"/>
                <a:gd name="connsiteY45" fmla="*/ 7769 h 10072"/>
                <a:gd name="connsiteX46" fmla="*/ 4753 w 10899"/>
                <a:gd name="connsiteY46" fmla="*/ 7367 h 10072"/>
                <a:gd name="connsiteX47" fmla="*/ 4530 w 10899"/>
                <a:gd name="connsiteY47" fmla="*/ 6950 h 10072"/>
                <a:gd name="connsiteX48" fmla="*/ 4308 w 10899"/>
                <a:gd name="connsiteY48" fmla="*/ 6518 h 10072"/>
                <a:gd name="connsiteX49" fmla="*/ 4098 w 10899"/>
                <a:gd name="connsiteY49" fmla="*/ 6072 h 10072"/>
                <a:gd name="connsiteX50" fmla="*/ 3691 w 10899"/>
                <a:gd name="connsiteY50" fmla="*/ 5166 h 10072"/>
                <a:gd name="connsiteX51" fmla="*/ 2931 w 10899"/>
                <a:gd name="connsiteY51" fmla="*/ 3382 h 10072"/>
                <a:gd name="connsiteX52" fmla="*/ 2761 w 10899"/>
                <a:gd name="connsiteY52" fmla="*/ 2935 h 10072"/>
                <a:gd name="connsiteX53" fmla="*/ 2563 w 10899"/>
                <a:gd name="connsiteY53" fmla="*/ 2532 h 10072"/>
                <a:gd name="connsiteX54" fmla="*/ 2380 w 10899"/>
                <a:gd name="connsiteY54" fmla="*/ 2173 h 10072"/>
                <a:gd name="connsiteX55" fmla="*/ 2183 w 10899"/>
                <a:gd name="connsiteY55" fmla="*/ 1799 h 10072"/>
                <a:gd name="connsiteX56" fmla="*/ 1988 w 10899"/>
                <a:gd name="connsiteY56" fmla="*/ 1468 h 10072"/>
                <a:gd name="connsiteX57" fmla="*/ 1791 w 10899"/>
                <a:gd name="connsiteY57" fmla="*/ 1180 h 10072"/>
                <a:gd name="connsiteX58" fmla="*/ 1582 w 10899"/>
                <a:gd name="connsiteY58" fmla="*/ 908 h 10072"/>
                <a:gd name="connsiteX59" fmla="*/ 1372 w 10899"/>
                <a:gd name="connsiteY59" fmla="*/ 706 h 10072"/>
                <a:gd name="connsiteX60" fmla="*/ 1253 w 10899"/>
                <a:gd name="connsiteY60" fmla="*/ 605 h 10072"/>
                <a:gd name="connsiteX61" fmla="*/ 1136 w 10899"/>
                <a:gd name="connsiteY61" fmla="*/ 504 h 10072"/>
                <a:gd name="connsiteX62" fmla="*/ 1017 w 10899"/>
                <a:gd name="connsiteY62" fmla="*/ 447 h 10072"/>
                <a:gd name="connsiteX63" fmla="*/ 0 w 10899"/>
                <a:gd name="connsiteY63" fmla="*/ 626 h 10072"/>
                <a:gd name="connsiteX64" fmla="*/ 312 w 10899"/>
                <a:gd name="connsiteY64" fmla="*/ 0 h 10072"/>
                <a:gd name="connsiteX65" fmla="*/ 1201 w 10899"/>
                <a:gd name="connsiteY65" fmla="*/ 115 h 10072"/>
                <a:gd name="connsiteX66" fmla="*/ 1385 w 10899"/>
                <a:gd name="connsiteY66" fmla="*/ 187 h 10072"/>
                <a:gd name="connsiteX67" fmla="*/ 1568 w 10899"/>
                <a:gd name="connsiteY67" fmla="*/ 260 h 10072"/>
                <a:gd name="connsiteX68" fmla="*/ 1738 w 10899"/>
                <a:gd name="connsiteY68" fmla="*/ 346 h 10072"/>
                <a:gd name="connsiteX69" fmla="*/ 1922 w 10899"/>
                <a:gd name="connsiteY69" fmla="*/ 447 h 10072"/>
                <a:gd name="connsiteX70" fmla="*/ 2080 w 10899"/>
                <a:gd name="connsiteY70" fmla="*/ 533 h 10072"/>
                <a:gd name="connsiteX71" fmla="*/ 2236 w 10899"/>
                <a:gd name="connsiteY71" fmla="*/ 662 h 10072"/>
                <a:gd name="connsiteX72" fmla="*/ 2406 w 10899"/>
                <a:gd name="connsiteY72" fmla="*/ 792 h 10072"/>
                <a:gd name="connsiteX73" fmla="*/ 2563 w 10899"/>
                <a:gd name="connsiteY73" fmla="*/ 922 h 10072"/>
                <a:gd name="connsiteX74" fmla="*/ 2866 w 10899"/>
                <a:gd name="connsiteY74" fmla="*/ 1209 h 10072"/>
                <a:gd name="connsiteX75" fmla="*/ 3141 w 10899"/>
                <a:gd name="connsiteY75" fmla="*/ 1554 h 10072"/>
                <a:gd name="connsiteX76" fmla="*/ 3402 w 10899"/>
                <a:gd name="connsiteY76" fmla="*/ 1914 h 10072"/>
                <a:gd name="connsiteX77" fmla="*/ 3652 w 10899"/>
                <a:gd name="connsiteY77" fmla="*/ 2303 h 10072"/>
                <a:gd name="connsiteX78" fmla="*/ 3901 w 10899"/>
                <a:gd name="connsiteY78" fmla="*/ 2706 h 10072"/>
                <a:gd name="connsiteX79" fmla="*/ 4124 w 10899"/>
                <a:gd name="connsiteY79" fmla="*/ 3123 h 10072"/>
                <a:gd name="connsiteX80" fmla="*/ 4360 w 10899"/>
                <a:gd name="connsiteY80" fmla="*/ 3555 h 10072"/>
                <a:gd name="connsiteX81" fmla="*/ 4569 w 10899"/>
                <a:gd name="connsiteY81" fmla="*/ 3999 h 10072"/>
                <a:gd name="connsiteX82" fmla="*/ 4961 w 10899"/>
                <a:gd name="connsiteY82" fmla="*/ 4906 h 10072"/>
                <a:gd name="connsiteX83" fmla="*/ 5735 w 10899"/>
                <a:gd name="connsiteY83" fmla="*/ 6705 h 10072"/>
                <a:gd name="connsiteX84" fmla="*/ 6102 w 10899"/>
                <a:gd name="connsiteY84" fmla="*/ 7540 h 10072"/>
                <a:gd name="connsiteX85" fmla="*/ 6298 w 10899"/>
                <a:gd name="connsiteY85" fmla="*/ 7900 h 10072"/>
                <a:gd name="connsiteX86" fmla="*/ 6484 w 10899"/>
                <a:gd name="connsiteY86" fmla="*/ 8273 h 10072"/>
                <a:gd name="connsiteX87" fmla="*/ 6692 w 10899"/>
                <a:gd name="connsiteY87" fmla="*/ 8605 h 10072"/>
                <a:gd name="connsiteX88" fmla="*/ 6889 w 10899"/>
                <a:gd name="connsiteY88" fmla="*/ 8893 h 10072"/>
                <a:gd name="connsiteX89" fmla="*/ 7085 w 10899"/>
                <a:gd name="connsiteY89" fmla="*/ 9165 h 10072"/>
                <a:gd name="connsiteX90" fmla="*/ 7307 w 10899"/>
                <a:gd name="connsiteY90" fmla="*/ 9367 h 10072"/>
                <a:gd name="connsiteX91" fmla="*/ 7426 w 10899"/>
                <a:gd name="connsiteY91" fmla="*/ 9467 h 10072"/>
                <a:gd name="connsiteX92" fmla="*/ 7530 w 10899"/>
                <a:gd name="connsiteY92" fmla="*/ 9569 h 10072"/>
                <a:gd name="connsiteX93" fmla="*/ 7649 w 10899"/>
                <a:gd name="connsiteY93" fmla="*/ 9626 h 10072"/>
                <a:gd name="connsiteX94" fmla="*/ 7768 w 10899"/>
                <a:gd name="connsiteY94" fmla="*/ 9698 h 10072"/>
                <a:gd name="connsiteX95" fmla="*/ 7885 w 10899"/>
                <a:gd name="connsiteY95" fmla="*/ 9741 h 10072"/>
                <a:gd name="connsiteX96" fmla="*/ 8016 w 10899"/>
                <a:gd name="connsiteY96" fmla="*/ 9770 h 10072"/>
                <a:gd name="connsiteX97" fmla="*/ 8148 w 10899"/>
                <a:gd name="connsiteY97" fmla="*/ 9813 h 10072"/>
                <a:gd name="connsiteX98" fmla="*/ 8265 w 10899"/>
                <a:gd name="connsiteY98" fmla="*/ 9813 h 10072"/>
                <a:gd name="connsiteX0" fmla="*/ 7956 w 10590"/>
                <a:gd name="connsiteY0" fmla="*/ 9813 h 10072"/>
                <a:gd name="connsiteX1" fmla="*/ 7956 w 10590"/>
                <a:gd name="connsiteY1" fmla="*/ 9813 h 10072"/>
                <a:gd name="connsiteX2" fmla="*/ 8126 w 10590"/>
                <a:gd name="connsiteY2" fmla="*/ 9813 h 10072"/>
                <a:gd name="connsiteX3" fmla="*/ 8257 w 10590"/>
                <a:gd name="connsiteY3" fmla="*/ 9770 h 10072"/>
                <a:gd name="connsiteX4" fmla="*/ 8401 w 10590"/>
                <a:gd name="connsiteY4" fmla="*/ 9727 h 10072"/>
                <a:gd name="connsiteX5" fmla="*/ 8545 w 10590"/>
                <a:gd name="connsiteY5" fmla="*/ 9683 h 10072"/>
                <a:gd name="connsiteX6" fmla="*/ 8678 w 10590"/>
                <a:gd name="connsiteY6" fmla="*/ 9598 h 10072"/>
                <a:gd name="connsiteX7" fmla="*/ 8808 w 10590"/>
                <a:gd name="connsiteY7" fmla="*/ 9497 h 10072"/>
                <a:gd name="connsiteX8" fmla="*/ 8926 w 10590"/>
                <a:gd name="connsiteY8" fmla="*/ 9410 h 10072"/>
                <a:gd name="connsiteX9" fmla="*/ 9056 w 10590"/>
                <a:gd name="connsiteY9" fmla="*/ 9281 h 10072"/>
                <a:gd name="connsiteX10" fmla="*/ 9201 w 10590"/>
                <a:gd name="connsiteY10" fmla="*/ 9151 h 10072"/>
                <a:gd name="connsiteX11" fmla="*/ 9319 w 10590"/>
                <a:gd name="connsiteY11" fmla="*/ 9008 h 10072"/>
                <a:gd name="connsiteX12" fmla="*/ 9554 w 10590"/>
                <a:gd name="connsiteY12" fmla="*/ 8676 h 10072"/>
                <a:gd name="connsiteX13" fmla="*/ 9791 w 10590"/>
                <a:gd name="connsiteY13" fmla="*/ 8303 h 10072"/>
                <a:gd name="connsiteX14" fmla="*/ 10000 w 10590"/>
                <a:gd name="connsiteY14" fmla="*/ 7900 h 10072"/>
                <a:gd name="connsiteX15" fmla="*/ 10302 w 10590"/>
                <a:gd name="connsiteY15" fmla="*/ 8346 h 10072"/>
                <a:gd name="connsiteX16" fmla="*/ 10590 w 10590"/>
                <a:gd name="connsiteY16" fmla="*/ 8763 h 10072"/>
                <a:gd name="connsiteX17" fmla="*/ 10315 w 10590"/>
                <a:gd name="connsiteY17" fmla="*/ 9051 h 10072"/>
                <a:gd name="connsiteX18" fmla="*/ 10040 w 10590"/>
                <a:gd name="connsiteY18" fmla="*/ 9310 h 10072"/>
                <a:gd name="connsiteX19" fmla="*/ 9724 w 10590"/>
                <a:gd name="connsiteY19" fmla="*/ 9539 h 10072"/>
                <a:gd name="connsiteX20" fmla="*/ 9581 w 10590"/>
                <a:gd name="connsiteY20" fmla="*/ 9626 h 10072"/>
                <a:gd name="connsiteX21" fmla="*/ 9411 w 10590"/>
                <a:gd name="connsiteY21" fmla="*/ 9727 h 10072"/>
                <a:gd name="connsiteX22" fmla="*/ 9241 w 10590"/>
                <a:gd name="connsiteY22" fmla="*/ 9813 h 10072"/>
                <a:gd name="connsiteX23" fmla="*/ 9083 w 10590"/>
                <a:gd name="connsiteY23" fmla="*/ 9870 h 10072"/>
                <a:gd name="connsiteX24" fmla="*/ 8900 w 10590"/>
                <a:gd name="connsiteY24" fmla="*/ 9942 h 10072"/>
                <a:gd name="connsiteX25" fmla="*/ 8730 w 10590"/>
                <a:gd name="connsiteY25" fmla="*/ 9986 h 10072"/>
                <a:gd name="connsiteX26" fmla="*/ 8545 w 10590"/>
                <a:gd name="connsiteY26" fmla="*/ 10015 h 10072"/>
                <a:gd name="connsiteX27" fmla="*/ 8362 w 10590"/>
                <a:gd name="connsiteY27" fmla="*/ 10043 h 10072"/>
                <a:gd name="connsiteX28" fmla="*/ 8165 w 10590"/>
                <a:gd name="connsiteY28" fmla="*/ 10072 h 10072"/>
                <a:gd name="connsiteX29" fmla="*/ 7956 w 10590"/>
                <a:gd name="connsiteY29" fmla="*/ 10072 h 10072"/>
                <a:gd name="connsiteX30" fmla="*/ 7747 w 10590"/>
                <a:gd name="connsiteY30" fmla="*/ 10072 h 10072"/>
                <a:gd name="connsiteX31" fmla="*/ 7550 w 10590"/>
                <a:gd name="connsiteY31" fmla="*/ 10029 h 10072"/>
                <a:gd name="connsiteX32" fmla="*/ 7340 w 10590"/>
                <a:gd name="connsiteY32" fmla="*/ 10001 h 10072"/>
                <a:gd name="connsiteX33" fmla="*/ 7143 w 10590"/>
                <a:gd name="connsiteY33" fmla="*/ 9958 h 10072"/>
                <a:gd name="connsiteX34" fmla="*/ 6960 w 10590"/>
                <a:gd name="connsiteY34" fmla="*/ 9884 h 10072"/>
                <a:gd name="connsiteX35" fmla="*/ 6776 w 10590"/>
                <a:gd name="connsiteY35" fmla="*/ 9827 h 10072"/>
                <a:gd name="connsiteX36" fmla="*/ 6606 w 10590"/>
                <a:gd name="connsiteY36" fmla="*/ 9727 h 10072"/>
                <a:gd name="connsiteX37" fmla="*/ 6423 w 10590"/>
                <a:gd name="connsiteY37" fmla="*/ 9626 h 10072"/>
                <a:gd name="connsiteX38" fmla="*/ 6265 w 10590"/>
                <a:gd name="connsiteY38" fmla="*/ 9539 h 10072"/>
                <a:gd name="connsiteX39" fmla="*/ 6081 w 10590"/>
                <a:gd name="connsiteY39" fmla="*/ 9410 h 10072"/>
                <a:gd name="connsiteX40" fmla="*/ 5937 w 10590"/>
                <a:gd name="connsiteY40" fmla="*/ 9296 h 10072"/>
                <a:gd name="connsiteX41" fmla="*/ 5781 w 10590"/>
                <a:gd name="connsiteY41" fmla="*/ 9151 h 10072"/>
                <a:gd name="connsiteX42" fmla="*/ 5479 w 10590"/>
                <a:gd name="connsiteY42" fmla="*/ 8849 h 10072"/>
                <a:gd name="connsiteX43" fmla="*/ 5204 w 10590"/>
                <a:gd name="connsiteY43" fmla="*/ 8518 h 10072"/>
                <a:gd name="connsiteX44" fmla="*/ 4943 w 10590"/>
                <a:gd name="connsiteY44" fmla="*/ 8158 h 10072"/>
                <a:gd name="connsiteX45" fmla="*/ 4692 w 10590"/>
                <a:gd name="connsiteY45" fmla="*/ 7769 h 10072"/>
                <a:gd name="connsiteX46" fmla="*/ 4444 w 10590"/>
                <a:gd name="connsiteY46" fmla="*/ 7367 h 10072"/>
                <a:gd name="connsiteX47" fmla="*/ 4221 w 10590"/>
                <a:gd name="connsiteY47" fmla="*/ 6950 h 10072"/>
                <a:gd name="connsiteX48" fmla="*/ 3999 w 10590"/>
                <a:gd name="connsiteY48" fmla="*/ 6518 h 10072"/>
                <a:gd name="connsiteX49" fmla="*/ 3789 w 10590"/>
                <a:gd name="connsiteY49" fmla="*/ 6072 h 10072"/>
                <a:gd name="connsiteX50" fmla="*/ 3382 w 10590"/>
                <a:gd name="connsiteY50" fmla="*/ 5166 h 10072"/>
                <a:gd name="connsiteX51" fmla="*/ 2622 w 10590"/>
                <a:gd name="connsiteY51" fmla="*/ 3382 h 10072"/>
                <a:gd name="connsiteX52" fmla="*/ 2452 w 10590"/>
                <a:gd name="connsiteY52" fmla="*/ 2935 h 10072"/>
                <a:gd name="connsiteX53" fmla="*/ 2254 w 10590"/>
                <a:gd name="connsiteY53" fmla="*/ 2532 h 10072"/>
                <a:gd name="connsiteX54" fmla="*/ 2071 w 10590"/>
                <a:gd name="connsiteY54" fmla="*/ 2173 h 10072"/>
                <a:gd name="connsiteX55" fmla="*/ 1874 w 10590"/>
                <a:gd name="connsiteY55" fmla="*/ 1799 h 10072"/>
                <a:gd name="connsiteX56" fmla="*/ 1679 w 10590"/>
                <a:gd name="connsiteY56" fmla="*/ 1468 h 10072"/>
                <a:gd name="connsiteX57" fmla="*/ 1482 w 10590"/>
                <a:gd name="connsiteY57" fmla="*/ 1180 h 10072"/>
                <a:gd name="connsiteX58" fmla="*/ 1273 w 10590"/>
                <a:gd name="connsiteY58" fmla="*/ 908 h 10072"/>
                <a:gd name="connsiteX59" fmla="*/ 1063 w 10590"/>
                <a:gd name="connsiteY59" fmla="*/ 706 h 10072"/>
                <a:gd name="connsiteX60" fmla="*/ 944 w 10590"/>
                <a:gd name="connsiteY60" fmla="*/ 605 h 10072"/>
                <a:gd name="connsiteX61" fmla="*/ 827 w 10590"/>
                <a:gd name="connsiteY61" fmla="*/ 504 h 10072"/>
                <a:gd name="connsiteX62" fmla="*/ 708 w 10590"/>
                <a:gd name="connsiteY62" fmla="*/ 447 h 10072"/>
                <a:gd name="connsiteX63" fmla="*/ 337 w 10590"/>
                <a:gd name="connsiteY63" fmla="*/ 411 h 10072"/>
                <a:gd name="connsiteX64" fmla="*/ 3 w 10590"/>
                <a:gd name="connsiteY64" fmla="*/ 0 h 10072"/>
                <a:gd name="connsiteX65" fmla="*/ 892 w 10590"/>
                <a:gd name="connsiteY65" fmla="*/ 115 h 10072"/>
                <a:gd name="connsiteX66" fmla="*/ 1076 w 10590"/>
                <a:gd name="connsiteY66" fmla="*/ 187 h 10072"/>
                <a:gd name="connsiteX67" fmla="*/ 1259 w 10590"/>
                <a:gd name="connsiteY67" fmla="*/ 260 h 10072"/>
                <a:gd name="connsiteX68" fmla="*/ 1429 w 10590"/>
                <a:gd name="connsiteY68" fmla="*/ 346 h 10072"/>
                <a:gd name="connsiteX69" fmla="*/ 1613 w 10590"/>
                <a:gd name="connsiteY69" fmla="*/ 447 h 10072"/>
                <a:gd name="connsiteX70" fmla="*/ 1771 w 10590"/>
                <a:gd name="connsiteY70" fmla="*/ 533 h 10072"/>
                <a:gd name="connsiteX71" fmla="*/ 1927 w 10590"/>
                <a:gd name="connsiteY71" fmla="*/ 662 h 10072"/>
                <a:gd name="connsiteX72" fmla="*/ 2097 w 10590"/>
                <a:gd name="connsiteY72" fmla="*/ 792 h 10072"/>
                <a:gd name="connsiteX73" fmla="*/ 2254 w 10590"/>
                <a:gd name="connsiteY73" fmla="*/ 922 h 10072"/>
                <a:gd name="connsiteX74" fmla="*/ 2557 w 10590"/>
                <a:gd name="connsiteY74" fmla="*/ 1209 h 10072"/>
                <a:gd name="connsiteX75" fmla="*/ 2832 w 10590"/>
                <a:gd name="connsiteY75" fmla="*/ 1554 h 10072"/>
                <a:gd name="connsiteX76" fmla="*/ 3093 w 10590"/>
                <a:gd name="connsiteY76" fmla="*/ 1914 h 10072"/>
                <a:gd name="connsiteX77" fmla="*/ 3343 w 10590"/>
                <a:gd name="connsiteY77" fmla="*/ 2303 h 10072"/>
                <a:gd name="connsiteX78" fmla="*/ 3592 w 10590"/>
                <a:gd name="connsiteY78" fmla="*/ 2706 h 10072"/>
                <a:gd name="connsiteX79" fmla="*/ 3815 w 10590"/>
                <a:gd name="connsiteY79" fmla="*/ 3123 h 10072"/>
                <a:gd name="connsiteX80" fmla="*/ 4051 w 10590"/>
                <a:gd name="connsiteY80" fmla="*/ 3555 h 10072"/>
                <a:gd name="connsiteX81" fmla="*/ 4260 w 10590"/>
                <a:gd name="connsiteY81" fmla="*/ 3999 h 10072"/>
                <a:gd name="connsiteX82" fmla="*/ 4652 w 10590"/>
                <a:gd name="connsiteY82" fmla="*/ 4906 h 10072"/>
                <a:gd name="connsiteX83" fmla="*/ 5426 w 10590"/>
                <a:gd name="connsiteY83" fmla="*/ 6705 h 10072"/>
                <a:gd name="connsiteX84" fmla="*/ 5793 w 10590"/>
                <a:gd name="connsiteY84" fmla="*/ 7540 h 10072"/>
                <a:gd name="connsiteX85" fmla="*/ 5989 w 10590"/>
                <a:gd name="connsiteY85" fmla="*/ 7900 h 10072"/>
                <a:gd name="connsiteX86" fmla="*/ 6175 w 10590"/>
                <a:gd name="connsiteY86" fmla="*/ 8273 h 10072"/>
                <a:gd name="connsiteX87" fmla="*/ 6383 w 10590"/>
                <a:gd name="connsiteY87" fmla="*/ 8605 h 10072"/>
                <a:gd name="connsiteX88" fmla="*/ 6580 w 10590"/>
                <a:gd name="connsiteY88" fmla="*/ 8893 h 10072"/>
                <a:gd name="connsiteX89" fmla="*/ 6776 w 10590"/>
                <a:gd name="connsiteY89" fmla="*/ 9165 h 10072"/>
                <a:gd name="connsiteX90" fmla="*/ 6998 w 10590"/>
                <a:gd name="connsiteY90" fmla="*/ 9367 h 10072"/>
                <a:gd name="connsiteX91" fmla="*/ 7117 w 10590"/>
                <a:gd name="connsiteY91" fmla="*/ 9467 h 10072"/>
                <a:gd name="connsiteX92" fmla="*/ 7221 w 10590"/>
                <a:gd name="connsiteY92" fmla="*/ 9569 h 10072"/>
                <a:gd name="connsiteX93" fmla="*/ 7340 w 10590"/>
                <a:gd name="connsiteY93" fmla="*/ 9626 h 10072"/>
                <a:gd name="connsiteX94" fmla="*/ 7459 w 10590"/>
                <a:gd name="connsiteY94" fmla="*/ 9698 h 10072"/>
                <a:gd name="connsiteX95" fmla="*/ 7576 w 10590"/>
                <a:gd name="connsiteY95" fmla="*/ 9741 h 10072"/>
                <a:gd name="connsiteX96" fmla="*/ 7707 w 10590"/>
                <a:gd name="connsiteY96" fmla="*/ 9770 h 10072"/>
                <a:gd name="connsiteX97" fmla="*/ 7839 w 10590"/>
                <a:gd name="connsiteY97" fmla="*/ 9813 h 10072"/>
                <a:gd name="connsiteX98" fmla="*/ 7956 w 10590"/>
                <a:gd name="connsiteY98" fmla="*/ 9813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0590" h="10072">
                  <a:moveTo>
                    <a:pt x="7956" y="9813"/>
                  </a:moveTo>
                  <a:lnTo>
                    <a:pt x="7956" y="9813"/>
                  </a:lnTo>
                  <a:lnTo>
                    <a:pt x="8126" y="9813"/>
                  </a:lnTo>
                  <a:cubicBezTo>
                    <a:pt x="8170" y="9799"/>
                    <a:pt x="8213" y="9784"/>
                    <a:pt x="8257" y="9770"/>
                  </a:cubicBezTo>
                  <a:cubicBezTo>
                    <a:pt x="8306" y="9756"/>
                    <a:pt x="8353" y="9741"/>
                    <a:pt x="8401" y="9727"/>
                  </a:cubicBezTo>
                  <a:lnTo>
                    <a:pt x="8545" y="9683"/>
                  </a:lnTo>
                  <a:lnTo>
                    <a:pt x="8678" y="9598"/>
                  </a:lnTo>
                  <a:cubicBezTo>
                    <a:pt x="8721" y="9564"/>
                    <a:pt x="8765" y="9531"/>
                    <a:pt x="8808" y="9497"/>
                  </a:cubicBezTo>
                  <a:cubicBezTo>
                    <a:pt x="8848" y="9468"/>
                    <a:pt x="8886" y="9439"/>
                    <a:pt x="8926" y="9410"/>
                  </a:cubicBezTo>
                  <a:lnTo>
                    <a:pt x="9056" y="9281"/>
                  </a:lnTo>
                  <a:cubicBezTo>
                    <a:pt x="9105" y="9238"/>
                    <a:pt x="9152" y="9194"/>
                    <a:pt x="9201" y="9151"/>
                  </a:cubicBezTo>
                  <a:cubicBezTo>
                    <a:pt x="9240" y="9103"/>
                    <a:pt x="9280" y="9056"/>
                    <a:pt x="9319" y="9008"/>
                  </a:cubicBezTo>
                  <a:cubicBezTo>
                    <a:pt x="9397" y="8897"/>
                    <a:pt x="9476" y="8787"/>
                    <a:pt x="9554" y="8676"/>
                  </a:cubicBezTo>
                  <a:cubicBezTo>
                    <a:pt x="9633" y="8552"/>
                    <a:pt x="9711" y="8427"/>
                    <a:pt x="9791" y="8303"/>
                  </a:cubicBezTo>
                  <a:cubicBezTo>
                    <a:pt x="9860" y="8168"/>
                    <a:pt x="9930" y="8034"/>
                    <a:pt x="10000" y="7900"/>
                  </a:cubicBezTo>
                  <a:lnTo>
                    <a:pt x="10302" y="8346"/>
                  </a:lnTo>
                  <a:lnTo>
                    <a:pt x="10590" y="8763"/>
                  </a:lnTo>
                  <a:cubicBezTo>
                    <a:pt x="10498" y="8858"/>
                    <a:pt x="10407" y="8955"/>
                    <a:pt x="10315" y="9051"/>
                  </a:cubicBezTo>
                  <a:lnTo>
                    <a:pt x="10040" y="9310"/>
                  </a:lnTo>
                  <a:lnTo>
                    <a:pt x="9724" y="9539"/>
                  </a:lnTo>
                  <a:cubicBezTo>
                    <a:pt x="9677" y="9569"/>
                    <a:pt x="9628" y="9597"/>
                    <a:pt x="9581" y="9626"/>
                  </a:cubicBezTo>
                  <a:cubicBezTo>
                    <a:pt x="9525" y="9660"/>
                    <a:pt x="9467" y="9693"/>
                    <a:pt x="9411" y="9727"/>
                  </a:cubicBezTo>
                  <a:lnTo>
                    <a:pt x="9241" y="9813"/>
                  </a:lnTo>
                  <a:lnTo>
                    <a:pt x="9083" y="9870"/>
                  </a:lnTo>
                  <a:lnTo>
                    <a:pt x="8900" y="9942"/>
                  </a:lnTo>
                  <a:lnTo>
                    <a:pt x="8730" y="9986"/>
                  </a:lnTo>
                  <a:lnTo>
                    <a:pt x="8545" y="10015"/>
                  </a:lnTo>
                  <a:lnTo>
                    <a:pt x="8362" y="10043"/>
                  </a:lnTo>
                  <a:lnTo>
                    <a:pt x="8165" y="10072"/>
                  </a:lnTo>
                  <a:lnTo>
                    <a:pt x="7956" y="10072"/>
                  </a:lnTo>
                  <a:lnTo>
                    <a:pt x="7747" y="10072"/>
                  </a:lnTo>
                  <a:lnTo>
                    <a:pt x="7550" y="10029"/>
                  </a:lnTo>
                  <a:lnTo>
                    <a:pt x="7340" y="10001"/>
                  </a:lnTo>
                  <a:lnTo>
                    <a:pt x="7143" y="9958"/>
                  </a:lnTo>
                  <a:lnTo>
                    <a:pt x="6960" y="9884"/>
                  </a:lnTo>
                  <a:lnTo>
                    <a:pt x="6776" y="9827"/>
                  </a:lnTo>
                  <a:lnTo>
                    <a:pt x="6606" y="9727"/>
                  </a:lnTo>
                  <a:lnTo>
                    <a:pt x="6423" y="9626"/>
                  </a:lnTo>
                  <a:lnTo>
                    <a:pt x="6265" y="9539"/>
                  </a:lnTo>
                  <a:lnTo>
                    <a:pt x="6081" y="9410"/>
                  </a:lnTo>
                  <a:lnTo>
                    <a:pt x="5937" y="9296"/>
                  </a:lnTo>
                  <a:cubicBezTo>
                    <a:pt x="5884" y="9248"/>
                    <a:pt x="5833" y="9199"/>
                    <a:pt x="5781" y="9151"/>
                  </a:cubicBezTo>
                  <a:lnTo>
                    <a:pt x="5479" y="8849"/>
                  </a:lnTo>
                  <a:lnTo>
                    <a:pt x="5204" y="8518"/>
                  </a:lnTo>
                  <a:lnTo>
                    <a:pt x="4943" y="8158"/>
                  </a:lnTo>
                  <a:cubicBezTo>
                    <a:pt x="4860" y="8028"/>
                    <a:pt x="4775" y="7899"/>
                    <a:pt x="4692" y="7769"/>
                  </a:cubicBezTo>
                  <a:cubicBezTo>
                    <a:pt x="4609" y="7636"/>
                    <a:pt x="4527" y="7501"/>
                    <a:pt x="4444" y="7367"/>
                  </a:cubicBezTo>
                  <a:lnTo>
                    <a:pt x="4221" y="6950"/>
                  </a:lnTo>
                  <a:lnTo>
                    <a:pt x="3999" y="6518"/>
                  </a:lnTo>
                  <a:cubicBezTo>
                    <a:pt x="3928" y="6369"/>
                    <a:pt x="3859" y="6221"/>
                    <a:pt x="3789" y="6072"/>
                  </a:cubicBezTo>
                  <a:lnTo>
                    <a:pt x="3382" y="5166"/>
                  </a:lnTo>
                  <a:lnTo>
                    <a:pt x="2622" y="3382"/>
                  </a:lnTo>
                  <a:cubicBezTo>
                    <a:pt x="2566" y="3232"/>
                    <a:pt x="2509" y="3085"/>
                    <a:pt x="2452" y="2935"/>
                  </a:cubicBezTo>
                  <a:cubicBezTo>
                    <a:pt x="2387" y="2801"/>
                    <a:pt x="2321" y="2667"/>
                    <a:pt x="2254" y="2532"/>
                  </a:cubicBezTo>
                  <a:cubicBezTo>
                    <a:pt x="2193" y="2413"/>
                    <a:pt x="2133" y="2293"/>
                    <a:pt x="2071" y="2173"/>
                  </a:cubicBezTo>
                  <a:cubicBezTo>
                    <a:pt x="2006" y="2048"/>
                    <a:pt x="1939" y="1924"/>
                    <a:pt x="1874" y="1799"/>
                  </a:cubicBezTo>
                  <a:lnTo>
                    <a:pt x="1679" y="1468"/>
                  </a:lnTo>
                  <a:lnTo>
                    <a:pt x="1482" y="1180"/>
                  </a:lnTo>
                  <a:lnTo>
                    <a:pt x="1273" y="908"/>
                  </a:lnTo>
                  <a:lnTo>
                    <a:pt x="1063" y="706"/>
                  </a:lnTo>
                  <a:cubicBezTo>
                    <a:pt x="1024" y="673"/>
                    <a:pt x="984" y="638"/>
                    <a:pt x="944" y="605"/>
                  </a:cubicBezTo>
                  <a:cubicBezTo>
                    <a:pt x="905" y="572"/>
                    <a:pt x="866" y="537"/>
                    <a:pt x="827" y="504"/>
                  </a:cubicBezTo>
                  <a:lnTo>
                    <a:pt x="708" y="447"/>
                  </a:lnTo>
                  <a:cubicBezTo>
                    <a:pt x="668" y="423"/>
                    <a:pt x="377" y="435"/>
                    <a:pt x="337" y="411"/>
                  </a:cubicBezTo>
                  <a:cubicBezTo>
                    <a:pt x="372" y="310"/>
                    <a:pt x="-32" y="101"/>
                    <a:pt x="3" y="0"/>
                  </a:cubicBezTo>
                  <a:lnTo>
                    <a:pt x="892" y="115"/>
                  </a:lnTo>
                  <a:lnTo>
                    <a:pt x="1076" y="187"/>
                  </a:lnTo>
                  <a:lnTo>
                    <a:pt x="1259" y="260"/>
                  </a:lnTo>
                  <a:cubicBezTo>
                    <a:pt x="1315" y="289"/>
                    <a:pt x="1373" y="317"/>
                    <a:pt x="1429" y="346"/>
                  </a:cubicBezTo>
                  <a:lnTo>
                    <a:pt x="1613" y="447"/>
                  </a:lnTo>
                  <a:lnTo>
                    <a:pt x="1771" y="533"/>
                  </a:lnTo>
                  <a:lnTo>
                    <a:pt x="1927" y="662"/>
                  </a:lnTo>
                  <a:cubicBezTo>
                    <a:pt x="1984" y="705"/>
                    <a:pt x="2040" y="749"/>
                    <a:pt x="2097" y="792"/>
                  </a:cubicBezTo>
                  <a:lnTo>
                    <a:pt x="2254" y="922"/>
                  </a:lnTo>
                  <a:lnTo>
                    <a:pt x="2557" y="1209"/>
                  </a:lnTo>
                  <a:lnTo>
                    <a:pt x="2832" y="1554"/>
                  </a:lnTo>
                  <a:lnTo>
                    <a:pt x="3093" y="1914"/>
                  </a:lnTo>
                  <a:cubicBezTo>
                    <a:pt x="3176" y="2044"/>
                    <a:pt x="3260" y="2173"/>
                    <a:pt x="3343" y="2303"/>
                  </a:cubicBezTo>
                  <a:lnTo>
                    <a:pt x="3592" y="2706"/>
                  </a:lnTo>
                  <a:lnTo>
                    <a:pt x="3815" y="3123"/>
                  </a:lnTo>
                  <a:cubicBezTo>
                    <a:pt x="3894" y="3266"/>
                    <a:pt x="3972" y="3411"/>
                    <a:pt x="4051" y="3555"/>
                  </a:cubicBezTo>
                  <a:cubicBezTo>
                    <a:pt x="4120" y="3703"/>
                    <a:pt x="4191" y="3852"/>
                    <a:pt x="4260" y="3999"/>
                  </a:cubicBezTo>
                  <a:lnTo>
                    <a:pt x="4652" y="4906"/>
                  </a:lnTo>
                  <a:lnTo>
                    <a:pt x="5426" y="6705"/>
                  </a:lnTo>
                  <a:cubicBezTo>
                    <a:pt x="5549" y="6983"/>
                    <a:pt x="5671" y="7262"/>
                    <a:pt x="5793" y="7540"/>
                  </a:cubicBezTo>
                  <a:lnTo>
                    <a:pt x="5989" y="7900"/>
                  </a:lnTo>
                  <a:cubicBezTo>
                    <a:pt x="6050" y="8024"/>
                    <a:pt x="6113" y="8149"/>
                    <a:pt x="6175" y="8273"/>
                  </a:cubicBezTo>
                  <a:cubicBezTo>
                    <a:pt x="6244" y="8384"/>
                    <a:pt x="6314" y="8493"/>
                    <a:pt x="6383" y="8605"/>
                  </a:cubicBezTo>
                  <a:cubicBezTo>
                    <a:pt x="6448" y="8701"/>
                    <a:pt x="6515" y="8797"/>
                    <a:pt x="6580" y="8893"/>
                  </a:cubicBezTo>
                  <a:cubicBezTo>
                    <a:pt x="6645" y="8984"/>
                    <a:pt x="6711" y="9074"/>
                    <a:pt x="6776" y="9165"/>
                  </a:cubicBezTo>
                  <a:lnTo>
                    <a:pt x="6998" y="9367"/>
                  </a:lnTo>
                  <a:cubicBezTo>
                    <a:pt x="7038" y="9400"/>
                    <a:pt x="7078" y="9434"/>
                    <a:pt x="7117" y="9467"/>
                  </a:cubicBezTo>
                  <a:lnTo>
                    <a:pt x="7221" y="9569"/>
                  </a:lnTo>
                  <a:lnTo>
                    <a:pt x="7340" y="9626"/>
                  </a:lnTo>
                  <a:lnTo>
                    <a:pt x="7459" y="9698"/>
                  </a:lnTo>
                  <a:lnTo>
                    <a:pt x="7576" y="9741"/>
                  </a:lnTo>
                  <a:lnTo>
                    <a:pt x="7707" y="9770"/>
                  </a:lnTo>
                  <a:lnTo>
                    <a:pt x="7839" y="9813"/>
                  </a:lnTo>
                  <a:lnTo>
                    <a:pt x="7956" y="98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278" name="Group 277">
              <a:extLst>
                <a:ext uri="{FF2B5EF4-FFF2-40B4-BE49-F238E27FC236}">
                  <a16:creationId xmlns:a16="http://schemas.microsoft.com/office/drawing/2014/main" id="{BC238F08-1F42-4911-A5C7-7DBD66B22052}"/>
                </a:ext>
              </a:extLst>
            </p:cNvPr>
            <p:cNvGrpSpPr/>
            <p:nvPr/>
          </p:nvGrpSpPr>
          <p:grpSpPr>
            <a:xfrm>
              <a:off x="-2818333" y="2711346"/>
              <a:ext cx="514765" cy="636939"/>
              <a:chOff x="-1864887" y="743223"/>
              <a:chExt cx="274422" cy="481656"/>
            </a:xfrm>
          </p:grpSpPr>
          <p:sp>
            <p:nvSpPr>
              <p:cNvPr id="298" name="Rectangle 4098">
                <a:extLst>
                  <a:ext uri="{FF2B5EF4-FFF2-40B4-BE49-F238E27FC236}">
                    <a16:creationId xmlns:a16="http://schemas.microsoft.com/office/drawing/2014/main" id="{12C11395-1916-4C7E-A0C9-C6879C374DD9}"/>
                  </a:ext>
                </a:extLst>
              </p:cNvPr>
              <p:cNvSpPr/>
              <p:nvPr/>
            </p:nvSpPr>
            <p:spPr bwMode="auto">
              <a:xfrm rot="21439255">
                <a:off x="-1793585" y="965639"/>
                <a:ext cx="49068" cy="25610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47960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47960 h 433592"/>
                  <a:gd name="connsiteX0" fmla="*/ 0 w 55252"/>
                  <a:gd name="connsiteY0" fmla="*/ 150179 h 433592"/>
                  <a:gd name="connsiteX1" fmla="*/ 55252 w 55252"/>
                  <a:gd name="connsiteY1" fmla="*/ 0 h 433592"/>
                  <a:gd name="connsiteX2" fmla="*/ 55252 w 55252"/>
                  <a:gd name="connsiteY2" fmla="*/ 431211 h 433592"/>
                  <a:gd name="connsiteX3" fmla="*/ 14296 w 55252"/>
                  <a:gd name="connsiteY3" fmla="*/ 433592 h 433592"/>
                  <a:gd name="connsiteX4" fmla="*/ 0 w 55252"/>
                  <a:gd name="connsiteY4" fmla="*/ 150179 h 433592"/>
                  <a:gd name="connsiteX0" fmla="*/ 0 w 55252"/>
                  <a:gd name="connsiteY0" fmla="*/ 12497 h 295910"/>
                  <a:gd name="connsiteX1" fmla="*/ 36670 w 55252"/>
                  <a:gd name="connsiteY1" fmla="*/ 0 h 295910"/>
                  <a:gd name="connsiteX2" fmla="*/ 55252 w 55252"/>
                  <a:gd name="connsiteY2" fmla="*/ 293529 h 295910"/>
                  <a:gd name="connsiteX3" fmla="*/ 14296 w 55252"/>
                  <a:gd name="connsiteY3" fmla="*/ 295910 h 295910"/>
                  <a:gd name="connsiteX4" fmla="*/ 0 w 55252"/>
                  <a:gd name="connsiteY4" fmla="*/ 12497 h 295910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52" h="296691">
                    <a:moveTo>
                      <a:pt x="0" y="12497"/>
                    </a:moveTo>
                    <a:lnTo>
                      <a:pt x="36670" y="0"/>
                    </a:lnTo>
                    <a:lnTo>
                      <a:pt x="55252" y="293529"/>
                    </a:lnTo>
                    <a:lnTo>
                      <a:pt x="25719" y="296691"/>
                    </a:lnTo>
                    <a:cubicBezTo>
                      <a:pt x="15690" y="170826"/>
                      <a:pt x="23106" y="176845"/>
                      <a:pt x="0" y="124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9" name="Rectangle 68">
                <a:extLst>
                  <a:ext uri="{FF2B5EF4-FFF2-40B4-BE49-F238E27FC236}">
                    <a16:creationId xmlns:a16="http://schemas.microsoft.com/office/drawing/2014/main" id="{3EFCAA02-EC0D-4C05-AEA5-D674924C887F}"/>
                  </a:ext>
                </a:extLst>
              </p:cNvPr>
              <p:cNvSpPr/>
              <p:nvPr/>
            </p:nvSpPr>
            <p:spPr bwMode="auto">
              <a:xfrm rot="255432">
                <a:off x="-1703766" y="893354"/>
                <a:ext cx="37845" cy="278697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77214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77214 h 431211"/>
                  <a:gd name="connsiteX0" fmla="*/ 0 w 44132"/>
                  <a:gd name="connsiteY0" fmla="*/ 24384 h 378381"/>
                  <a:gd name="connsiteX1" fmla="*/ 44132 w 44132"/>
                  <a:gd name="connsiteY1" fmla="*/ 0 h 378381"/>
                  <a:gd name="connsiteX2" fmla="*/ 38575 w 44132"/>
                  <a:gd name="connsiteY2" fmla="*/ 349806 h 378381"/>
                  <a:gd name="connsiteX3" fmla="*/ 0 w 44132"/>
                  <a:gd name="connsiteY3" fmla="*/ 378381 h 378381"/>
                  <a:gd name="connsiteX4" fmla="*/ 0 w 44132"/>
                  <a:gd name="connsiteY4" fmla="*/ 24384 h 378381"/>
                  <a:gd name="connsiteX0" fmla="*/ 0 w 50479"/>
                  <a:gd name="connsiteY0" fmla="*/ 0 h 353997"/>
                  <a:gd name="connsiteX1" fmla="*/ 50479 w 50479"/>
                  <a:gd name="connsiteY1" fmla="*/ 48766 h 353997"/>
                  <a:gd name="connsiteX2" fmla="*/ 38575 w 50479"/>
                  <a:gd name="connsiteY2" fmla="*/ 325422 h 353997"/>
                  <a:gd name="connsiteX3" fmla="*/ 0 w 50479"/>
                  <a:gd name="connsiteY3" fmla="*/ 353997 h 353997"/>
                  <a:gd name="connsiteX4" fmla="*/ 0 w 50479"/>
                  <a:gd name="connsiteY4" fmla="*/ 0 h 353997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44922 w 50479"/>
                  <a:gd name="connsiteY2" fmla="*/ 280720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0 w 47305"/>
                  <a:gd name="connsiteY0" fmla="*/ 28448 h 314486"/>
                  <a:gd name="connsiteX1" fmla="*/ 47305 w 47305"/>
                  <a:gd name="connsiteY1" fmla="*/ 0 h 314486"/>
                  <a:gd name="connsiteX2" fmla="*/ 41748 w 47305"/>
                  <a:gd name="connsiteY2" fmla="*/ 290880 h 314486"/>
                  <a:gd name="connsiteX3" fmla="*/ 6321 w 47305"/>
                  <a:gd name="connsiteY3" fmla="*/ 314486 h 314486"/>
                  <a:gd name="connsiteX4" fmla="*/ 0 w 47305"/>
                  <a:gd name="connsiteY4" fmla="*/ 28448 h 314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305" h="314486">
                    <a:moveTo>
                      <a:pt x="0" y="28448"/>
                    </a:moveTo>
                    <a:lnTo>
                      <a:pt x="47305" y="0"/>
                    </a:lnTo>
                    <a:cubicBezTo>
                      <a:pt x="40693" y="167400"/>
                      <a:pt x="43600" y="174278"/>
                      <a:pt x="41748" y="290880"/>
                    </a:cubicBezTo>
                    <a:lnTo>
                      <a:pt x="6321" y="314486"/>
                    </a:lnTo>
                    <a:lnTo>
                      <a:pt x="0" y="2844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0" name="Rectangle 4098">
                <a:extLst>
                  <a:ext uri="{FF2B5EF4-FFF2-40B4-BE49-F238E27FC236}">
                    <a16:creationId xmlns:a16="http://schemas.microsoft.com/office/drawing/2014/main" id="{F725116C-FFDF-4D0D-97BF-5D4C3FBB7E59}"/>
                  </a:ext>
                </a:extLst>
              </p:cNvPr>
              <p:cNvSpPr/>
              <p:nvPr/>
            </p:nvSpPr>
            <p:spPr bwMode="auto">
              <a:xfrm>
                <a:off x="-1864887" y="899800"/>
                <a:ext cx="31498" cy="325079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37636 h 452178"/>
                  <a:gd name="connsiteX1" fmla="*/ 32610 w 41186"/>
                  <a:gd name="connsiteY1" fmla="*/ 0 h 452178"/>
                  <a:gd name="connsiteX2" fmla="*/ 41186 w 41186"/>
                  <a:gd name="connsiteY2" fmla="*/ 452178 h 452178"/>
                  <a:gd name="connsiteX3" fmla="*/ 230 w 41186"/>
                  <a:gd name="connsiteY3" fmla="*/ 429191 h 452178"/>
                  <a:gd name="connsiteX4" fmla="*/ 229 w 41186"/>
                  <a:gd name="connsiteY4" fmla="*/ 37636 h 452178"/>
                  <a:gd name="connsiteX0" fmla="*/ 229 w 32610"/>
                  <a:gd name="connsiteY0" fmla="*/ 37636 h 478388"/>
                  <a:gd name="connsiteX1" fmla="*/ 32610 w 32610"/>
                  <a:gd name="connsiteY1" fmla="*/ 0 h 478388"/>
                  <a:gd name="connsiteX2" fmla="*/ 18315 w 32610"/>
                  <a:gd name="connsiteY2" fmla="*/ 478388 h 478388"/>
                  <a:gd name="connsiteX3" fmla="*/ 230 w 32610"/>
                  <a:gd name="connsiteY3" fmla="*/ 429191 h 478388"/>
                  <a:gd name="connsiteX4" fmla="*/ 229 w 32610"/>
                  <a:gd name="connsiteY4" fmla="*/ 37636 h 478388"/>
                  <a:gd name="connsiteX0" fmla="*/ 229 w 35468"/>
                  <a:gd name="connsiteY0" fmla="*/ 37636 h 473147"/>
                  <a:gd name="connsiteX1" fmla="*/ 32610 w 35468"/>
                  <a:gd name="connsiteY1" fmla="*/ 0 h 473147"/>
                  <a:gd name="connsiteX2" fmla="*/ 35468 w 35468"/>
                  <a:gd name="connsiteY2" fmla="*/ 473147 h 473147"/>
                  <a:gd name="connsiteX3" fmla="*/ 230 w 35468"/>
                  <a:gd name="connsiteY3" fmla="*/ 429191 h 473147"/>
                  <a:gd name="connsiteX4" fmla="*/ 229 w 35468"/>
                  <a:gd name="connsiteY4" fmla="*/ 37636 h 473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68" h="473147">
                    <a:moveTo>
                      <a:pt x="229" y="37636"/>
                    </a:moveTo>
                    <a:lnTo>
                      <a:pt x="32610" y="0"/>
                    </a:lnTo>
                    <a:cubicBezTo>
                      <a:pt x="33563" y="157716"/>
                      <a:pt x="34515" y="315431"/>
                      <a:pt x="35468" y="473147"/>
                    </a:cubicBezTo>
                    <a:lnTo>
                      <a:pt x="230" y="429191"/>
                    </a:lnTo>
                    <a:cubicBezTo>
                      <a:pt x="-564" y="283073"/>
                      <a:pt x="1023" y="183754"/>
                      <a:pt x="229" y="376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1" name="Rectangle 4098">
                <a:extLst>
                  <a:ext uri="{FF2B5EF4-FFF2-40B4-BE49-F238E27FC236}">
                    <a16:creationId xmlns:a16="http://schemas.microsoft.com/office/drawing/2014/main" id="{1EA3023D-8627-4358-879F-EA89B2F17B86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705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79" name="Group 278">
              <a:extLst>
                <a:ext uri="{FF2B5EF4-FFF2-40B4-BE49-F238E27FC236}">
                  <a16:creationId xmlns:a16="http://schemas.microsoft.com/office/drawing/2014/main" id="{A2677DA4-353F-4EFF-8B73-7EC2F753E071}"/>
                </a:ext>
              </a:extLst>
            </p:cNvPr>
            <p:cNvGrpSpPr/>
            <p:nvPr/>
          </p:nvGrpSpPr>
          <p:grpSpPr>
            <a:xfrm>
              <a:off x="-1171050" y="2721679"/>
              <a:ext cx="514765" cy="625671"/>
              <a:chOff x="-1864887" y="741508"/>
              <a:chExt cx="274422" cy="473135"/>
            </a:xfrm>
          </p:grpSpPr>
          <p:sp>
            <p:nvSpPr>
              <p:cNvPr id="294" name="Rectangle 4098">
                <a:extLst>
                  <a:ext uri="{FF2B5EF4-FFF2-40B4-BE49-F238E27FC236}">
                    <a16:creationId xmlns:a16="http://schemas.microsoft.com/office/drawing/2014/main" id="{D497E16A-43EA-44D9-B3BA-BB2753366B29}"/>
                  </a:ext>
                </a:extLst>
              </p:cNvPr>
              <p:cNvSpPr/>
              <p:nvPr/>
            </p:nvSpPr>
            <p:spPr bwMode="auto">
              <a:xfrm>
                <a:off x="-1785605" y="781051"/>
                <a:ext cx="36576" cy="43359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3592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33592"/>
                    </a:lnTo>
                    <a:cubicBezTo>
                      <a:pt x="-564" y="287474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5" name="Rectangle 68">
                <a:extLst>
                  <a:ext uri="{FF2B5EF4-FFF2-40B4-BE49-F238E27FC236}">
                    <a16:creationId xmlns:a16="http://schemas.microsoft.com/office/drawing/2014/main" id="{780868E2-CEA3-49F4-B9B3-71B9DB9E1C9E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6" name="Rectangle 4098">
                <a:extLst>
                  <a:ext uri="{FF2B5EF4-FFF2-40B4-BE49-F238E27FC236}">
                    <a16:creationId xmlns:a16="http://schemas.microsoft.com/office/drawing/2014/main" id="{0F710B8D-5419-4F42-8101-4A45B10D08C5}"/>
                  </a:ext>
                </a:extLst>
              </p:cNvPr>
              <p:cNvSpPr/>
              <p:nvPr/>
            </p:nvSpPr>
            <p:spPr bwMode="auto">
              <a:xfrm>
                <a:off x="-1864887" y="886653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7" name="Rectangle 4098">
                <a:extLst>
                  <a:ext uri="{FF2B5EF4-FFF2-40B4-BE49-F238E27FC236}">
                    <a16:creationId xmlns:a16="http://schemas.microsoft.com/office/drawing/2014/main" id="{7A32A3AC-6AE0-4093-B607-FAC149697024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482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5017"/>
                  <a:gd name="connsiteX1" fmla="*/ 41186 w 41186"/>
                  <a:gd name="connsiteY1" fmla="*/ 31682 h 465017"/>
                  <a:gd name="connsiteX2" fmla="*/ 41186 w 41186"/>
                  <a:gd name="connsiteY2" fmla="*/ 462893 h 465017"/>
                  <a:gd name="connsiteX3" fmla="*/ 230 w 41186"/>
                  <a:gd name="connsiteY3" fmla="*/ 465017 h 465017"/>
                  <a:gd name="connsiteX4" fmla="*/ 229 w 41186"/>
                  <a:gd name="connsiteY4" fmla="*/ 0 h 46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5017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65017"/>
                    </a:lnTo>
                    <a:cubicBezTo>
                      <a:pt x="-564" y="318899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F48B51DC-B092-4389-9682-467735501560}"/>
                </a:ext>
              </a:extLst>
            </p:cNvPr>
            <p:cNvGrpSpPr/>
            <p:nvPr/>
          </p:nvGrpSpPr>
          <p:grpSpPr>
            <a:xfrm>
              <a:off x="-3650802" y="2689483"/>
              <a:ext cx="497862" cy="646699"/>
              <a:chOff x="-2308678" y="726690"/>
              <a:chExt cx="265411" cy="489037"/>
            </a:xfrm>
          </p:grpSpPr>
          <p:sp>
            <p:nvSpPr>
              <p:cNvPr id="290" name="Rectangle 4098">
                <a:extLst>
                  <a:ext uri="{FF2B5EF4-FFF2-40B4-BE49-F238E27FC236}">
                    <a16:creationId xmlns:a16="http://schemas.microsoft.com/office/drawing/2014/main" id="{02EB54BA-8216-4364-A872-C4510A64BAB0}"/>
                  </a:ext>
                </a:extLst>
              </p:cNvPr>
              <p:cNvSpPr/>
              <p:nvPr/>
            </p:nvSpPr>
            <p:spPr bwMode="auto">
              <a:xfrm>
                <a:off x="-2233454" y="726690"/>
                <a:ext cx="36460" cy="45169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51698"/>
                  <a:gd name="connsiteX1" fmla="*/ 41055 w 41055"/>
                  <a:gd name="connsiteY1" fmla="*/ 9525 h 451698"/>
                  <a:gd name="connsiteX2" fmla="*/ 37999 w 41055"/>
                  <a:gd name="connsiteY2" fmla="*/ 451698 h 451698"/>
                  <a:gd name="connsiteX3" fmla="*/ 99 w 41055"/>
                  <a:gd name="connsiteY3" fmla="*/ 424067 h 451698"/>
                  <a:gd name="connsiteX4" fmla="*/ 2779 w 41055"/>
                  <a:gd name="connsiteY4" fmla="*/ 0 h 45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51698">
                    <a:moveTo>
                      <a:pt x="2779" y="0"/>
                    </a:moveTo>
                    <a:lnTo>
                      <a:pt x="41055" y="9525"/>
                    </a:lnTo>
                    <a:cubicBezTo>
                      <a:pt x="40036" y="156916"/>
                      <a:pt x="39018" y="304307"/>
                      <a:pt x="37999" y="451698"/>
                    </a:cubicBez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1" name="Rectangle 68">
                <a:extLst>
                  <a:ext uri="{FF2B5EF4-FFF2-40B4-BE49-F238E27FC236}">
                    <a16:creationId xmlns:a16="http://schemas.microsoft.com/office/drawing/2014/main" id="{3F55B1FC-CEF5-41FD-AF28-20D970C799E4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084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17747">
                    <a:moveTo>
                      <a:pt x="4206" y="0"/>
                    </a:moveTo>
                    <a:lnTo>
                      <a:pt x="35203" y="10794"/>
                    </a:lnTo>
                    <a:lnTo>
                      <a:pt x="34369" y="417747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2" name="Rectangle 4098">
                <a:extLst>
                  <a:ext uri="{FF2B5EF4-FFF2-40B4-BE49-F238E27FC236}">
                    <a16:creationId xmlns:a16="http://schemas.microsoft.com/office/drawing/2014/main" id="{B5313B62-4CBA-4FE3-9E1F-8659A3D3197B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3" name="Rectangle 4098">
                <a:extLst>
                  <a:ext uri="{FF2B5EF4-FFF2-40B4-BE49-F238E27FC236}">
                    <a16:creationId xmlns:a16="http://schemas.microsoft.com/office/drawing/2014/main" id="{D8A5AA54-ACCE-4492-A89F-1FC97EA5E8C6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B8DE00FE-9E6B-4A8C-A63E-1D43992FFE11}"/>
                </a:ext>
              </a:extLst>
            </p:cNvPr>
            <p:cNvGrpSpPr/>
            <p:nvPr/>
          </p:nvGrpSpPr>
          <p:grpSpPr>
            <a:xfrm>
              <a:off x="-1998047" y="2695135"/>
              <a:ext cx="497862" cy="657077"/>
              <a:chOff x="-2308678" y="726689"/>
              <a:chExt cx="265411" cy="496885"/>
            </a:xfrm>
          </p:grpSpPr>
          <p:sp>
            <p:nvSpPr>
              <p:cNvPr id="286" name="Rectangle 4098">
                <a:extLst>
                  <a:ext uri="{FF2B5EF4-FFF2-40B4-BE49-F238E27FC236}">
                    <a16:creationId xmlns:a16="http://schemas.microsoft.com/office/drawing/2014/main" id="{0421516D-D507-4F12-A1C9-A0E164FE887F}"/>
                  </a:ext>
                </a:extLst>
              </p:cNvPr>
              <p:cNvSpPr/>
              <p:nvPr/>
            </p:nvSpPr>
            <p:spPr bwMode="auto">
              <a:xfrm>
                <a:off x="-2233453" y="726689"/>
                <a:ext cx="36461" cy="47883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78836">
                    <a:moveTo>
                      <a:pt x="2779" y="0"/>
                    </a:moveTo>
                    <a:lnTo>
                      <a:pt x="41055" y="9525"/>
                    </a:lnTo>
                    <a:lnTo>
                      <a:pt x="41055" y="478836"/>
                    </a:ln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7" name="Rectangle 68">
                <a:extLst>
                  <a:ext uri="{FF2B5EF4-FFF2-40B4-BE49-F238E27FC236}">
                    <a16:creationId xmlns:a16="http://schemas.microsoft.com/office/drawing/2014/main" id="{C14C106E-C875-4430-8448-7E5B8C2AFC3D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975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  <a:gd name="connsiteX0" fmla="*/ 4206 w 35203"/>
                  <a:gd name="connsiteY0" fmla="*/ 0 h 425819"/>
                  <a:gd name="connsiteX1" fmla="*/ 35203 w 35203"/>
                  <a:gd name="connsiteY1" fmla="*/ 10794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  <a:gd name="connsiteX0" fmla="*/ 4206 w 35203"/>
                  <a:gd name="connsiteY0" fmla="*/ 0 h 425819"/>
                  <a:gd name="connsiteX1" fmla="*/ 35203 w 35203"/>
                  <a:gd name="connsiteY1" fmla="*/ 20211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25819">
                    <a:moveTo>
                      <a:pt x="4206" y="0"/>
                    </a:moveTo>
                    <a:lnTo>
                      <a:pt x="35203" y="20211"/>
                    </a:lnTo>
                    <a:lnTo>
                      <a:pt x="33058" y="425819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8" name="Rectangle 4098">
                <a:extLst>
                  <a:ext uri="{FF2B5EF4-FFF2-40B4-BE49-F238E27FC236}">
                    <a16:creationId xmlns:a16="http://schemas.microsoft.com/office/drawing/2014/main" id="{A2DF4E14-A332-45DB-BDA0-C965C7118A56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9" name="Rectangle 4098">
                <a:extLst>
                  <a:ext uri="{FF2B5EF4-FFF2-40B4-BE49-F238E27FC236}">
                    <a16:creationId xmlns:a16="http://schemas.microsoft.com/office/drawing/2014/main" id="{BB22B910-F41B-4447-808D-BF72DEBC6C83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82" name="Rectangle 4098">
              <a:extLst>
                <a:ext uri="{FF2B5EF4-FFF2-40B4-BE49-F238E27FC236}">
                  <a16:creationId xmlns:a16="http://schemas.microsoft.com/office/drawing/2014/main" id="{5B6BFE16-1158-4202-9786-3F0B8A17A30B}"/>
                </a:ext>
              </a:extLst>
            </p:cNvPr>
            <p:cNvSpPr/>
            <p:nvPr/>
          </p:nvSpPr>
          <p:spPr bwMode="auto">
            <a:xfrm>
              <a:off x="-363666" y="2728813"/>
              <a:ext cx="68610" cy="428217"/>
            </a:xfrm>
            <a:custGeom>
              <a:avLst/>
              <a:gdLst>
                <a:gd name="connsiteX0" fmla="*/ 0 w 45719"/>
                <a:gd name="connsiteY0" fmla="*/ 0 h 431211"/>
                <a:gd name="connsiteX1" fmla="*/ 45719 w 45719"/>
                <a:gd name="connsiteY1" fmla="*/ 0 h 431211"/>
                <a:gd name="connsiteX2" fmla="*/ 45719 w 45719"/>
                <a:gd name="connsiteY2" fmla="*/ 431211 h 431211"/>
                <a:gd name="connsiteX3" fmla="*/ 0 w 45719"/>
                <a:gd name="connsiteY3" fmla="*/ 431211 h 431211"/>
                <a:gd name="connsiteX4" fmla="*/ 0 w 45719"/>
                <a:gd name="connsiteY4" fmla="*/ 0 h 431211"/>
                <a:gd name="connsiteX0" fmla="*/ 0 w 45719"/>
                <a:gd name="connsiteY0" fmla="*/ 0 h 438354"/>
                <a:gd name="connsiteX1" fmla="*/ 45719 w 45719"/>
                <a:gd name="connsiteY1" fmla="*/ 0 h 438354"/>
                <a:gd name="connsiteX2" fmla="*/ 45719 w 45719"/>
                <a:gd name="connsiteY2" fmla="*/ 431211 h 438354"/>
                <a:gd name="connsiteX3" fmla="*/ 2381 w 45719"/>
                <a:gd name="connsiteY3" fmla="*/ 438354 h 438354"/>
                <a:gd name="connsiteX4" fmla="*/ 0 w 45719"/>
                <a:gd name="connsiteY4" fmla="*/ 0 h 438354"/>
                <a:gd name="connsiteX0" fmla="*/ 2487 w 43444"/>
                <a:gd name="connsiteY0" fmla="*/ 16669 h 438354"/>
                <a:gd name="connsiteX1" fmla="*/ 43444 w 43444"/>
                <a:gd name="connsiteY1" fmla="*/ 0 h 438354"/>
                <a:gd name="connsiteX2" fmla="*/ 43444 w 43444"/>
                <a:gd name="connsiteY2" fmla="*/ 431211 h 438354"/>
                <a:gd name="connsiteX3" fmla="*/ 106 w 43444"/>
                <a:gd name="connsiteY3" fmla="*/ 438354 h 438354"/>
                <a:gd name="connsiteX4" fmla="*/ 2487 w 43444"/>
                <a:gd name="connsiteY4" fmla="*/ 16669 h 438354"/>
                <a:gd name="connsiteX0" fmla="*/ 229 w 41186"/>
                <a:gd name="connsiteY0" fmla="*/ 16669 h 433592"/>
                <a:gd name="connsiteX1" fmla="*/ 41186 w 41186"/>
                <a:gd name="connsiteY1" fmla="*/ 0 h 433592"/>
                <a:gd name="connsiteX2" fmla="*/ 41186 w 41186"/>
                <a:gd name="connsiteY2" fmla="*/ 431211 h 433592"/>
                <a:gd name="connsiteX3" fmla="*/ 230 w 41186"/>
                <a:gd name="connsiteY3" fmla="*/ 433592 h 433592"/>
                <a:gd name="connsiteX4" fmla="*/ 229 w 41186"/>
                <a:gd name="connsiteY4" fmla="*/ 16669 h 433592"/>
                <a:gd name="connsiteX0" fmla="*/ 229 w 41186"/>
                <a:gd name="connsiteY0" fmla="*/ 16669 h 431211"/>
                <a:gd name="connsiteX1" fmla="*/ 41186 w 41186"/>
                <a:gd name="connsiteY1" fmla="*/ 0 h 431211"/>
                <a:gd name="connsiteX2" fmla="*/ 41186 w 41186"/>
                <a:gd name="connsiteY2" fmla="*/ 431211 h 431211"/>
                <a:gd name="connsiteX3" fmla="*/ 230 w 41186"/>
                <a:gd name="connsiteY3" fmla="*/ 408224 h 431211"/>
                <a:gd name="connsiteX4" fmla="*/ 229 w 41186"/>
                <a:gd name="connsiteY4" fmla="*/ 16669 h 43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86" h="431211">
                  <a:moveTo>
                    <a:pt x="229" y="16669"/>
                  </a:moveTo>
                  <a:lnTo>
                    <a:pt x="41186" y="0"/>
                  </a:lnTo>
                  <a:lnTo>
                    <a:pt x="41186" y="431211"/>
                  </a:lnTo>
                  <a:lnTo>
                    <a:pt x="230" y="408224"/>
                  </a:lnTo>
                  <a:cubicBezTo>
                    <a:pt x="-564" y="262106"/>
                    <a:pt x="1023" y="162787"/>
                    <a:pt x="229" y="166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283" name="Group 282">
              <a:extLst>
                <a:ext uri="{FF2B5EF4-FFF2-40B4-BE49-F238E27FC236}">
                  <a16:creationId xmlns:a16="http://schemas.microsoft.com/office/drawing/2014/main" id="{2FECD49C-431D-414C-AB01-BE73F67F3EED}"/>
                </a:ext>
              </a:extLst>
            </p:cNvPr>
            <p:cNvGrpSpPr/>
            <p:nvPr/>
          </p:nvGrpSpPr>
          <p:grpSpPr>
            <a:xfrm>
              <a:off x="-4173623" y="2693849"/>
              <a:ext cx="200177" cy="570231"/>
              <a:chOff x="-1706323" y="741508"/>
              <a:chExt cx="106715" cy="431211"/>
            </a:xfrm>
          </p:grpSpPr>
          <p:sp>
            <p:nvSpPr>
              <p:cNvPr id="284" name="Rectangle 68">
                <a:extLst>
                  <a:ext uri="{FF2B5EF4-FFF2-40B4-BE49-F238E27FC236}">
                    <a16:creationId xmlns:a16="http://schemas.microsoft.com/office/drawing/2014/main" id="{45FA7C24-1210-466E-BFE2-AE8012DFD538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5" name="Rectangle 4098">
                <a:extLst>
                  <a:ext uri="{FF2B5EF4-FFF2-40B4-BE49-F238E27FC236}">
                    <a16:creationId xmlns:a16="http://schemas.microsoft.com/office/drawing/2014/main" id="{365B342E-F2F7-4055-9C7D-9D23BC91AC4E}"/>
                  </a:ext>
                </a:extLst>
              </p:cNvPr>
              <p:cNvSpPr/>
              <p:nvPr/>
            </p:nvSpPr>
            <p:spPr bwMode="auto">
              <a:xfrm>
                <a:off x="-1636184" y="743223"/>
                <a:ext cx="36576" cy="31604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2893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39906"/>
                    </a:lnTo>
                    <a:cubicBezTo>
                      <a:pt x="-564" y="293788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D8F9531E-9B28-4836-A6D5-D8D37C498685}"/>
              </a:ext>
            </a:extLst>
          </p:cNvPr>
          <p:cNvGrpSpPr/>
          <p:nvPr/>
        </p:nvGrpSpPr>
        <p:grpSpPr>
          <a:xfrm>
            <a:off x="7679152" y="5587178"/>
            <a:ext cx="3260885" cy="540769"/>
            <a:chOff x="-4333527" y="2679496"/>
            <a:chExt cx="4125796" cy="684201"/>
          </a:xfrm>
        </p:grpSpPr>
        <p:sp>
          <p:nvSpPr>
            <p:cNvPr id="303" name="AutoShape 76">
              <a:extLst>
                <a:ext uri="{FF2B5EF4-FFF2-40B4-BE49-F238E27FC236}">
                  <a16:creationId xmlns:a16="http://schemas.microsoft.com/office/drawing/2014/main" id="{E61A5A42-DE77-4797-B379-59A6023947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4333527" y="2679496"/>
              <a:ext cx="4125796" cy="684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4" name="Freeform 78">
              <a:extLst>
                <a:ext uri="{FF2B5EF4-FFF2-40B4-BE49-F238E27FC236}">
                  <a16:creationId xmlns:a16="http://schemas.microsoft.com/office/drawing/2014/main" id="{8B9FC87F-4D63-4414-AFB8-A71039444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71779" y="2683312"/>
              <a:ext cx="1599964" cy="667978"/>
            </a:xfrm>
            <a:custGeom>
              <a:avLst/>
              <a:gdLst>
                <a:gd name="T0" fmla="*/ 815 w 1182"/>
                <a:gd name="T1" fmla="*/ 681 h 700"/>
                <a:gd name="T2" fmla="*/ 852 w 1182"/>
                <a:gd name="T3" fmla="*/ 670 h 700"/>
                <a:gd name="T4" fmla="*/ 884 w 1182"/>
                <a:gd name="T5" fmla="*/ 647 h 700"/>
                <a:gd name="T6" fmla="*/ 916 w 1182"/>
                <a:gd name="T7" fmla="*/ 613 h 700"/>
                <a:gd name="T8" fmla="*/ 955 w 1182"/>
                <a:gd name="T9" fmla="*/ 555 h 700"/>
                <a:gd name="T10" fmla="*/ 1011 w 1182"/>
                <a:gd name="T11" fmla="*/ 449 h 700"/>
                <a:gd name="T12" fmla="*/ 1090 w 1182"/>
                <a:gd name="T13" fmla="*/ 290 h 700"/>
                <a:gd name="T14" fmla="*/ 1134 w 1182"/>
                <a:gd name="T15" fmla="*/ 213 h 700"/>
                <a:gd name="T16" fmla="*/ 1182 w 1182"/>
                <a:gd name="T17" fmla="*/ 316 h 700"/>
                <a:gd name="T18" fmla="*/ 1112 w 1182"/>
                <a:gd name="T19" fmla="*/ 454 h 700"/>
                <a:gd name="T20" fmla="*/ 1053 w 1182"/>
                <a:gd name="T21" fmla="*/ 549 h 700"/>
                <a:gd name="T22" fmla="*/ 994 w 1182"/>
                <a:gd name="T23" fmla="*/ 617 h 700"/>
                <a:gd name="T24" fmla="*/ 956 w 1182"/>
                <a:gd name="T25" fmla="*/ 649 h 700"/>
                <a:gd name="T26" fmla="*/ 915 w 1182"/>
                <a:gd name="T27" fmla="*/ 674 h 700"/>
                <a:gd name="T28" fmla="*/ 868 w 1182"/>
                <a:gd name="T29" fmla="*/ 692 h 700"/>
                <a:gd name="T30" fmla="*/ 819 w 1182"/>
                <a:gd name="T31" fmla="*/ 700 h 700"/>
                <a:gd name="T32" fmla="*/ 785 w 1182"/>
                <a:gd name="T33" fmla="*/ 700 h 700"/>
                <a:gd name="T34" fmla="*/ 740 w 1182"/>
                <a:gd name="T35" fmla="*/ 692 h 700"/>
                <a:gd name="T36" fmla="*/ 699 w 1182"/>
                <a:gd name="T37" fmla="*/ 676 h 700"/>
                <a:gd name="T38" fmla="*/ 661 w 1182"/>
                <a:gd name="T39" fmla="*/ 654 h 700"/>
                <a:gd name="T40" fmla="*/ 613 w 1182"/>
                <a:gd name="T41" fmla="*/ 616 h 700"/>
                <a:gd name="T42" fmla="*/ 553 w 1182"/>
                <a:gd name="T43" fmla="*/ 540 h 700"/>
                <a:gd name="T44" fmla="*/ 500 w 1182"/>
                <a:gd name="T45" fmla="*/ 453 h 700"/>
                <a:gd name="T46" fmla="*/ 453 w 1182"/>
                <a:gd name="T47" fmla="*/ 359 h 700"/>
                <a:gd name="T48" fmla="*/ 351 w 1182"/>
                <a:gd name="T49" fmla="*/ 151 h 700"/>
                <a:gd name="T50" fmla="*/ 307 w 1182"/>
                <a:gd name="T51" fmla="*/ 82 h 700"/>
                <a:gd name="T52" fmla="*/ 266 w 1182"/>
                <a:gd name="T53" fmla="*/ 42 h 700"/>
                <a:gd name="T54" fmla="*/ 239 w 1182"/>
                <a:gd name="T55" fmla="*/ 26 h 700"/>
                <a:gd name="T56" fmla="*/ 210 w 1182"/>
                <a:gd name="T57" fmla="*/ 20 h 700"/>
                <a:gd name="T58" fmla="*/ 189 w 1182"/>
                <a:gd name="T59" fmla="*/ 18 h 700"/>
                <a:gd name="T60" fmla="*/ 156 w 1182"/>
                <a:gd name="T61" fmla="*/ 27 h 700"/>
                <a:gd name="T62" fmla="*/ 127 w 1182"/>
                <a:gd name="T63" fmla="*/ 46 h 700"/>
                <a:gd name="T64" fmla="*/ 97 w 1182"/>
                <a:gd name="T65" fmla="*/ 74 h 700"/>
                <a:gd name="T66" fmla="*/ 45 w 1182"/>
                <a:gd name="T67" fmla="*/ 151 h 700"/>
                <a:gd name="T68" fmla="*/ 22 w 1182"/>
                <a:gd name="T69" fmla="*/ 119 h 700"/>
                <a:gd name="T70" fmla="*/ 21 w 1182"/>
                <a:gd name="T71" fmla="*/ 71 h 700"/>
                <a:gd name="T72" fmla="*/ 77 w 1182"/>
                <a:gd name="T73" fmla="*/ 31 h 700"/>
                <a:gd name="T74" fmla="*/ 115 w 1182"/>
                <a:gd name="T75" fmla="*/ 14 h 700"/>
                <a:gd name="T76" fmla="*/ 156 w 1182"/>
                <a:gd name="T77" fmla="*/ 4 h 700"/>
                <a:gd name="T78" fmla="*/ 201 w 1182"/>
                <a:gd name="T79" fmla="*/ 0 h 700"/>
                <a:gd name="T80" fmla="*/ 232 w 1182"/>
                <a:gd name="T81" fmla="*/ 3 h 700"/>
                <a:gd name="T82" fmla="*/ 277 w 1182"/>
                <a:gd name="T83" fmla="*/ 13 h 700"/>
                <a:gd name="T84" fmla="*/ 318 w 1182"/>
                <a:gd name="T85" fmla="*/ 31 h 700"/>
                <a:gd name="T86" fmla="*/ 355 w 1182"/>
                <a:gd name="T87" fmla="*/ 55 h 700"/>
                <a:gd name="T88" fmla="*/ 411 w 1182"/>
                <a:gd name="T89" fmla="*/ 108 h 700"/>
                <a:gd name="T90" fmla="*/ 470 w 1182"/>
                <a:gd name="T91" fmla="*/ 188 h 700"/>
                <a:gd name="T92" fmla="*/ 519 w 1182"/>
                <a:gd name="T93" fmla="*/ 278 h 700"/>
                <a:gd name="T94" fmla="*/ 621 w 1182"/>
                <a:gd name="T95" fmla="*/ 496 h 700"/>
                <a:gd name="T96" fmla="*/ 665 w 1182"/>
                <a:gd name="T97" fmla="*/ 575 h 700"/>
                <a:gd name="T98" fmla="*/ 711 w 1182"/>
                <a:gd name="T99" fmla="*/ 637 h 700"/>
                <a:gd name="T100" fmla="*/ 745 w 1182"/>
                <a:gd name="T101" fmla="*/ 665 h 700"/>
                <a:gd name="T102" fmla="*/ 772 w 1182"/>
                <a:gd name="T103" fmla="*/ 677 h 700"/>
                <a:gd name="T104" fmla="*/ 802 w 1182"/>
                <a:gd name="T105" fmla="*/ 682 h 7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2" h="700">
                  <a:moveTo>
                    <a:pt x="802" y="682"/>
                  </a:moveTo>
                  <a:lnTo>
                    <a:pt x="802" y="682"/>
                  </a:lnTo>
                  <a:lnTo>
                    <a:pt x="815" y="681"/>
                  </a:lnTo>
                  <a:lnTo>
                    <a:pt x="827" y="679"/>
                  </a:lnTo>
                  <a:lnTo>
                    <a:pt x="839" y="675"/>
                  </a:lnTo>
                  <a:lnTo>
                    <a:pt x="852" y="670"/>
                  </a:lnTo>
                  <a:lnTo>
                    <a:pt x="863" y="664"/>
                  </a:lnTo>
                  <a:lnTo>
                    <a:pt x="874" y="656"/>
                  </a:lnTo>
                  <a:lnTo>
                    <a:pt x="884" y="647"/>
                  </a:lnTo>
                  <a:lnTo>
                    <a:pt x="895" y="637"/>
                  </a:lnTo>
                  <a:lnTo>
                    <a:pt x="906" y="626"/>
                  </a:lnTo>
                  <a:lnTo>
                    <a:pt x="916" y="613"/>
                  </a:lnTo>
                  <a:lnTo>
                    <a:pt x="926" y="600"/>
                  </a:lnTo>
                  <a:lnTo>
                    <a:pt x="936" y="586"/>
                  </a:lnTo>
                  <a:lnTo>
                    <a:pt x="955" y="555"/>
                  </a:lnTo>
                  <a:lnTo>
                    <a:pt x="974" y="521"/>
                  </a:lnTo>
                  <a:lnTo>
                    <a:pt x="993" y="486"/>
                  </a:lnTo>
                  <a:lnTo>
                    <a:pt x="1011" y="449"/>
                  </a:lnTo>
                  <a:lnTo>
                    <a:pt x="1049" y="369"/>
                  </a:lnTo>
                  <a:lnTo>
                    <a:pt x="1070" y="330"/>
                  </a:lnTo>
                  <a:lnTo>
                    <a:pt x="1090" y="290"/>
                  </a:lnTo>
                  <a:lnTo>
                    <a:pt x="1111" y="250"/>
                  </a:lnTo>
                  <a:lnTo>
                    <a:pt x="1134" y="213"/>
                  </a:lnTo>
                  <a:lnTo>
                    <a:pt x="1158" y="264"/>
                  </a:lnTo>
                  <a:lnTo>
                    <a:pt x="1182" y="316"/>
                  </a:lnTo>
                  <a:lnTo>
                    <a:pt x="1148" y="386"/>
                  </a:lnTo>
                  <a:lnTo>
                    <a:pt x="1130" y="421"/>
                  </a:lnTo>
                  <a:lnTo>
                    <a:pt x="1112" y="454"/>
                  </a:lnTo>
                  <a:lnTo>
                    <a:pt x="1093" y="487"/>
                  </a:lnTo>
                  <a:lnTo>
                    <a:pt x="1073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7" y="604"/>
                  </a:lnTo>
                  <a:lnTo>
                    <a:pt x="994" y="617"/>
                  </a:lnTo>
                  <a:lnTo>
                    <a:pt x="982" y="628"/>
                  </a:lnTo>
                  <a:lnTo>
                    <a:pt x="970" y="639"/>
                  </a:lnTo>
                  <a:lnTo>
                    <a:pt x="956" y="649"/>
                  </a:lnTo>
                  <a:lnTo>
                    <a:pt x="943" y="658"/>
                  </a:lnTo>
                  <a:lnTo>
                    <a:pt x="929" y="667"/>
                  </a:lnTo>
                  <a:lnTo>
                    <a:pt x="915" y="674"/>
                  </a:lnTo>
                  <a:lnTo>
                    <a:pt x="900" y="681"/>
                  </a:lnTo>
                  <a:lnTo>
                    <a:pt x="884" y="687"/>
                  </a:lnTo>
                  <a:lnTo>
                    <a:pt x="868" y="692"/>
                  </a:lnTo>
                  <a:lnTo>
                    <a:pt x="853" y="695"/>
                  </a:lnTo>
                  <a:lnTo>
                    <a:pt x="836" y="698"/>
                  </a:lnTo>
                  <a:lnTo>
                    <a:pt x="819" y="700"/>
                  </a:lnTo>
                  <a:lnTo>
                    <a:pt x="801" y="700"/>
                  </a:lnTo>
                  <a:lnTo>
                    <a:pt x="785" y="700"/>
                  </a:lnTo>
                  <a:lnTo>
                    <a:pt x="770" y="697"/>
                  </a:lnTo>
                  <a:lnTo>
                    <a:pt x="755" y="695"/>
                  </a:lnTo>
                  <a:lnTo>
                    <a:pt x="740" y="692"/>
                  </a:lnTo>
                  <a:lnTo>
                    <a:pt x="726" y="687"/>
                  </a:lnTo>
                  <a:lnTo>
                    <a:pt x="712" y="683"/>
                  </a:lnTo>
                  <a:lnTo>
                    <a:pt x="699" y="676"/>
                  </a:lnTo>
                  <a:lnTo>
                    <a:pt x="685" y="669"/>
                  </a:lnTo>
                  <a:lnTo>
                    <a:pt x="673" y="663"/>
                  </a:lnTo>
                  <a:lnTo>
                    <a:pt x="661" y="654"/>
                  </a:lnTo>
                  <a:lnTo>
                    <a:pt x="648" y="646"/>
                  </a:lnTo>
                  <a:lnTo>
                    <a:pt x="636" y="636"/>
                  </a:lnTo>
                  <a:lnTo>
                    <a:pt x="613" y="616"/>
                  </a:lnTo>
                  <a:lnTo>
                    <a:pt x="592" y="592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4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3" y="422"/>
                  </a:lnTo>
                  <a:lnTo>
                    <a:pt x="453" y="359"/>
                  </a:lnTo>
                  <a:lnTo>
                    <a:pt x="394" y="235"/>
                  </a:lnTo>
                  <a:lnTo>
                    <a:pt x="366" y="177"/>
                  </a:lnTo>
                  <a:lnTo>
                    <a:pt x="351" y="151"/>
                  </a:lnTo>
                  <a:lnTo>
                    <a:pt x="337" y="126"/>
                  </a:lnTo>
                  <a:lnTo>
                    <a:pt x="322" y="102"/>
                  </a:lnTo>
                  <a:lnTo>
                    <a:pt x="307" y="82"/>
                  </a:lnTo>
                  <a:lnTo>
                    <a:pt x="291" y="63"/>
                  </a:lnTo>
                  <a:lnTo>
                    <a:pt x="274" y="49"/>
                  </a:lnTo>
                  <a:lnTo>
                    <a:pt x="266" y="42"/>
                  </a:lnTo>
                  <a:lnTo>
                    <a:pt x="257" y="35"/>
                  </a:lnTo>
                  <a:lnTo>
                    <a:pt x="248" y="31"/>
                  </a:lnTo>
                  <a:lnTo>
                    <a:pt x="239" y="26"/>
                  </a:lnTo>
                  <a:lnTo>
                    <a:pt x="230" y="23"/>
                  </a:lnTo>
                  <a:lnTo>
                    <a:pt x="220" y="21"/>
                  </a:lnTo>
                  <a:lnTo>
                    <a:pt x="210" y="20"/>
                  </a:lnTo>
                  <a:lnTo>
                    <a:pt x="201" y="18"/>
                  </a:lnTo>
                  <a:lnTo>
                    <a:pt x="189" y="18"/>
                  </a:lnTo>
                  <a:lnTo>
                    <a:pt x="178" y="21"/>
                  </a:lnTo>
                  <a:lnTo>
                    <a:pt x="167" y="24"/>
                  </a:lnTo>
                  <a:lnTo>
                    <a:pt x="156" y="27"/>
                  </a:lnTo>
                  <a:lnTo>
                    <a:pt x="146" y="33"/>
                  </a:lnTo>
                  <a:lnTo>
                    <a:pt x="136" y="40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6" y="64"/>
                  </a:lnTo>
                  <a:lnTo>
                    <a:pt x="97" y="74"/>
                  </a:lnTo>
                  <a:lnTo>
                    <a:pt x="80" y="97"/>
                  </a:lnTo>
                  <a:lnTo>
                    <a:pt x="62" y="123"/>
                  </a:lnTo>
                  <a:lnTo>
                    <a:pt x="45" y="151"/>
                  </a:lnTo>
                  <a:lnTo>
                    <a:pt x="33" y="135"/>
                  </a:lnTo>
                  <a:lnTo>
                    <a:pt x="22" y="119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2" y="53"/>
                  </a:lnTo>
                  <a:lnTo>
                    <a:pt x="66" y="37"/>
                  </a:lnTo>
                  <a:lnTo>
                    <a:pt x="77" y="31"/>
                  </a:lnTo>
                  <a:lnTo>
                    <a:pt x="90" y="24"/>
                  </a:lnTo>
                  <a:lnTo>
                    <a:pt x="103" y="18"/>
                  </a:lnTo>
                  <a:lnTo>
                    <a:pt x="115" y="14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6" y="4"/>
                  </a:lnTo>
                  <a:lnTo>
                    <a:pt x="171" y="2"/>
                  </a:lnTo>
                  <a:lnTo>
                    <a:pt x="185" y="0"/>
                  </a:lnTo>
                  <a:lnTo>
                    <a:pt x="201" y="0"/>
                  </a:lnTo>
                  <a:lnTo>
                    <a:pt x="217" y="0"/>
                  </a:lnTo>
                  <a:lnTo>
                    <a:pt x="232" y="3"/>
                  </a:lnTo>
                  <a:lnTo>
                    <a:pt x="248" y="5"/>
                  </a:lnTo>
                  <a:lnTo>
                    <a:pt x="263" y="8"/>
                  </a:lnTo>
                  <a:lnTo>
                    <a:pt x="277" y="13"/>
                  </a:lnTo>
                  <a:lnTo>
                    <a:pt x="291" y="18"/>
                  </a:lnTo>
                  <a:lnTo>
                    <a:pt x="304" y="24"/>
                  </a:lnTo>
                  <a:lnTo>
                    <a:pt x="318" y="31"/>
                  </a:lnTo>
                  <a:lnTo>
                    <a:pt x="330" y="37"/>
                  </a:lnTo>
                  <a:lnTo>
                    <a:pt x="344" y="46"/>
                  </a:lnTo>
                  <a:lnTo>
                    <a:pt x="355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1" y="108"/>
                  </a:lnTo>
                  <a:lnTo>
                    <a:pt x="431" y="133"/>
                  </a:lnTo>
                  <a:lnTo>
                    <a:pt x="450" y="160"/>
                  </a:lnTo>
                  <a:lnTo>
                    <a:pt x="470" y="188"/>
                  </a:lnTo>
                  <a:lnTo>
                    <a:pt x="486" y="217"/>
                  </a:lnTo>
                  <a:lnTo>
                    <a:pt x="503" y="247"/>
                  </a:lnTo>
                  <a:lnTo>
                    <a:pt x="519" y="278"/>
                  </a:lnTo>
                  <a:lnTo>
                    <a:pt x="550" y="341"/>
                  </a:lnTo>
                  <a:lnTo>
                    <a:pt x="608" y="467"/>
                  </a:lnTo>
                  <a:lnTo>
                    <a:pt x="621" y="496"/>
                  </a:lnTo>
                  <a:lnTo>
                    <a:pt x="636" y="524"/>
                  </a:lnTo>
                  <a:lnTo>
                    <a:pt x="650" y="549"/>
                  </a:lnTo>
                  <a:lnTo>
                    <a:pt x="665" y="575"/>
                  </a:lnTo>
                  <a:lnTo>
                    <a:pt x="680" y="598"/>
                  </a:lnTo>
                  <a:lnTo>
                    <a:pt x="695" y="618"/>
                  </a:lnTo>
                  <a:lnTo>
                    <a:pt x="711" y="637"/>
                  </a:lnTo>
                  <a:lnTo>
                    <a:pt x="727" y="651"/>
                  </a:lnTo>
                  <a:lnTo>
                    <a:pt x="736" y="658"/>
                  </a:lnTo>
                  <a:lnTo>
                    <a:pt x="745" y="665"/>
                  </a:lnTo>
                  <a:lnTo>
                    <a:pt x="754" y="669"/>
                  </a:lnTo>
                  <a:lnTo>
                    <a:pt x="763" y="674"/>
                  </a:lnTo>
                  <a:lnTo>
                    <a:pt x="772" y="677"/>
                  </a:lnTo>
                  <a:lnTo>
                    <a:pt x="782" y="679"/>
                  </a:lnTo>
                  <a:lnTo>
                    <a:pt x="792" y="682"/>
                  </a:lnTo>
                  <a:lnTo>
                    <a:pt x="802" y="6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5" name="Freeform 79">
              <a:extLst>
                <a:ext uri="{FF2B5EF4-FFF2-40B4-BE49-F238E27FC236}">
                  <a16:creationId xmlns:a16="http://schemas.microsoft.com/office/drawing/2014/main" id="{4689AF68-0B1E-4126-9F80-E9B2E4D16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4439" y="2696673"/>
              <a:ext cx="272076" cy="143138"/>
            </a:xfrm>
            <a:custGeom>
              <a:avLst/>
              <a:gdLst>
                <a:gd name="T0" fmla="*/ 44 w 201"/>
                <a:gd name="T1" fmla="*/ 150 h 150"/>
                <a:gd name="T2" fmla="*/ 44 w 201"/>
                <a:gd name="T3" fmla="*/ 150 h 150"/>
                <a:gd name="T4" fmla="*/ 62 w 201"/>
                <a:gd name="T5" fmla="*/ 122 h 150"/>
                <a:gd name="T6" fmla="*/ 80 w 201"/>
                <a:gd name="T7" fmla="*/ 96 h 150"/>
                <a:gd name="T8" fmla="*/ 98 w 201"/>
                <a:gd name="T9" fmla="*/ 74 h 150"/>
                <a:gd name="T10" fmla="*/ 107 w 201"/>
                <a:gd name="T11" fmla="*/ 64 h 150"/>
                <a:gd name="T12" fmla="*/ 117 w 201"/>
                <a:gd name="T13" fmla="*/ 55 h 150"/>
                <a:gd name="T14" fmla="*/ 126 w 201"/>
                <a:gd name="T15" fmla="*/ 46 h 150"/>
                <a:gd name="T16" fmla="*/ 136 w 201"/>
                <a:gd name="T17" fmla="*/ 39 h 150"/>
                <a:gd name="T18" fmla="*/ 146 w 201"/>
                <a:gd name="T19" fmla="*/ 32 h 150"/>
                <a:gd name="T20" fmla="*/ 156 w 201"/>
                <a:gd name="T21" fmla="*/ 27 h 150"/>
                <a:gd name="T22" fmla="*/ 167 w 201"/>
                <a:gd name="T23" fmla="*/ 23 h 150"/>
                <a:gd name="T24" fmla="*/ 177 w 201"/>
                <a:gd name="T25" fmla="*/ 20 h 150"/>
                <a:gd name="T26" fmla="*/ 189 w 201"/>
                <a:gd name="T27" fmla="*/ 18 h 150"/>
                <a:gd name="T28" fmla="*/ 200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5 w 201"/>
                <a:gd name="T35" fmla="*/ 0 h 150"/>
                <a:gd name="T36" fmla="*/ 171 w 201"/>
                <a:gd name="T37" fmla="*/ 1 h 150"/>
                <a:gd name="T38" fmla="*/ 156 w 201"/>
                <a:gd name="T39" fmla="*/ 2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3 h 150"/>
                <a:gd name="T46" fmla="*/ 102 w 201"/>
                <a:gd name="T47" fmla="*/ 18 h 150"/>
                <a:gd name="T48" fmla="*/ 90 w 201"/>
                <a:gd name="T49" fmla="*/ 23 h 150"/>
                <a:gd name="T50" fmla="*/ 77 w 201"/>
                <a:gd name="T51" fmla="*/ 30 h 150"/>
                <a:gd name="T52" fmla="*/ 65 w 201"/>
                <a:gd name="T53" fmla="*/ 37 h 150"/>
                <a:gd name="T54" fmla="*/ 43 w 201"/>
                <a:gd name="T55" fmla="*/ 53 h 150"/>
                <a:gd name="T56" fmla="*/ 20 w 201"/>
                <a:gd name="T57" fmla="*/ 71 h 150"/>
                <a:gd name="T58" fmla="*/ 0 w 201"/>
                <a:gd name="T59" fmla="*/ 90 h 150"/>
                <a:gd name="T60" fmla="*/ 0 w 201"/>
                <a:gd name="T61" fmla="*/ 90 h 150"/>
                <a:gd name="T62" fmla="*/ 22 w 201"/>
                <a:gd name="T63" fmla="*/ 119 h 150"/>
                <a:gd name="T64" fmla="*/ 34 w 201"/>
                <a:gd name="T65" fmla="*/ 134 h 150"/>
                <a:gd name="T66" fmla="*/ 44 w 201"/>
                <a:gd name="T67" fmla="*/ 150 h 150"/>
                <a:gd name="T68" fmla="*/ 44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4" y="150"/>
                  </a:moveTo>
                  <a:lnTo>
                    <a:pt x="44" y="150"/>
                  </a:lnTo>
                  <a:lnTo>
                    <a:pt x="62" y="122"/>
                  </a:lnTo>
                  <a:lnTo>
                    <a:pt x="80" y="96"/>
                  </a:lnTo>
                  <a:lnTo>
                    <a:pt x="98" y="74"/>
                  </a:lnTo>
                  <a:lnTo>
                    <a:pt x="107" y="64"/>
                  </a:lnTo>
                  <a:lnTo>
                    <a:pt x="117" y="55"/>
                  </a:lnTo>
                  <a:lnTo>
                    <a:pt x="126" y="46"/>
                  </a:lnTo>
                  <a:lnTo>
                    <a:pt x="136" y="39"/>
                  </a:lnTo>
                  <a:lnTo>
                    <a:pt x="146" y="32"/>
                  </a:lnTo>
                  <a:lnTo>
                    <a:pt x="156" y="27"/>
                  </a:lnTo>
                  <a:lnTo>
                    <a:pt x="167" y="23"/>
                  </a:lnTo>
                  <a:lnTo>
                    <a:pt x="177" y="20"/>
                  </a:lnTo>
                  <a:lnTo>
                    <a:pt x="189" y="18"/>
                  </a:lnTo>
                  <a:lnTo>
                    <a:pt x="200" y="18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71" y="1"/>
                  </a:lnTo>
                  <a:lnTo>
                    <a:pt x="156" y="2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3"/>
                  </a:lnTo>
                  <a:lnTo>
                    <a:pt x="102" y="18"/>
                  </a:lnTo>
                  <a:lnTo>
                    <a:pt x="90" y="23"/>
                  </a:lnTo>
                  <a:lnTo>
                    <a:pt x="77" y="30"/>
                  </a:lnTo>
                  <a:lnTo>
                    <a:pt x="65" y="37"/>
                  </a:lnTo>
                  <a:lnTo>
                    <a:pt x="43" y="53"/>
                  </a:lnTo>
                  <a:lnTo>
                    <a:pt x="20" y="71"/>
                  </a:lnTo>
                  <a:lnTo>
                    <a:pt x="0" y="90"/>
                  </a:lnTo>
                  <a:lnTo>
                    <a:pt x="22" y="119"/>
                  </a:lnTo>
                  <a:lnTo>
                    <a:pt x="34" y="134"/>
                  </a:lnTo>
                  <a:lnTo>
                    <a:pt x="44" y="150"/>
                  </a:lnTo>
                  <a:close/>
                </a:path>
              </a:pathLst>
            </a:custGeom>
            <a:solidFill>
              <a:srgbClr val="CD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6" name="Freeform 80">
              <a:extLst>
                <a:ext uri="{FF2B5EF4-FFF2-40B4-BE49-F238E27FC236}">
                  <a16:creationId xmlns:a16="http://schemas.microsoft.com/office/drawing/2014/main" id="{2B2F5CAD-958C-4D7D-93A3-1F973E191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33527" y="2874164"/>
              <a:ext cx="514371" cy="464722"/>
            </a:xfrm>
            <a:custGeom>
              <a:avLst/>
              <a:gdLst>
                <a:gd name="T0" fmla="*/ 380 w 380"/>
                <a:gd name="T1" fmla="*/ 104 h 487"/>
                <a:gd name="T2" fmla="*/ 380 w 380"/>
                <a:gd name="T3" fmla="*/ 104 h 487"/>
                <a:gd name="T4" fmla="*/ 356 w 380"/>
                <a:gd name="T5" fmla="*/ 50 h 487"/>
                <a:gd name="T6" fmla="*/ 332 w 380"/>
                <a:gd name="T7" fmla="*/ 0 h 487"/>
                <a:gd name="T8" fmla="*/ 332 w 380"/>
                <a:gd name="T9" fmla="*/ 0 h 487"/>
                <a:gd name="T10" fmla="*/ 309 w 380"/>
                <a:gd name="T11" fmla="*/ 38 h 487"/>
                <a:gd name="T12" fmla="*/ 288 w 380"/>
                <a:gd name="T13" fmla="*/ 77 h 487"/>
                <a:gd name="T14" fmla="*/ 267 w 380"/>
                <a:gd name="T15" fmla="*/ 116 h 487"/>
                <a:gd name="T16" fmla="*/ 247 w 380"/>
                <a:gd name="T17" fmla="*/ 157 h 487"/>
                <a:gd name="T18" fmla="*/ 210 w 380"/>
                <a:gd name="T19" fmla="*/ 235 h 487"/>
                <a:gd name="T20" fmla="*/ 191 w 380"/>
                <a:gd name="T21" fmla="*/ 273 h 487"/>
                <a:gd name="T22" fmla="*/ 172 w 380"/>
                <a:gd name="T23" fmla="*/ 309 h 487"/>
                <a:gd name="T24" fmla="*/ 153 w 380"/>
                <a:gd name="T25" fmla="*/ 343 h 487"/>
                <a:gd name="T26" fmla="*/ 134 w 380"/>
                <a:gd name="T27" fmla="*/ 373 h 487"/>
                <a:gd name="T28" fmla="*/ 125 w 380"/>
                <a:gd name="T29" fmla="*/ 388 h 487"/>
                <a:gd name="T30" fmla="*/ 115 w 380"/>
                <a:gd name="T31" fmla="*/ 401 h 487"/>
                <a:gd name="T32" fmla="*/ 105 w 380"/>
                <a:gd name="T33" fmla="*/ 412 h 487"/>
                <a:gd name="T34" fmla="*/ 93 w 380"/>
                <a:gd name="T35" fmla="*/ 423 h 487"/>
                <a:gd name="T36" fmla="*/ 83 w 380"/>
                <a:gd name="T37" fmla="*/ 435 h 487"/>
                <a:gd name="T38" fmla="*/ 72 w 380"/>
                <a:gd name="T39" fmla="*/ 444 h 487"/>
                <a:gd name="T40" fmla="*/ 61 w 380"/>
                <a:gd name="T41" fmla="*/ 450 h 487"/>
                <a:gd name="T42" fmla="*/ 49 w 380"/>
                <a:gd name="T43" fmla="*/ 457 h 487"/>
                <a:gd name="T44" fmla="*/ 37 w 380"/>
                <a:gd name="T45" fmla="*/ 463 h 487"/>
                <a:gd name="T46" fmla="*/ 26 w 380"/>
                <a:gd name="T47" fmla="*/ 466 h 487"/>
                <a:gd name="T48" fmla="*/ 12 w 380"/>
                <a:gd name="T49" fmla="*/ 468 h 487"/>
                <a:gd name="T50" fmla="*/ 0 w 380"/>
                <a:gd name="T51" fmla="*/ 469 h 487"/>
                <a:gd name="T52" fmla="*/ 0 w 380"/>
                <a:gd name="T53" fmla="*/ 487 h 487"/>
                <a:gd name="T54" fmla="*/ 0 w 380"/>
                <a:gd name="T55" fmla="*/ 487 h 487"/>
                <a:gd name="T56" fmla="*/ 17 w 380"/>
                <a:gd name="T57" fmla="*/ 486 h 487"/>
                <a:gd name="T58" fmla="*/ 35 w 380"/>
                <a:gd name="T59" fmla="*/ 485 h 487"/>
                <a:gd name="T60" fmla="*/ 51 w 380"/>
                <a:gd name="T61" fmla="*/ 483 h 487"/>
                <a:gd name="T62" fmla="*/ 67 w 380"/>
                <a:gd name="T63" fmla="*/ 478 h 487"/>
                <a:gd name="T64" fmla="*/ 83 w 380"/>
                <a:gd name="T65" fmla="*/ 474 h 487"/>
                <a:gd name="T66" fmla="*/ 98 w 380"/>
                <a:gd name="T67" fmla="*/ 468 h 487"/>
                <a:gd name="T68" fmla="*/ 112 w 380"/>
                <a:gd name="T69" fmla="*/ 461 h 487"/>
                <a:gd name="T70" fmla="*/ 127 w 380"/>
                <a:gd name="T71" fmla="*/ 454 h 487"/>
                <a:gd name="T72" fmla="*/ 142 w 380"/>
                <a:gd name="T73" fmla="*/ 445 h 487"/>
                <a:gd name="T74" fmla="*/ 155 w 380"/>
                <a:gd name="T75" fmla="*/ 436 h 487"/>
                <a:gd name="T76" fmla="*/ 167 w 380"/>
                <a:gd name="T77" fmla="*/ 426 h 487"/>
                <a:gd name="T78" fmla="*/ 181 w 380"/>
                <a:gd name="T79" fmla="*/ 414 h 487"/>
                <a:gd name="T80" fmla="*/ 193 w 380"/>
                <a:gd name="T81" fmla="*/ 403 h 487"/>
                <a:gd name="T82" fmla="*/ 206 w 380"/>
                <a:gd name="T83" fmla="*/ 391 h 487"/>
                <a:gd name="T84" fmla="*/ 228 w 380"/>
                <a:gd name="T85" fmla="*/ 365 h 487"/>
                <a:gd name="T86" fmla="*/ 251 w 380"/>
                <a:gd name="T87" fmla="*/ 336 h 487"/>
                <a:gd name="T88" fmla="*/ 271 w 380"/>
                <a:gd name="T89" fmla="*/ 306 h 487"/>
                <a:gd name="T90" fmla="*/ 291 w 380"/>
                <a:gd name="T91" fmla="*/ 274 h 487"/>
                <a:gd name="T92" fmla="*/ 310 w 380"/>
                <a:gd name="T93" fmla="*/ 241 h 487"/>
                <a:gd name="T94" fmla="*/ 329 w 380"/>
                <a:gd name="T95" fmla="*/ 207 h 487"/>
                <a:gd name="T96" fmla="*/ 346 w 380"/>
                <a:gd name="T97" fmla="*/ 172 h 487"/>
                <a:gd name="T98" fmla="*/ 380 w 380"/>
                <a:gd name="T99" fmla="*/ 104 h 487"/>
                <a:gd name="T100" fmla="*/ 380 w 380"/>
                <a:gd name="T101" fmla="*/ 104 h 4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487">
                  <a:moveTo>
                    <a:pt x="380" y="104"/>
                  </a:moveTo>
                  <a:lnTo>
                    <a:pt x="380" y="104"/>
                  </a:lnTo>
                  <a:lnTo>
                    <a:pt x="356" y="50"/>
                  </a:lnTo>
                  <a:lnTo>
                    <a:pt x="332" y="0"/>
                  </a:lnTo>
                  <a:lnTo>
                    <a:pt x="309" y="38"/>
                  </a:lnTo>
                  <a:lnTo>
                    <a:pt x="288" y="77"/>
                  </a:lnTo>
                  <a:lnTo>
                    <a:pt x="267" y="116"/>
                  </a:lnTo>
                  <a:lnTo>
                    <a:pt x="247" y="157"/>
                  </a:lnTo>
                  <a:lnTo>
                    <a:pt x="210" y="235"/>
                  </a:lnTo>
                  <a:lnTo>
                    <a:pt x="191" y="273"/>
                  </a:lnTo>
                  <a:lnTo>
                    <a:pt x="172" y="309"/>
                  </a:lnTo>
                  <a:lnTo>
                    <a:pt x="153" y="343"/>
                  </a:lnTo>
                  <a:lnTo>
                    <a:pt x="134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5" y="412"/>
                  </a:lnTo>
                  <a:lnTo>
                    <a:pt x="93" y="423"/>
                  </a:lnTo>
                  <a:lnTo>
                    <a:pt x="83" y="435"/>
                  </a:lnTo>
                  <a:lnTo>
                    <a:pt x="72" y="444"/>
                  </a:lnTo>
                  <a:lnTo>
                    <a:pt x="61" y="450"/>
                  </a:lnTo>
                  <a:lnTo>
                    <a:pt x="49" y="457"/>
                  </a:lnTo>
                  <a:lnTo>
                    <a:pt x="37" y="463"/>
                  </a:lnTo>
                  <a:lnTo>
                    <a:pt x="26" y="466"/>
                  </a:lnTo>
                  <a:lnTo>
                    <a:pt x="12" y="468"/>
                  </a:lnTo>
                  <a:lnTo>
                    <a:pt x="0" y="469"/>
                  </a:lnTo>
                  <a:lnTo>
                    <a:pt x="0" y="487"/>
                  </a:lnTo>
                  <a:lnTo>
                    <a:pt x="17" y="486"/>
                  </a:lnTo>
                  <a:lnTo>
                    <a:pt x="35" y="485"/>
                  </a:lnTo>
                  <a:lnTo>
                    <a:pt x="51" y="483"/>
                  </a:lnTo>
                  <a:lnTo>
                    <a:pt x="67" y="478"/>
                  </a:lnTo>
                  <a:lnTo>
                    <a:pt x="83" y="474"/>
                  </a:lnTo>
                  <a:lnTo>
                    <a:pt x="98" y="468"/>
                  </a:lnTo>
                  <a:lnTo>
                    <a:pt x="112" y="461"/>
                  </a:lnTo>
                  <a:lnTo>
                    <a:pt x="127" y="454"/>
                  </a:lnTo>
                  <a:lnTo>
                    <a:pt x="142" y="445"/>
                  </a:lnTo>
                  <a:lnTo>
                    <a:pt x="155" y="436"/>
                  </a:lnTo>
                  <a:lnTo>
                    <a:pt x="167" y="426"/>
                  </a:lnTo>
                  <a:lnTo>
                    <a:pt x="181" y="414"/>
                  </a:lnTo>
                  <a:lnTo>
                    <a:pt x="193" y="403"/>
                  </a:lnTo>
                  <a:lnTo>
                    <a:pt x="206" y="391"/>
                  </a:lnTo>
                  <a:lnTo>
                    <a:pt x="228" y="365"/>
                  </a:lnTo>
                  <a:lnTo>
                    <a:pt x="251" y="336"/>
                  </a:lnTo>
                  <a:lnTo>
                    <a:pt x="271" y="306"/>
                  </a:lnTo>
                  <a:lnTo>
                    <a:pt x="291" y="274"/>
                  </a:lnTo>
                  <a:lnTo>
                    <a:pt x="310" y="241"/>
                  </a:lnTo>
                  <a:lnTo>
                    <a:pt x="329" y="207"/>
                  </a:lnTo>
                  <a:lnTo>
                    <a:pt x="346" y="172"/>
                  </a:lnTo>
                  <a:lnTo>
                    <a:pt x="380" y="1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7" name="Freeform 81">
              <a:extLst>
                <a:ext uri="{FF2B5EF4-FFF2-40B4-BE49-F238E27FC236}">
                  <a16:creationId xmlns:a16="http://schemas.microsoft.com/office/drawing/2014/main" id="{9F052BE0-9892-40AE-B4DD-21CBFC626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6911" y="2721103"/>
              <a:ext cx="252723" cy="435514"/>
            </a:xfrm>
            <a:custGeom>
              <a:avLst/>
              <a:gdLst>
                <a:gd name="T0" fmla="*/ 0 w 810"/>
                <a:gd name="T1" fmla="*/ 385 h 630"/>
                <a:gd name="T2" fmla="*/ 48 w 810"/>
                <a:gd name="T3" fmla="*/ 488 h 630"/>
                <a:gd name="T4" fmla="*/ 71 w 810"/>
                <a:gd name="T5" fmla="*/ 450 h 630"/>
                <a:gd name="T6" fmla="*/ 114 w 810"/>
                <a:gd name="T7" fmla="*/ 371 h 630"/>
                <a:gd name="T8" fmla="*/ 171 w 810"/>
                <a:gd name="T9" fmla="*/ 252 h 630"/>
                <a:gd name="T10" fmla="*/ 208 w 810"/>
                <a:gd name="T11" fmla="*/ 178 h 630"/>
                <a:gd name="T12" fmla="*/ 246 w 810"/>
                <a:gd name="T13" fmla="*/ 115 h 630"/>
                <a:gd name="T14" fmla="*/ 266 w 810"/>
                <a:gd name="T15" fmla="*/ 88 h 630"/>
                <a:gd name="T16" fmla="*/ 287 w 810"/>
                <a:gd name="T17" fmla="*/ 64 h 630"/>
                <a:gd name="T18" fmla="*/ 309 w 810"/>
                <a:gd name="T19" fmla="*/ 45 h 630"/>
                <a:gd name="T20" fmla="*/ 332 w 810"/>
                <a:gd name="T21" fmla="*/ 31 h 630"/>
                <a:gd name="T22" fmla="*/ 355 w 810"/>
                <a:gd name="T23" fmla="*/ 22 h 630"/>
                <a:gd name="T24" fmla="*/ 381 w 810"/>
                <a:gd name="T25" fmla="*/ 19 h 630"/>
                <a:gd name="T26" fmla="*/ 381 w 810"/>
                <a:gd name="T27" fmla="*/ 19 h 630"/>
                <a:gd name="T28" fmla="*/ 413 w 810"/>
                <a:gd name="T29" fmla="*/ 24 h 630"/>
                <a:gd name="T30" fmla="*/ 442 w 810"/>
                <a:gd name="T31" fmla="*/ 38 h 630"/>
                <a:gd name="T32" fmla="*/ 469 w 810"/>
                <a:gd name="T33" fmla="*/ 61 h 630"/>
                <a:gd name="T34" fmla="*/ 495 w 810"/>
                <a:gd name="T35" fmla="*/ 91 h 630"/>
                <a:gd name="T36" fmla="*/ 518 w 810"/>
                <a:gd name="T37" fmla="*/ 127 h 630"/>
                <a:gd name="T38" fmla="*/ 542 w 810"/>
                <a:gd name="T39" fmla="*/ 167 h 630"/>
                <a:gd name="T40" fmla="*/ 587 w 810"/>
                <a:gd name="T41" fmla="*/ 260 h 630"/>
                <a:gd name="T42" fmla="*/ 658 w 810"/>
                <a:gd name="T43" fmla="*/ 413 h 630"/>
                <a:gd name="T44" fmla="*/ 697 w 810"/>
                <a:gd name="T45" fmla="*/ 487 h 630"/>
                <a:gd name="T46" fmla="*/ 726 w 810"/>
                <a:gd name="T47" fmla="*/ 532 h 630"/>
                <a:gd name="T48" fmla="*/ 757 w 810"/>
                <a:gd name="T49" fmla="*/ 575 h 630"/>
                <a:gd name="T50" fmla="*/ 790 w 810"/>
                <a:gd name="T51" fmla="*/ 613 h 630"/>
                <a:gd name="T52" fmla="*/ 810 w 810"/>
                <a:gd name="T53" fmla="*/ 510 h 630"/>
                <a:gd name="T54" fmla="*/ 791 w 810"/>
                <a:gd name="T55" fmla="*/ 472 h 630"/>
                <a:gd name="T56" fmla="*/ 733 w 810"/>
                <a:gd name="T57" fmla="*/ 347 h 630"/>
                <a:gd name="T58" fmla="*/ 691 w 810"/>
                <a:gd name="T59" fmla="*/ 261 h 630"/>
                <a:gd name="T60" fmla="*/ 644 w 810"/>
                <a:gd name="T61" fmla="*/ 182 h 630"/>
                <a:gd name="T62" fmla="*/ 619 w 810"/>
                <a:gd name="T63" fmla="*/ 145 h 630"/>
                <a:gd name="T64" fmla="*/ 592 w 810"/>
                <a:gd name="T65" fmla="*/ 110 h 630"/>
                <a:gd name="T66" fmla="*/ 563 w 810"/>
                <a:gd name="T67" fmla="*/ 80 h 630"/>
                <a:gd name="T68" fmla="*/ 532 w 810"/>
                <a:gd name="T69" fmla="*/ 53 h 630"/>
                <a:gd name="T70" fmla="*/ 498 w 810"/>
                <a:gd name="T71" fmla="*/ 32 h 630"/>
                <a:gd name="T72" fmla="*/ 462 w 810"/>
                <a:gd name="T73" fmla="*/ 15 h 630"/>
                <a:gd name="T74" fmla="*/ 423 w 810"/>
                <a:gd name="T75" fmla="*/ 5 h 630"/>
                <a:gd name="T76" fmla="*/ 381 w 810"/>
                <a:gd name="T77" fmla="*/ 0 h 630"/>
                <a:gd name="T78" fmla="*/ 381 w 810"/>
                <a:gd name="T79" fmla="*/ 0 h 630"/>
                <a:gd name="T80" fmla="*/ 346 w 810"/>
                <a:gd name="T81" fmla="*/ 3 h 630"/>
                <a:gd name="T82" fmla="*/ 314 w 810"/>
                <a:gd name="T83" fmla="*/ 9 h 630"/>
                <a:gd name="T84" fmla="*/ 282 w 810"/>
                <a:gd name="T85" fmla="*/ 19 h 630"/>
                <a:gd name="T86" fmla="*/ 253 w 810"/>
                <a:gd name="T87" fmla="*/ 34 h 630"/>
                <a:gd name="T88" fmla="*/ 226 w 810"/>
                <a:gd name="T89" fmla="*/ 52 h 630"/>
                <a:gd name="T90" fmla="*/ 200 w 810"/>
                <a:gd name="T91" fmla="*/ 73 h 630"/>
                <a:gd name="T92" fmla="*/ 175 w 810"/>
                <a:gd name="T93" fmla="*/ 97 h 630"/>
                <a:gd name="T94" fmla="*/ 130 w 810"/>
                <a:gd name="T95" fmla="*/ 152 h 630"/>
                <a:gd name="T96" fmla="*/ 89 w 810"/>
                <a:gd name="T97" fmla="*/ 214 h 630"/>
                <a:gd name="T98" fmla="*/ 52 w 810"/>
                <a:gd name="T99" fmla="*/ 280 h 630"/>
                <a:gd name="T100" fmla="*/ 0 w 810"/>
                <a:gd name="T101" fmla="*/ 385 h 6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connsiteX0" fmla="*/ 0 w 9988"/>
                <a:gd name="connsiteY0" fmla="*/ 6111 h 10000"/>
                <a:gd name="connsiteX1" fmla="*/ 0 w 9988"/>
                <a:gd name="connsiteY1" fmla="*/ 6111 h 10000"/>
                <a:gd name="connsiteX2" fmla="*/ 309 w 9988"/>
                <a:gd name="connsiteY2" fmla="*/ 6937 h 10000"/>
                <a:gd name="connsiteX3" fmla="*/ 593 w 9988"/>
                <a:gd name="connsiteY3" fmla="*/ 7746 h 10000"/>
                <a:gd name="connsiteX4" fmla="*/ 877 w 9988"/>
                <a:gd name="connsiteY4" fmla="*/ 7143 h 10000"/>
                <a:gd name="connsiteX5" fmla="*/ 1136 w 9988"/>
                <a:gd name="connsiteY5" fmla="*/ 6508 h 10000"/>
                <a:gd name="connsiteX6" fmla="*/ 1407 w 9988"/>
                <a:gd name="connsiteY6" fmla="*/ 5889 h 10000"/>
                <a:gd name="connsiteX7" fmla="*/ 1642 w 9988"/>
                <a:gd name="connsiteY7" fmla="*/ 5254 h 10000"/>
                <a:gd name="connsiteX8" fmla="*/ 2111 w 9988"/>
                <a:gd name="connsiteY8" fmla="*/ 4000 h 10000"/>
                <a:gd name="connsiteX9" fmla="*/ 2346 w 9988"/>
                <a:gd name="connsiteY9" fmla="*/ 3397 h 10000"/>
                <a:gd name="connsiteX10" fmla="*/ 2568 w 9988"/>
                <a:gd name="connsiteY10" fmla="*/ 2825 h 10000"/>
                <a:gd name="connsiteX11" fmla="*/ 2802 w 9988"/>
                <a:gd name="connsiteY11" fmla="*/ 2302 h 10000"/>
                <a:gd name="connsiteX12" fmla="*/ 3037 w 9988"/>
                <a:gd name="connsiteY12" fmla="*/ 1825 h 10000"/>
                <a:gd name="connsiteX13" fmla="*/ 3160 w 9988"/>
                <a:gd name="connsiteY13" fmla="*/ 1587 h 10000"/>
                <a:gd name="connsiteX14" fmla="*/ 3284 w 9988"/>
                <a:gd name="connsiteY14" fmla="*/ 1397 h 10000"/>
                <a:gd name="connsiteX15" fmla="*/ 3420 w 9988"/>
                <a:gd name="connsiteY15" fmla="*/ 1190 h 10000"/>
                <a:gd name="connsiteX16" fmla="*/ 3543 w 9988"/>
                <a:gd name="connsiteY16" fmla="*/ 1016 h 10000"/>
                <a:gd name="connsiteX17" fmla="*/ 3679 w 9988"/>
                <a:gd name="connsiteY17" fmla="*/ 857 h 10000"/>
                <a:gd name="connsiteX18" fmla="*/ 3815 w 9988"/>
                <a:gd name="connsiteY18" fmla="*/ 714 h 10000"/>
                <a:gd name="connsiteX19" fmla="*/ 3951 w 9988"/>
                <a:gd name="connsiteY19" fmla="*/ 587 h 10000"/>
                <a:gd name="connsiteX20" fmla="*/ 4099 w 9988"/>
                <a:gd name="connsiteY20" fmla="*/ 492 h 10000"/>
                <a:gd name="connsiteX21" fmla="*/ 4235 w 9988"/>
                <a:gd name="connsiteY21" fmla="*/ 397 h 10000"/>
                <a:gd name="connsiteX22" fmla="*/ 4383 w 9988"/>
                <a:gd name="connsiteY22" fmla="*/ 349 h 10000"/>
                <a:gd name="connsiteX23" fmla="*/ 4543 w 9988"/>
                <a:gd name="connsiteY23" fmla="*/ 302 h 10000"/>
                <a:gd name="connsiteX24" fmla="*/ 4704 w 9988"/>
                <a:gd name="connsiteY24" fmla="*/ 302 h 10000"/>
                <a:gd name="connsiteX25" fmla="*/ 4901 w 9988"/>
                <a:gd name="connsiteY25" fmla="*/ 317 h 10000"/>
                <a:gd name="connsiteX26" fmla="*/ 5099 w 9988"/>
                <a:gd name="connsiteY26" fmla="*/ 381 h 10000"/>
                <a:gd name="connsiteX27" fmla="*/ 5272 w 9988"/>
                <a:gd name="connsiteY27" fmla="*/ 492 h 10000"/>
                <a:gd name="connsiteX28" fmla="*/ 5457 w 9988"/>
                <a:gd name="connsiteY28" fmla="*/ 603 h 10000"/>
                <a:gd name="connsiteX29" fmla="*/ 5617 w 9988"/>
                <a:gd name="connsiteY29" fmla="*/ 762 h 10000"/>
                <a:gd name="connsiteX30" fmla="*/ 5790 w 9988"/>
                <a:gd name="connsiteY30" fmla="*/ 968 h 10000"/>
                <a:gd name="connsiteX31" fmla="*/ 5938 w 9988"/>
                <a:gd name="connsiteY31" fmla="*/ 1190 h 10000"/>
                <a:gd name="connsiteX32" fmla="*/ 6111 w 9988"/>
                <a:gd name="connsiteY32" fmla="*/ 1444 h 10000"/>
                <a:gd name="connsiteX33" fmla="*/ 6247 w 9988"/>
                <a:gd name="connsiteY33" fmla="*/ 1714 h 10000"/>
                <a:gd name="connsiteX34" fmla="*/ 6395 w 9988"/>
                <a:gd name="connsiteY34" fmla="*/ 2016 h 10000"/>
                <a:gd name="connsiteX35" fmla="*/ 6531 w 9988"/>
                <a:gd name="connsiteY35" fmla="*/ 2317 h 10000"/>
                <a:gd name="connsiteX36" fmla="*/ 6691 w 9988"/>
                <a:gd name="connsiteY36" fmla="*/ 2651 h 10000"/>
                <a:gd name="connsiteX37" fmla="*/ 6963 w 9988"/>
                <a:gd name="connsiteY37" fmla="*/ 3365 h 10000"/>
                <a:gd name="connsiteX38" fmla="*/ 7247 w 9988"/>
                <a:gd name="connsiteY38" fmla="*/ 4127 h 10000"/>
                <a:gd name="connsiteX39" fmla="*/ 7815 w 9988"/>
                <a:gd name="connsiteY39" fmla="*/ 5730 h 10000"/>
                <a:gd name="connsiteX40" fmla="*/ 8123 w 9988"/>
                <a:gd name="connsiteY40" fmla="*/ 6556 h 10000"/>
                <a:gd name="connsiteX41" fmla="*/ 8432 w 9988"/>
                <a:gd name="connsiteY41" fmla="*/ 7333 h 10000"/>
                <a:gd name="connsiteX42" fmla="*/ 8605 w 9988"/>
                <a:gd name="connsiteY42" fmla="*/ 7730 h 10000"/>
                <a:gd name="connsiteX43" fmla="*/ 8790 w 9988"/>
                <a:gd name="connsiteY43" fmla="*/ 8095 h 10000"/>
                <a:gd name="connsiteX44" fmla="*/ 8963 w 9988"/>
                <a:gd name="connsiteY44" fmla="*/ 8444 h 10000"/>
                <a:gd name="connsiteX45" fmla="*/ 9148 w 9988"/>
                <a:gd name="connsiteY45" fmla="*/ 8794 h 10000"/>
                <a:gd name="connsiteX46" fmla="*/ 9346 w 9988"/>
                <a:gd name="connsiteY46" fmla="*/ 9127 h 10000"/>
                <a:gd name="connsiteX47" fmla="*/ 9543 w 9988"/>
                <a:gd name="connsiteY47" fmla="*/ 9444 h 10000"/>
                <a:gd name="connsiteX48" fmla="*/ 9753 w 9988"/>
                <a:gd name="connsiteY48" fmla="*/ 9730 h 10000"/>
                <a:gd name="connsiteX49" fmla="*/ 9988 w 9988"/>
                <a:gd name="connsiteY49" fmla="*/ 10000 h 10000"/>
                <a:gd name="connsiteX50" fmla="*/ 9765 w 9988"/>
                <a:gd name="connsiteY50" fmla="*/ 7492 h 10000"/>
                <a:gd name="connsiteX51" fmla="*/ 9531 w 9988"/>
                <a:gd name="connsiteY51" fmla="*/ 6841 h 10000"/>
                <a:gd name="connsiteX52" fmla="*/ 9049 w 9988"/>
                <a:gd name="connsiteY52" fmla="*/ 5508 h 10000"/>
                <a:gd name="connsiteX53" fmla="*/ 8802 w 9988"/>
                <a:gd name="connsiteY53" fmla="*/ 4825 h 10000"/>
                <a:gd name="connsiteX54" fmla="*/ 8531 w 9988"/>
                <a:gd name="connsiteY54" fmla="*/ 4143 h 10000"/>
                <a:gd name="connsiteX55" fmla="*/ 8259 w 9988"/>
                <a:gd name="connsiteY55" fmla="*/ 3508 h 10000"/>
                <a:gd name="connsiteX56" fmla="*/ 7951 w 9988"/>
                <a:gd name="connsiteY56" fmla="*/ 2889 h 10000"/>
                <a:gd name="connsiteX57" fmla="*/ 7802 w 9988"/>
                <a:gd name="connsiteY57" fmla="*/ 2587 h 10000"/>
                <a:gd name="connsiteX58" fmla="*/ 7642 w 9988"/>
                <a:gd name="connsiteY58" fmla="*/ 2302 h 10000"/>
                <a:gd name="connsiteX59" fmla="*/ 7481 w 9988"/>
                <a:gd name="connsiteY59" fmla="*/ 2016 h 10000"/>
                <a:gd name="connsiteX60" fmla="*/ 7309 w 9988"/>
                <a:gd name="connsiteY60" fmla="*/ 1746 h 10000"/>
                <a:gd name="connsiteX61" fmla="*/ 7136 w 9988"/>
                <a:gd name="connsiteY61" fmla="*/ 1492 h 10000"/>
                <a:gd name="connsiteX62" fmla="*/ 6951 w 9988"/>
                <a:gd name="connsiteY62" fmla="*/ 1270 h 10000"/>
                <a:gd name="connsiteX63" fmla="*/ 6753 w 9988"/>
                <a:gd name="connsiteY63" fmla="*/ 1032 h 10000"/>
                <a:gd name="connsiteX64" fmla="*/ 6568 w 9988"/>
                <a:gd name="connsiteY64" fmla="*/ 841 h 10000"/>
                <a:gd name="connsiteX65" fmla="*/ 6358 w 9988"/>
                <a:gd name="connsiteY65" fmla="*/ 667 h 10000"/>
                <a:gd name="connsiteX66" fmla="*/ 6148 w 9988"/>
                <a:gd name="connsiteY66" fmla="*/ 508 h 10000"/>
                <a:gd name="connsiteX67" fmla="*/ 5926 w 9988"/>
                <a:gd name="connsiteY67" fmla="*/ 365 h 10000"/>
                <a:gd name="connsiteX68" fmla="*/ 5704 w 9988"/>
                <a:gd name="connsiteY68" fmla="*/ 238 h 10000"/>
                <a:gd name="connsiteX69" fmla="*/ 5469 w 9988"/>
                <a:gd name="connsiteY69" fmla="*/ 143 h 10000"/>
                <a:gd name="connsiteX70" fmla="*/ 5222 w 9988"/>
                <a:gd name="connsiteY70" fmla="*/ 79 h 10000"/>
                <a:gd name="connsiteX71" fmla="*/ 4963 w 9988"/>
                <a:gd name="connsiteY71" fmla="*/ 16 h 10000"/>
                <a:gd name="connsiteX72" fmla="*/ 4704 w 9988"/>
                <a:gd name="connsiteY72" fmla="*/ 0 h 10000"/>
                <a:gd name="connsiteX73" fmla="*/ 4481 w 9988"/>
                <a:gd name="connsiteY73" fmla="*/ 16 h 10000"/>
                <a:gd name="connsiteX74" fmla="*/ 4272 w 9988"/>
                <a:gd name="connsiteY74" fmla="*/ 48 h 10000"/>
                <a:gd name="connsiteX75" fmla="*/ 4062 w 9988"/>
                <a:gd name="connsiteY75" fmla="*/ 95 h 10000"/>
                <a:gd name="connsiteX76" fmla="*/ 3877 w 9988"/>
                <a:gd name="connsiteY76" fmla="*/ 143 h 10000"/>
                <a:gd name="connsiteX77" fmla="*/ 3679 w 9988"/>
                <a:gd name="connsiteY77" fmla="*/ 222 h 10000"/>
                <a:gd name="connsiteX78" fmla="*/ 3481 w 9988"/>
                <a:gd name="connsiteY78" fmla="*/ 302 h 10000"/>
                <a:gd name="connsiteX79" fmla="*/ 3309 w 9988"/>
                <a:gd name="connsiteY79" fmla="*/ 413 h 10000"/>
                <a:gd name="connsiteX80" fmla="*/ 3123 w 9988"/>
                <a:gd name="connsiteY80" fmla="*/ 540 h 10000"/>
                <a:gd name="connsiteX81" fmla="*/ 2963 w 9988"/>
                <a:gd name="connsiteY81" fmla="*/ 683 h 10000"/>
                <a:gd name="connsiteX82" fmla="*/ 2790 w 9988"/>
                <a:gd name="connsiteY82" fmla="*/ 825 h 10000"/>
                <a:gd name="connsiteX83" fmla="*/ 2630 w 9988"/>
                <a:gd name="connsiteY83" fmla="*/ 984 h 10000"/>
                <a:gd name="connsiteX84" fmla="*/ 2469 w 9988"/>
                <a:gd name="connsiteY84" fmla="*/ 1159 h 10000"/>
                <a:gd name="connsiteX85" fmla="*/ 2321 w 9988"/>
                <a:gd name="connsiteY85" fmla="*/ 1333 h 10000"/>
                <a:gd name="connsiteX86" fmla="*/ 2160 w 9988"/>
                <a:gd name="connsiteY86" fmla="*/ 1540 h 10000"/>
                <a:gd name="connsiteX87" fmla="*/ 1877 w 9988"/>
                <a:gd name="connsiteY87" fmla="*/ 1968 h 10000"/>
                <a:gd name="connsiteX88" fmla="*/ 1605 w 9988"/>
                <a:gd name="connsiteY88" fmla="*/ 2413 h 10000"/>
                <a:gd name="connsiteX89" fmla="*/ 1346 w 9988"/>
                <a:gd name="connsiteY89" fmla="*/ 2889 h 10000"/>
                <a:gd name="connsiteX90" fmla="*/ 1099 w 9988"/>
                <a:gd name="connsiteY90" fmla="*/ 3397 h 10000"/>
                <a:gd name="connsiteX91" fmla="*/ 864 w 9988"/>
                <a:gd name="connsiteY91" fmla="*/ 3921 h 10000"/>
                <a:gd name="connsiteX92" fmla="*/ 642 w 9988"/>
                <a:gd name="connsiteY92" fmla="*/ 4444 h 10000"/>
                <a:gd name="connsiteX93" fmla="*/ 420 w 9988"/>
                <a:gd name="connsiteY93" fmla="*/ 5000 h 10000"/>
                <a:gd name="connsiteX94" fmla="*/ 0 w 9988"/>
                <a:gd name="connsiteY94" fmla="*/ 6111 h 10000"/>
                <a:gd name="connsiteX0" fmla="*/ 0 w 9777"/>
                <a:gd name="connsiteY0" fmla="*/ 6111 h 9730"/>
                <a:gd name="connsiteX1" fmla="*/ 0 w 9777"/>
                <a:gd name="connsiteY1" fmla="*/ 6111 h 9730"/>
                <a:gd name="connsiteX2" fmla="*/ 309 w 9777"/>
                <a:gd name="connsiteY2" fmla="*/ 6937 h 9730"/>
                <a:gd name="connsiteX3" fmla="*/ 594 w 9777"/>
                <a:gd name="connsiteY3" fmla="*/ 7746 h 9730"/>
                <a:gd name="connsiteX4" fmla="*/ 878 w 9777"/>
                <a:gd name="connsiteY4" fmla="*/ 7143 h 9730"/>
                <a:gd name="connsiteX5" fmla="*/ 1137 w 9777"/>
                <a:gd name="connsiteY5" fmla="*/ 6508 h 9730"/>
                <a:gd name="connsiteX6" fmla="*/ 1409 w 9777"/>
                <a:gd name="connsiteY6" fmla="*/ 5889 h 9730"/>
                <a:gd name="connsiteX7" fmla="*/ 1644 w 9777"/>
                <a:gd name="connsiteY7" fmla="*/ 5254 h 9730"/>
                <a:gd name="connsiteX8" fmla="*/ 2114 w 9777"/>
                <a:gd name="connsiteY8" fmla="*/ 4000 h 9730"/>
                <a:gd name="connsiteX9" fmla="*/ 2349 w 9777"/>
                <a:gd name="connsiteY9" fmla="*/ 3397 h 9730"/>
                <a:gd name="connsiteX10" fmla="*/ 2571 w 9777"/>
                <a:gd name="connsiteY10" fmla="*/ 2825 h 9730"/>
                <a:gd name="connsiteX11" fmla="*/ 2805 w 9777"/>
                <a:gd name="connsiteY11" fmla="*/ 2302 h 9730"/>
                <a:gd name="connsiteX12" fmla="*/ 3041 w 9777"/>
                <a:gd name="connsiteY12" fmla="*/ 1825 h 9730"/>
                <a:gd name="connsiteX13" fmla="*/ 3164 w 9777"/>
                <a:gd name="connsiteY13" fmla="*/ 1587 h 9730"/>
                <a:gd name="connsiteX14" fmla="*/ 3288 w 9777"/>
                <a:gd name="connsiteY14" fmla="*/ 1397 h 9730"/>
                <a:gd name="connsiteX15" fmla="*/ 3424 w 9777"/>
                <a:gd name="connsiteY15" fmla="*/ 1190 h 9730"/>
                <a:gd name="connsiteX16" fmla="*/ 3547 w 9777"/>
                <a:gd name="connsiteY16" fmla="*/ 1016 h 9730"/>
                <a:gd name="connsiteX17" fmla="*/ 3683 w 9777"/>
                <a:gd name="connsiteY17" fmla="*/ 857 h 9730"/>
                <a:gd name="connsiteX18" fmla="*/ 3820 w 9777"/>
                <a:gd name="connsiteY18" fmla="*/ 714 h 9730"/>
                <a:gd name="connsiteX19" fmla="*/ 3956 w 9777"/>
                <a:gd name="connsiteY19" fmla="*/ 587 h 9730"/>
                <a:gd name="connsiteX20" fmla="*/ 4104 w 9777"/>
                <a:gd name="connsiteY20" fmla="*/ 492 h 9730"/>
                <a:gd name="connsiteX21" fmla="*/ 4240 w 9777"/>
                <a:gd name="connsiteY21" fmla="*/ 397 h 9730"/>
                <a:gd name="connsiteX22" fmla="*/ 4388 w 9777"/>
                <a:gd name="connsiteY22" fmla="*/ 349 h 9730"/>
                <a:gd name="connsiteX23" fmla="*/ 4548 w 9777"/>
                <a:gd name="connsiteY23" fmla="*/ 302 h 9730"/>
                <a:gd name="connsiteX24" fmla="*/ 4710 w 9777"/>
                <a:gd name="connsiteY24" fmla="*/ 302 h 9730"/>
                <a:gd name="connsiteX25" fmla="*/ 4907 w 9777"/>
                <a:gd name="connsiteY25" fmla="*/ 317 h 9730"/>
                <a:gd name="connsiteX26" fmla="*/ 5105 w 9777"/>
                <a:gd name="connsiteY26" fmla="*/ 381 h 9730"/>
                <a:gd name="connsiteX27" fmla="*/ 5278 w 9777"/>
                <a:gd name="connsiteY27" fmla="*/ 492 h 9730"/>
                <a:gd name="connsiteX28" fmla="*/ 5464 w 9777"/>
                <a:gd name="connsiteY28" fmla="*/ 603 h 9730"/>
                <a:gd name="connsiteX29" fmla="*/ 5624 w 9777"/>
                <a:gd name="connsiteY29" fmla="*/ 762 h 9730"/>
                <a:gd name="connsiteX30" fmla="*/ 5797 w 9777"/>
                <a:gd name="connsiteY30" fmla="*/ 968 h 9730"/>
                <a:gd name="connsiteX31" fmla="*/ 5945 w 9777"/>
                <a:gd name="connsiteY31" fmla="*/ 1190 h 9730"/>
                <a:gd name="connsiteX32" fmla="*/ 6118 w 9777"/>
                <a:gd name="connsiteY32" fmla="*/ 1444 h 9730"/>
                <a:gd name="connsiteX33" fmla="*/ 6255 w 9777"/>
                <a:gd name="connsiteY33" fmla="*/ 1714 h 9730"/>
                <a:gd name="connsiteX34" fmla="*/ 6403 w 9777"/>
                <a:gd name="connsiteY34" fmla="*/ 2016 h 9730"/>
                <a:gd name="connsiteX35" fmla="*/ 6539 w 9777"/>
                <a:gd name="connsiteY35" fmla="*/ 2317 h 9730"/>
                <a:gd name="connsiteX36" fmla="*/ 6699 w 9777"/>
                <a:gd name="connsiteY36" fmla="*/ 2651 h 9730"/>
                <a:gd name="connsiteX37" fmla="*/ 6971 w 9777"/>
                <a:gd name="connsiteY37" fmla="*/ 3365 h 9730"/>
                <a:gd name="connsiteX38" fmla="*/ 7256 w 9777"/>
                <a:gd name="connsiteY38" fmla="*/ 4127 h 9730"/>
                <a:gd name="connsiteX39" fmla="*/ 7824 w 9777"/>
                <a:gd name="connsiteY39" fmla="*/ 5730 h 9730"/>
                <a:gd name="connsiteX40" fmla="*/ 8133 w 9777"/>
                <a:gd name="connsiteY40" fmla="*/ 6556 h 9730"/>
                <a:gd name="connsiteX41" fmla="*/ 8442 w 9777"/>
                <a:gd name="connsiteY41" fmla="*/ 7333 h 9730"/>
                <a:gd name="connsiteX42" fmla="*/ 8615 w 9777"/>
                <a:gd name="connsiteY42" fmla="*/ 7730 h 9730"/>
                <a:gd name="connsiteX43" fmla="*/ 8801 w 9777"/>
                <a:gd name="connsiteY43" fmla="*/ 8095 h 9730"/>
                <a:gd name="connsiteX44" fmla="*/ 8974 w 9777"/>
                <a:gd name="connsiteY44" fmla="*/ 8444 h 9730"/>
                <a:gd name="connsiteX45" fmla="*/ 9159 w 9777"/>
                <a:gd name="connsiteY45" fmla="*/ 8794 h 9730"/>
                <a:gd name="connsiteX46" fmla="*/ 9357 w 9777"/>
                <a:gd name="connsiteY46" fmla="*/ 9127 h 9730"/>
                <a:gd name="connsiteX47" fmla="*/ 9554 w 9777"/>
                <a:gd name="connsiteY47" fmla="*/ 9444 h 9730"/>
                <a:gd name="connsiteX48" fmla="*/ 9765 w 9777"/>
                <a:gd name="connsiteY48" fmla="*/ 9730 h 9730"/>
                <a:gd name="connsiteX49" fmla="*/ 9777 w 9777"/>
                <a:gd name="connsiteY49" fmla="*/ 7492 h 9730"/>
                <a:gd name="connsiteX50" fmla="*/ 9542 w 9777"/>
                <a:gd name="connsiteY50" fmla="*/ 6841 h 9730"/>
                <a:gd name="connsiteX51" fmla="*/ 9060 w 9777"/>
                <a:gd name="connsiteY51" fmla="*/ 5508 h 9730"/>
                <a:gd name="connsiteX52" fmla="*/ 8813 w 9777"/>
                <a:gd name="connsiteY52" fmla="*/ 4825 h 9730"/>
                <a:gd name="connsiteX53" fmla="*/ 8541 w 9777"/>
                <a:gd name="connsiteY53" fmla="*/ 4143 h 9730"/>
                <a:gd name="connsiteX54" fmla="*/ 8269 w 9777"/>
                <a:gd name="connsiteY54" fmla="*/ 3508 h 9730"/>
                <a:gd name="connsiteX55" fmla="*/ 7961 w 9777"/>
                <a:gd name="connsiteY55" fmla="*/ 2889 h 9730"/>
                <a:gd name="connsiteX56" fmla="*/ 7811 w 9777"/>
                <a:gd name="connsiteY56" fmla="*/ 2587 h 9730"/>
                <a:gd name="connsiteX57" fmla="*/ 7651 w 9777"/>
                <a:gd name="connsiteY57" fmla="*/ 2302 h 9730"/>
                <a:gd name="connsiteX58" fmla="*/ 7490 w 9777"/>
                <a:gd name="connsiteY58" fmla="*/ 2016 h 9730"/>
                <a:gd name="connsiteX59" fmla="*/ 7318 w 9777"/>
                <a:gd name="connsiteY59" fmla="*/ 1746 h 9730"/>
                <a:gd name="connsiteX60" fmla="*/ 7145 w 9777"/>
                <a:gd name="connsiteY60" fmla="*/ 1492 h 9730"/>
                <a:gd name="connsiteX61" fmla="*/ 6959 w 9777"/>
                <a:gd name="connsiteY61" fmla="*/ 1270 h 9730"/>
                <a:gd name="connsiteX62" fmla="*/ 6761 w 9777"/>
                <a:gd name="connsiteY62" fmla="*/ 1032 h 9730"/>
                <a:gd name="connsiteX63" fmla="*/ 6576 w 9777"/>
                <a:gd name="connsiteY63" fmla="*/ 841 h 9730"/>
                <a:gd name="connsiteX64" fmla="*/ 6366 w 9777"/>
                <a:gd name="connsiteY64" fmla="*/ 667 h 9730"/>
                <a:gd name="connsiteX65" fmla="*/ 6155 w 9777"/>
                <a:gd name="connsiteY65" fmla="*/ 508 h 9730"/>
                <a:gd name="connsiteX66" fmla="*/ 5933 w 9777"/>
                <a:gd name="connsiteY66" fmla="*/ 365 h 9730"/>
                <a:gd name="connsiteX67" fmla="*/ 5711 w 9777"/>
                <a:gd name="connsiteY67" fmla="*/ 238 h 9730"/>
                <a:gd name="connsiteX68" fmla="*/ 5476 w 9777"/>
                <a:gd name="connsiteY68" fmla="*/ 143 h 9730"/>
                <a:gd name="connsiteX69" fmla="*/ 5228 w 9777"/>
                <a:gd name="connsiteY69" fmla="*/ 79 h 9730"/>
                <a:gd name="connsiteX70" fmla="*/ 4969 w 9777"/>
                <a:gd name="connsiteY70" fmla="*/ 16 h 9730"/>
                <a:gd name="connsiteX71" fmla="*/ 4710 w 9777"/>
                <a:gd name="connsiteY71" fmla="*/ 0 h 9730"/>
                <a:gd name="connsiteX72" fmla="*/ 4486 w 9777"/>
                <a:gd name="connsiteY72" fmla="*/ 16 h 9730"/>
                <a:gd name="connsiteX73" fmla="*/ 4277 w 9777"/>
                <a:gd name="connsiteY73" fmla="*/ 48 h 9730"/>
                <a:gd name="connsiteX74" fmla="*/ 4067 w 9777"/>
                <a:gd name="connsiteY74" fmla="*/ 95 h 9730"/>
                <a:gd name="connsiteX75" fmla="*/ 3882 w 9777"/>
                <a:gd name="connsiteY75" fmla="*/ 143 h 9730"/>
                <a:gd name="connsiteX76" fmla="*/ 3683 w 9777"/>
                <a:gd name="connsiteY76" fmla="*/ 222 h 9730"/>
                <a:gd name="connsiteX77" fmla="*/ 3485 w 9777"/>
                <a:gd name="connsiteY77" fmla="*/ 302 h 9730"/>
                <a:gd name="connsiteX78" fmla="*/ 3313 w 9777"/>
                <a:gd name="connsiteY78" fmla="*/ 413 h 9730"/>
                <a:gd name="connsiteX79" fmla="*/ 3127 w 9777"/>
                <a:gd name="connsiteY79" fmla="*/ 540 h 9730"/>
                <a:gd name="connsiteX80" fmla="*/ 2967 w 9777"/>
                <a:gd name="connsiteY80" fmla="*/ 683 h 9730"/>
                <a:gd name="connsiteX81" fmla="*/ 2793 w 9777"/>
                <a:gd name="connsiteY81" fmla="*/ 825 h 9730"/>
                <a:gd name="connsiteX82" fmla="*/ 2633 w 9777"/>
                <a:gd name="connsiteY82" fmla="*/ 984 h 9730"/>
                <a:gd name="connsiteX83" fmla="*/ 2472 w 9777"/>
                <a:gd name="connsiteY83" fmla="*/ 1159 h 9730"/>
                <a:gd name="connsiteX84" fmla="*/ 2324 w 9777"/>
                <a:gd name="connsiteY84" fmla="*/ 1333 h 9730"/>
                <a:gd name="connsiteX85" fmla="*/ 2163 w 9777"/>
                <a:gd name="connsiteY85" fmla="*/ 1540 h 9730"/>
                <a:gd name="connsiteX86" fmla="*/ 1879 w 9777"/>
                <a:gd name="connsiteY86" fmla="*/ 1968 h 9730"/>
                <a:gd name="connsiteX87" fmla="*/ 1607 w 9777"/>
                <a:gd name="connsiteY87" fmla="*/ 2413 h 9730"/>
                <a:gd name="connsiteX88" fmla="*/ 1348 w 9777"/>
                <a:gd name="connsiteY88" fmla="*/ 2889 h 9730"/>
                <a:gd name="connsiteX89" fmla="*/ 1100 w 9777"/>
                <a:gd name="connsiteY89" fmla="*/ 3397 h 9730"/>
                <a:gd name="connsiteX90" fmla="*/ 865 w 9777"/>
                <a:gd name="connsiteY90" fmla="*/ 3921 h 9730"/>
                <a:gd name="connsiteX91" fmla="*/ 643 w 9777"/>
                <a:gd name="connsiteY91" fmla="*/ 4444 h 9730"/>
                <a:gd name="connsiteX92" fmla="*/ 421 w 9777"/>
                <a:gd name="connsiteY92" fmla="*/ 5000 h 9730"/>
                <a:gd name="connsiteX93" fmla="*/ 0 w 9777"/>
                <a:gd name="connsiteY93" fmla="*/ 6111 h 9730"/>
                <a:gd name="connsiteX0" fmla="*/ 0 w 10000"/>
                <a:gd name="connsiteY0" fmla="*/ 6281 h 9706"/>
                <a:gd name="connsiteX1" fmla="*/ 0 w 10000"/>
                <a:gd name="connsiteY1" fmla="*/ 6281 h 9706"/>
                <a:gd name="connsiteX2" fmla="*/ 316 w 10000"/>
                <a:gd name="connsiteY2" fmla="*/ 7129 h 9706"/>
                <a:gd name="connsiteX3" fmla="*/ 608 w 10000"/>
                <a:gd name="connsiteY3" fmla="*/ 7961 h 9706"/>
                <a:gd name="connsiteX4" fmla="*/ 898 w 10000"/>
                <a:gd name="connsiteY4" fmla="*/ 7341 h 9706"/>
                <a:gd name="connsiteX5" fmla="*/ 1163 w 10000"/>
                <a:gd name="connsiteY5" fmla="*/ 6689 h 9706"/>
                <a:gd name="connsiteX6" fmla="*/ 1441 w 10000"/>
                <a:gd name="connsiteY6" fmla="*/ 6052 h 9706"/>
                <a:gd name="connsiteX7" fmla="*/ 1681 w 10000"/>
                <a:gd name="connsiteY7" fmla="*/ 5400 h 9706"/>
                <a:gd name="connsiteX8" fmla="*/ 2162 w 10000"/>
                <a:gd name="connsiteY8" fmla="*/ 4111 h 9706"/>
                <a:gd name="connsiteX9" fmla="*/ 2403 w 10000"/>
                <a:gd name="connsiteY9" fmla="*/ 3491 h 9706"/>
                <a:gd name="connsiteX10" fmla="*/ 2630 w 10000"/>
                <a:gd name="connsiteY10" fmla="*/ 2903 h 9706"/>
                <a:gd name="connsiteX11" fmla="*/ 2869 w 10000"/>
                <a:gd name="connsiteY11" fmla="*/ 2366 h 9706"/>
                <a:gd name="connsiteX12" fmla="*/ 3110 w 10000"/>
                <a:gd name="connsiteY12" fmla="*/ 1876 h 9706"/>
                <a:gd name="connsiteX13" fmla="*/ 3236 w 10000"/>
                <a:gd name="connsiteY13" fmla="*/ 1631 h 9706"/>
                <a:gd name="connsiteX14" fmla="*/ 3363 w 10000"/>
                <a:gd name="connsiteY14" fmla="*/ 1436 h 9706"/>
                <a:gd name="connsiteX15" fmla="*/ 3502 w 10000"/>
                <a:gd name="connsiteY15" fmla="*/ 1223 h 9706"/>
                <a:gd name="connsiteX16" fmla="*/ 3628 w 10000"/>
                <a:gd name="connsiteY16" fmla="*/ 1044 h 9706"/>
                <a:gd name="connsiteX17" fmla="*/ 3767 w 10000"/>
                <a:gd name="connsiteY17" fmla="*/ 881 h 9706"/>
                <a:gd name="connsiteX18" fmla="*/ 3907 w 10000"/>
                <a:gd name="connsiteY18" fmla="*/ 734 h 9706"/>
                <a:gd name="connsiteX19" fmla="*/ 4046 w 10000"/>
                <a:gd name="connsiteY19" fmla="*/ 603 h 9706"/>
                <a:gd name="connsiteX20" fmla="*/ 4198 w 10000"/>
                <a:gd name="connsiteY20" fmla="*/ 506 h 9706"/>
                <a:gd name="connsiteX21" fmla="*/ 4337 w 10000"/>
                <a:gd name="connsiteY21" fmla="*/ 408 h 9706"/>
                <a:gd name="connsiteX22" fmla="*/ 4488 w 10000"/>
                <a:gd name="connsiteY22" fmla="*/ 359 h 9706"/>
                <a:gd name="connsiteX23" fmla="*/ 4652 w 10000"/>
                <a:gd name="connsiteY23" fmla="*/ 310 h 9706"/>
                <a:gd name="connsiteX24" fmla="*/ 4817 w 10000"/>
                <a:gd name="connsiteY24" fmla="*/ 310 h 9706"/>
                <a:gd name="connsiteX25" fmla="*/ 5019 w 10000"/>
                <a:gd name="connsiteY25" fmla="*/ 326 h 9706"/>
                <a:gd name="connsiteX26" fmla="*/ 5221 w 10000"/>
                <a:gd name="connsiteY26" fmla="*/ 392 h 9706"/>
                <a:gd name="connsiteX27" fmla="*/ 5398 w 10000"/>
                <a:gd name="connsiteY27" fmla="*/ 506 h 9706"/>
                <a:gd name="connsiteX28" fmla="*/ 5589 w 10000"/>
                <a:gd name="connsiteY28" fmla="*/ 620 h 9706"/>
                <a:gd name="connsiteX29" fmla="*/ 5752 w 10000"/>
                <a:gd name="connsiteY29" fmla="*/ 783 h 9706"/>
                <a:gd name="connsiteX30" fmla="*/ 5929 w 10000"/>
                <a:gd name="connsiteY30" fmla="*/ 995 h 9706"/>
                <a:gd name="connsiteX31" fmla="*/ 6081 w 10000"/>
                <a:gd name="connsiteY31" fmla="*/ 1223 h 9706"/>
                <a:gd name="connsiteX32" fmla="*/ 6258 w 10000"/>
                <a:gd name="connsiteY32" fmla="*/ 1484 h 9706"/>
                <a:gd name="connsiteX33" fmla="*/ 6398 w 10000"/>
                <a:gd name="connsiteY33" fmla="*/ 1762 h 9706"/>
                <a:gd name="connsiteX34" fmla="*/ 6549 w 10000"/>
                <a:gd name="connsiteY34" fmla="*/ 2072 h 9706"/>
                <a:gd name="connsiteX35" fmla="*/ 6688 w 10000"/>
                <a:gd name="connsiteY35" fmla="*/ 2381 h 9706"/>
                <a:gd name="connsiteX36" fmla="*/ 6852 w 10000"/>
                <a:gd name="connsiteY36" fmla="*/ 2725 h 9706"/>
                <a:gd name="connsiteX37" fmla="*/ 7130 w 10000"/>
                <a:gd name="connsiteY37" fmla="*/ 3458 h 9706"/>
                <a:gd name="connsiteX38" fmla="*/ 7421 w 10000"/>
                <a:gd name="connsiteY38" fmla="*/ 4242 h 9706"/>
                <a:gd name="connsiteX39" fmla="*/ 8002 w 10000"/>
                <a:gd name="connsiteY39" fmla="*/ 5889 h 9706"/>
                <a:gd name="connsiteX40" fmla="*/ 8319 w 10000"/>
                <a:gd name="connsiteY40" fmla="*/ 6738 h 9706"/>
                <a:gd name="connsiteX41" fmla="*/ 8635 w 10000"/>
                <a:gd name="connsiteY41" fmla="*/ 7536 h 9706"/>
                <a:gd name="connsiteX42" fmla="*/ 8811 w 10000"/>
                <a:gd name="connsiteY42" fmla="*/ 7945 h 9706"/>
                <a:gd name="connsiteX43" fmla="*/ 9002 w 10000"/>
                <a:gd name="connsiteY43" fmla="*/ 8320 h 9706"/>
                <a:gd name="connsiteX44" fmla="*/ 9179 w 10000"/>
                <a:gd name="connsiteY44" fmla="*/ 8678 h 9706"/>
                <a:gd name="connsiteX45" fmla="*/ 9368 w 10000"/>
                <a:gd name="connsiteY45" fmla="*/ 9038 h 9706"/>
                <a:gd name="connsiteX46" fmla="*/ 9570 w 10000"/>
                <a:gd name="connsiteY46" fmla="*/ 9380 h 9706"/>
                <a:gd name="connsiteX47" fmla="*/ 9772 w 10000"/>
                <a:gd name="connsiteY47" fmla="*/ 9706 h 9706"/>
                <a:gd name="connsiteX48" fmla="*/ 10000 w 10000"/>
                <a:gd name="connsiteY48" fmla="*/ 7700 h 9706"/>
                <a:gd name="connsiteX49" fmla="*/ 9760 w 10000"/>
                <a:gd name="connsiteY49" fmla="*/ 7031 h 9706"/>
                <a:gd name="connsiteX50" fmla="*/ 9267 w 10000"/>
                <a:gd name="connsiteY50" fmla="*/ 5661 h 9706"/>
                <a:gd name="connsiteX51" fmla="*/ 9014 w 10000"/>
                <a:gd name="connsiteY51" fmla="*/ 4959 h 9706"/>
                <a:gd name="connsiteX52" fmla="*/ 8736 w 10000"/>
                <a:gd name="connsiteY52" fmla="*/ 4258 h 9706"/>
                <a:gd name="connsiteX53" fmla="*/ 8458 w 10000"/>
                <a:gd name="connsiteY53" fmla="*/ 3605 h 9706"/>
                <a:gd name="connsiteX54" fmla="*/ 8143 w 10000"/>
                <a:gd name="connsiteY54" fmla="*/ 2969 h 9706"/>
                <a:gd name="connsiteX55" fmla="*/ 7989 w 10000"/>
                <a:gd name="connsiteY55" fmla="*/ 2659 h 9706"/>
                <a:gd name="connsiteX56" fmla="*/ 7826 w 10000"/>
                <a:gd name="connsiteY56" fmla="*/ 2366 h 9706"/>
                <a:gd name="connsiteX57" fmla="*/ 7661 w 10000"/>
                <a:gd name="connsiteY57" fmla="*/ 2072 h 9706"/>
                <a:gd name="connsiteX58" fmla="*/ 7485 w 10000"/>
                <a:gd name="connsiteY58" fmla="*/ 1794 h 9706"/>
                <a:gd name="connsiteX59" fmla="*/ 7308 w 10000"/>
                <a:gd name="connsiteY59" fmla="*/ 1533 h 9706"/>
                <a:gd name="connsiteX60" fmla="*/ 7118 w 10000"/>
                <a:gd name="connsiteY60" fmla="*/ 1305 h 9706"/>
                <a:gd name="connsiteX61" fmla="*/ 6915 w 10000"/>
                <a:gd name="connsiteY61" fmla="*/ 1061 h 9706"/>
                <a:gd name="connsiteX62" fmla="*/ 6726 w 10000"/>
                <a:gd name="connsiteY62" fmla="*/ 864 h 9706"/>
                <a:gd name="connsiteX63" fmla="*/ 6511 w 10000"/>
                <a:gd name="connsiteY63" fmla="*/ 686 h 9706"/>
                <a:gd name="connsiteX64" fmla="*/ 6295 w 10000"/>
                <a:gd name="connsiteY64" fmla="*/ 522 h 9706"/>
                <a:gd name="connsiteX65" fmla="*/ 6068 w 10000"/>
                <a:gd name="connsiteY65" fmla="*/ 375 h 9706"/>
                <a:gd name="connsiteX66" fmla="*/ 5841 w 10000"/>
                <a:gd name="connsiteY66" fmla="*/ 245 h 9706"/>
                <a:gd name="connsiteX67" fmla="*/ 5601 w 10000"/>
                <a:gd name="connsiteY67" fmla="*/ 147 h 9706"/>
                <a:gd name="connsiteX68" fmla="*/ 5347 w 10000"/>
                <a:gd name="connsiteY68" fmla="*/ 81 h 9706"/>
                <a:gd name="connsiteX69" fmla="*/ 5082 w 10000"/>
                <a:gd name="connsiteY69" fmla="*/ 16 h 9706"/>
                <a:gd name="connsiteX70" fmla="*/ 4817 w 10000"/>
                <a:gd name="connsiteY70" fmla="*/ 0 h 9706"/>
                <a:gd name="connsiteX71" fmla="*/ 4588 w 10000"/>
                <a:gd name="connsiteY71" fmla="*/ 16 h 9706"/>
                <a:gd name="connsiteX72" fmla="*/ 4375 w 10000"/>
                <a:gd name="connsiteY72" fmla="*/ 49 h 9706"/>
                <a:gd name="connsiteX73" fmla="*/ 4160 w 10000"/>
                <a:gd name="connsiteY73" fmla="*/ 98 h 9706"/>
                <a:gd name="connsiteX74" fmla="*/ 3971 w 10000"/>
                <a:gd name="connsiteY74" fmla="*/ 147 h 9706"/>
                <a:gd name="connsiteX75" fmla="*/ 3767 w 10000"/>
                <a:gd name="connsiteY75" fmla="*/ 228 h 9706"/>
                <a:gd name="connsiteX76" fmla="*/ 3564 w 10000"/>
                <a:gd name="connsiteY76" fmla="*/ 310 h 9706"/>
                <a:gd name="connsiteX77" fmla="*/ 3389 w 10000"/>
                <a:gd name="connsiteY77" fmla="*/ 424 h 9706"/>
                <a:gd name="connsiteX78" fmla="*/ 3198 w 10000"/>
                <a:gd name="connsiteY78" fmla="*/ 555 h 9706"/>
                <a:gd name="connsiteX79" fmla="*/ 3035 w 10000"/>
                <a:gd name="connsiteY79" fmla="*/ 702 h 9706"/>
                <a:gd name="connsiteX80" fmla="*/ 2857 w 10000"/>
                <a:gd name="connsiteY80" fmla="*/ 848 h 9706"/>
                <a:gd name="connsiteX81" fmla="*/ 2693 w 10000"/>
                <a:gd name="connsiteY81" fmla="*/ 1011 h 9706"/>
                <a:gd name="connsiteX82" fmla="*/ 2528 w 10000"/>
                <a:gd name="connsiteY82" fmla="*/ 1191 h 9706"/>
                <a:gd name="connsiteX83" fmla="*/ 2377 w 10000"/>
                <a:gd name="connsiteY83" fmla="*/ 1370 h 9706"/>
                <a:gd name="connsiteX84" fmla="*/ 2212 w 10000"/>
                <a:gd name="connsiteY84" fmla="*/ 1583 h 9706"/>
                <a:gd name="connsiteX85" fmla="*/ 1922 w 10000"/>
                <a:gd name="connsiteY85" fmla="*/ 2023 h 9706"/>
                <a:gd name="connsiteX86" fmla="*/ 1644 w 10000"/>
                <a:gd name="connsiteY86" fmla="*/ 2480 h 9706"/>
                <a:gd name="connsiteX87" fmla="*/ 1379 w 10000"/>
                <a:gd name="connsiteY87" fmla="*/ 2969 h 9706"/>
                <a:gd name="connsiteX88" fmla="*/ 1125 w 10000"/>
                <a:gd name="connsiteY88" fmla="*/ 3491 h 9706"/>
                <a:gd name="connsiteX89" fmla="*/ 885 w 10000"/>
                <a:gd name="connsiteY89" fmla="*/ 4030 h 9706"/>
                <a:gd name="connsiteX90" fmla="*/ 658 w 10000"/>
                <a:gd name="connsiteY90" fmla="*/ 4567 h 9706"/>
                <a:gd name="connsiteX91" fmla="*/ 431 w 10000"/>
                <a:gd name="connsiteY91" fmla="*/ 5139 h 9706"/>
                <a:gd name="connsiteX92" fmla="*/ 0 w 10000"/>
                <a:gd name="connsiteY92" fmla="*/ 6281 h 9706"/>
                <a:gd name="connsiteX0" fmla="*/ 0 w 10000"/>
                <a:gd name="connsiteY0" fmla="*/ 6471 h 9664"/>
                <a:gd name="connsiteX1" fmla="*/ 0 w 10000"/>
                <a:gd name="connsiteY1" fmla="*/ 6471 h 9664"/>
                <a:gd name="connsiteX2" fmla="*/ 316 w 10000"/>
                <a:gd name="connsiteY2" fmla="*/ 7345 h 9664"/>
                <a:gd name="connsiteX3" fmla="*/ 608 w 10000"/>
                <a:gd name="connsiteY3" fmla="*/ 8202 h 9664"/>
                <a:gd name="connsiteX4" fmla="*/ 898 w 10000"/>
                <a:gd name="connsiteY4" fmla="*/ 7563 h 9664"/>
                <a:gd name="connsiteX5" fmla="*/ 1163 w 10000"/>
                <a:gd name="connsiteY5" fmla="*/ 6892 h 9664"/>
                <a:gd name="connsiteX6" fmla="*/ 1441 w 10000"/>
                <a:gd name="connsiteY6" fmla="*/ 6235 h 9664"/>
                <a:gd name="connsiteX7" fmla="*/ 1681 w 10000"/>
                <a:gd name="connsiteY7" fmla="*/ 5564 h 9664"/>
                <a:gd name="connsiteX8" fmla="*/ 2162 w 10000"/>
                <a:gd name="connsiteY8" fmla="*/ 4236 h 9664"/>
                <a:gd name="connsiteX9" fmla="*/ 2403 w 10000"/>
                <a:gd name="connsiteY9" fmla="*/ 3597 h 9664"/>
                <a:gd name="connsiteX10" fmla="*/ 2630 w 10000"/>
                <a:gd name="connsiteY10" fmla="*/ 2991 h 9664"/>
                <a:gd name="connsiteX11" fmla="*/ 2869 w 10000"/>
                <a:gd name="connsiteY11" fmla="*/ 2438 h 9664"/>
                <a:gd name="connsiteX12" fmla="*/ 3110 w 10000"/>
                <a:gd name="connsiteY12" fmla="*/ 1933 h 9664"/>
                <a:gd name="connsiteX13" fmla="*/ 3236 w 10000"/>
                <a:gd name="connsiteY13" fmla="*/ 1680 h 9664"/>
                <a:gd name="connsiteX14" fmla="*/ 3363 w 10000"/>
                <a:gd name="connsiteY14" fmla="*/ 1479 h 9664"/>
                <a:gd name="connsiteX15" fmla="*/ 3502 w 10000"/>
                <a:gd name="connsiteY15" fmla="*/ 1260 h 9664"/>
                <a:gd name="connsiteX16" fmla="*/ 3628 w 10000"/>
                <a:gd name="connsiteY16" fmla="*/ 1076 h 9664"/>
                <a:gd name="connsiteX17" fmla="*/ 3767 w 10000"/>
                <a:gd name="connsiteY17" fmla="*/ 908 h 9664"/>
                <a:gd name="connsiteX18" fmla="*/ 3907 w 10000"/>
                <a:gd name="connsiteY18" fmla="*/ 756 h 9664"/>
                <a:gd name="connsiteX19" fmla="*/ 4046 w 10000"/>
                <a:gd name="connsiteY19" fmla="*/ 621 h 9664"/>
                <a:gd name="connsiteX20" fmla="*/ 4198 w 10000"/>
                <a:gd name="connsiteY20" fmla="*/ 521 h 9664"/>
                <a:gd name="connsiteX21" fmla="*/ 4337 w 10000"/>
                <a:gd name="connsiteY21" fmla="*/ 420 h 9664"/>
                <a:gd name="connsiteX22" fmla="*/ 4488 w 10000"/>
                <a:gd name="connsiteY22" fmla="*/ 370 h 9664"/>
                <a:gd name="connsiteX23" fmla="*/ 4652 w 10000"/>
                <a:gd name="connsiteY23" fmla="*/ 319 h 9664"/>
                <a:gd name="connsiteX24" fmla="*/ 4817 w 10000"/>
                <a:gd name="connsiteY24" fmla="*/ 319 h 9664"/>
                <a:gd name="connsiteX25" fmla="*/ 5019 w 10000"/>
                <a:gd name="connsiteY25" fmla="*/ 336 h 9664"/>
                <a:gd name="connsiteX26" fmla="*/ 5221 w 10000"/>
                <a:gd name="connsiteY26" fmla="*/ 404 h 9664"/>
                <a:gd name="connsiteX27" fmla="*/ 5398 w 10000"/>
                <a:gd name="connsiteY27" fmla="*/ 521 h 9664"/>
                <a:gd name="connsiteX28" fmla="*/ 5589 w 10000"/>
                <a:gd name="connsiteY28" fmla="*/ 639 h 9664"/>
                <a:gd name="connsiteX29" fmla="*/ 5752 w 10000"/>
                <a:gd name="connsiteY29" fmla="*/ 807 h 9664"/>
                <a:gd name="connsiteX30" fmla="*/ 5929 w 10000"/>
                <a:gd name="connsiteY30" fmla="*/ 1025 h 9664"/>
                <a:gd name="connsiteX31" fmla="*/ 6081 w 10000"/>
                <a:gd name="connsiteY31" fmla="*/ 1260 h 9664"/>
                <a:gd name="connsiteX32" fmla="*/ 6258 w 10000"/>
                <a:gd name="connsiteY32" fmla="*/ 1529 h 9664"/>
                <a:gd name="connsiteX33" fmla="*/ 6398 w 10000"/>
                <a:gd name="connsiteY33" fmla="*/ 1815 h 9664"/>
                <a:gd name="connsiteX34" fmla="*/ 6549 w 10000"/>
                <a:gd name="connsiteY34" fmla="*/ 2135 h 9664"/>
                <a:gd name="connsiteX35" fmla="*/ 6688 w 10000"/>
                <a:gd name="connsiteY35" fmla="*/ 2453 h 9664"/>
                <a:gd name="connsiteX36" fmla="*/ 6852 w 10000"/>
                <a:gd name="connsiteY36" fmla="*/ 2808 h 9664"/>
                <a:gd name="connsiteX37" fmla="*/ 7130 w 10000"/>
                <a:gd name="connsiteY37" fmla="*/ 3563 h 9664"/>
                <a:gd name="connsiteX38" fmla="*/ 7421 w 10000"/>
                <a:gd name="connsiteY38" fmla="*/ 4370 h 9664"/>
                <a:gd name="connsiteX39" fmla="*/ 8002 w 10000"/>
                <a:gd name="connsiteY39" fmla="*/ 6067 h 9664"/>
                <a:gd name="connsiteX40" fmla="*/ 8319 w 10000"/>
                <a:gd name="connsiteY40" fmla="*/ 6942 h 9664"/>
                <a:gd name="connsiteX41" fmla="*/ 8635 w 10000"/>
                <a:gd name="connsiteY41" fmla="*/ 7764 h 9664"/>
                <a:gd name="connsiteX42" fmla="*/ 8811 w 10000"/>
                <a:gd name="connsiteY42" fmla="*/ 8186 h 9664"/>
                <a:gd name="connsiteX43" fmla="*/ 9002 w 10000"/>
                <a:gd name="connsiteY43" fmla="*/ 8572 h 9664"/>
                <a:gd name="connsiteX44" fmla="*/ 9179 w 10000"/>
                <a:gd name="connsiteY44" fmla="*/ 8941 h 9664"/>
                <a:gd name="connsiteX45" fmla="*/ 9368 w 10000"/>
                <a:gd name="connsiteY45" fmla="*/ 9312 h 9664"/>
                <a:gd name="connsiteX46" fmla="*/ 9570 w 10000"/>
                <a:gd name="connsiteY46" fmla="*/ 9664 h 9664"/>
                <a:gd name="connsiteX47" fmla="*/ 10000 w 10000"/>
                <a:gd name="connsiteY47" fmla="*/ 7933 h 9664"/>
                <a:gd name="connsiteX48" fmla="*/ 9760 w 10000"/>
                <a:gd name="connsiteY48" fmla="*/ 7244 h 9664"/>
                <a:gd name="connsiteX49" fmla="*/ 9267 w 10000"/>
                <a:gd name="connsiteY49" fmla="*/ 5832 h 9664"/>
                <a:gd name="connsiteX50" fmla="*/ 9014 w 10000"/>
                <a:gd name="connsiteY50" fmla="*/ 5109 h 9664"/>
                <a:gd name="connsiteX51" fmla="*/ 8736 w 10000"/>
                <a:gd name="connsiteY51" fmla="*/ 4387 h 9664"/>
                <a:gd name="connsiteX52" fmla="*/ 8458 w 10000"/>
                <a:gd name="connsiteY52" fmla="*/ 3714 h 9664"/>
                <a:gd name="connsiteX53" fmla="*/ 8143 w 10000"/>
                <a:gd name="connsiteY53" fmla="*/ 3059 h 9664"/>
                <a:gd name="connsiteX54" fmla="*/ 7989 w 10000"/>
                <a:gd name="connsiteY54" fmla="*/ 2740 h 9664"/>
                <a:gd name="connsiteX55" fmla="*/ 7826 w 10000"/>
                <a:gd name="connsiteY55" fmla="*/ 2438 h 9664"/>
                <a:gd name="connsiteX56" fmla="*/ 7661 w 10000"/>
                <a:gd name="connsiteY56" fmla="*/ 2135 h 9664"/>
                <a:gd name="connsiteX57" fmla="*/ 7485 w 10000"/>
                <a:gd name="connsiteY57" fmla="*/ 1848 h 9664"/>
                <a:gd name="connsiteX58" fmla="*/ 7308 w 10000"/>
                <a:gd name="connsiteY58" fmla="*/ 1579 h 9664"/>
                <a:gd name="connsiteX59" fmla="*/ 7118 w 10000"/>
                <a:gd name="connsiteY59" fmla="*/ 1345 h 9664"/>
                <a:gd name="connsiteX60" fmla="*/ 6915 w 10000"/>
                <a:gd name="connsiteY60" fmla="*/ 1093 h 9664"/>
                <a:gd name="connsiteX61" fmla="*/ 6726 w 10000"/>
                <a:gd name="connsiteY61" fmla="*/ 890 h 9664"/>
                <a:gd name="connsiteX62" fmla="*/ 6511 w 10000"/>
                <a:gd name="connsiteY62" fmla="*/ 707 h 9664"/>
                <a:gd name="connsiteX63" fmla="*/ 6295 w 10000"/>
                <a:gd name="connsiteY63" fmla="*/ 538 h 9664"/>
                <a:gd name="connsiteX64" fmla="*/ 6068 w 10000"/>
                <a:gd name="connsiteY64" fmla="*/ 386 h 9664"/>
                <a:gd name="connsiteX65" fmla="*/ 5841 w 10000"/>
                <a:gd name="connsiteY65" fmla="*/ 252 h 9664"/>
                <a:gd name="connsiteX66" fmla="*/ 5601 w 10000"/>
                <a:gd name="connsiteY66" fmla="*/ 151 h 9664"/>
                <a:gd name="connsiteX67" fmla="*/ 5347 w 10000"/>
                <a:gd name="connsiteY67" fmla="*/ 83 h 9664"/>
                <a:gd name="connsiteX68" fmla="*/ 5082 w 10000"/>
                <a:gd name="connsiteY68" fmla="*/ 16 h 9664"/>
                <a:gd name="connsiteX69" fmla="*/ 4817 w 10000"/>
                <a:gd name="connsiteY69" fmla="*/ 0 h 9664"/>
                <a:gd name="connsiteX70" fmla="*/ 4588 w 10000"/>
                <a:gd name="connsiteY70" fmla="*/ 16 h 9664"/>
                <a:gd name="connsiteX71" fmla="*/ 4375 w 10000"/>
                <a:gd name="connsiteY71" fmla="*/ 50 h 9664"/>
                <a:gd name="connsiteX72" fmla="*/ 4160 w 10000"/>
                <a:gd name="connsiteY72" fmla="*/ 101 h 9664"/>
                <a:gd name="connsiteX73" fmla="*/ 3971 w 10000"/>
                <a:gd name="connsiteY73" fmla="*/ 151 h 9664"/>
                <a:gd name="connsiteX74" fmla="*/ 3767 w 10000"/>
                <a:gd name="connsiteY74" fmla="*/ 235 h 9664"/>
                <a:gd name="connsiteX75" fmla="*/ 3564 w 10000"/>
                <a:gd name="connsiteY75" fmla="*/ 319 h 9664"/>
                <a:gd name="connsiteX76" fmla="*/ 3389 w 10000"/>
                <a:gd name="connsiteY76" fmla="*/ 437 h 9664"/>
                <a:gd name="connsiteX77" fmla="*/ 3198 w 10000"/>
                <a:gd name="connsiteY77" fmla="*/ 572 h 9664"/>
                <a:gd name="connsiteX78" fmla="*/ 3035 w 10000"/>
                <a:gd name="connsiteY78" fmla="*/ 723 h 9664"/>
                <a:gd name="connsiteX79" fmla="*/ 2857 w 10000"/>
                <a:gd name="connsiteY79" fmla="*/ 874 h 9664"/>
                <a:gd name="connsiteX80" fmla="*/ 2693 w 10000"/>
                <a:gd name="connsiteY80" fmla="*/ 1042 h 9664"/>
                <a:gd name="connsiteX81" fmla="*/ 2528 w 10000"/>
                <a:gd name="connsiteY81" fmla="*/ 1227 h 9664"/>
                <a:gd name="connsiteX82" fmla="*/ 2377 w 10000"/>
                <a:gd name="connsiteY82" fmla="*/ 1411 h 9664"/>
                <a:gd name="connsiteX83" fmla="*/ 2212 w 10000"/>
                <a:gd name="connsiteY83" fmla="*/ 1631 h 9664"/>
                <a:gd name="connsiteX84" fmla="*/ 1922 w 10000"/>
                <a:gd name="connsiteY84" fmla="*/ 2084 h 9664"/>
                <a:gd name="connsiteX85" fmla="*/ 1644 w 10000"/>
                <a:gd name="connsiteY85" fmla="*/ 2555 h 9664"/>
                <a:gd name="connsiteX86" fmla="*/ 1379 w 10000"/>
                <a:gd name="connsiteY86" fmla="*/ 3059 h 9664"/>
                <a:gd name="connsiteX87" fmla="*/ 1125 w 10000"/>
                <a:gd name="connsiteY87" fmla="*/ 3597 h 9664"/>
                <a:gd name="connsiteX88" fmla="*/ 885 w 10000"/>
                <a:gd name="connsiteY88" fmla="*/ 4152 h 9664"/>
                <a:gd name="connsiteX89" fmla="*/ 658 w 10000"/>
                <a:gd name="connsiteY89" fmla="*/ 4705 h 9664"/>
                <a:gd name="connsiteX90" fmla="*/ 431 w 10000"/>
                <a:gd name="connsiteY90" fmla="*/ 5295 h 9664"/>
                <a:gd name="connsiteX91" fmla="*/ 0 w 10000"/>
                <a:gd name="connsiteY91" fmla="*/ 6471 h 9664"/>
                <a:gd name="connsiteX0" fmla="*/ 0 w 10000"/>
                <a:gd name="connsiteY0" fmla="*/ 6696 h 9636"/>
                <a:gd name="connsiteX1" fmla="*/ 0 w 10000"/>
                <a:gd name="connsiteY1" fmla="*/ 6696 h 9636"/>
                <a:gd name="connsiteX2" fmla="*/ 316 w 10000"/>
                <a:gd name="connsiteY2" fmla="*/ 7600 h 9636"/>
                <a:gd name="connsiteX3" fmla="*/ 608 w 10000"/>
                <a:gd name="connsiteY3" fmla="*/ 8487 h 9636"/>
                <a:gd name="connsiteX4" fmla="*/ 898 w 10000"/>
                <a:gd name="connsiteY4" fmla="*/ 7826 h 9636"/>
                <a:gd name="connsiteX5" fmla="*/ 1163 w 10000"/>
                <a:gd name="connsiteY5" fmla="*/ 7132 h 9636"/>
                <a:gd name="connsiteX6" fmla="*/ 1441 w 10000"/>
                <a:gd name="connsiteY6" fmla="*/ 6452 h 9636"/>
                <a:gd name="connsiteX7" fmla="*/ 1681 w 10000"/>
                <a:gd name="connsiteY7" fmla="*/ 5757 h 9636"/>
                <a:gd name="connsiteX8" fmla="*/ 2162 w 10000"/>
                <a:gd name="connsiteY8" fmla="*/ 4383 h 9636"/>
                <a:gd name="connsiteX9" fmla="*/ 2403 w 10000"/>
                <a:gd name="connsiteY9" fmla="*/ 3722 h 9636"/>
                <a:gd name="connsiteX10" fmla="*/ 2630 w 10000"/>
                <a:gd name="connsiteY10" fmla="*/ 3095 h 9636"/>
                <a:gd name="connsiteX11" fmla="*/ 2869 w 10000"/>
                <a:gd name="connsiteY11" fmla="*/ 2523 h 9636"/>
                <a:gd name="connsiteX12" fmla="*/ 3110 w 10000"/>
                <a:gd name="connsiteY12" fmla="*/ 2000 h 9636"/>
                <a:gd name="connsiteX13" fmla="*/ 3236 w 10000"/>
                <a:gd name="connsiteY13" fmla="*/ 1738 h 9636"/>
                <a:gd name="connsiteX14" fmla="*/ 3363 w 10000"/>
                <a:gd name="connsiteY14" fmla="*/ 1530 h 9636"/>
                <a:gd name="connsiteX15" fmla="*/ 3502 w 10000"/>
                <a:gd name="connsiteY15" fmla="*/ 1304 h 9636"/>
                <a:gd name="connsiteX16" fmla="*/ 3628 w 10000"/>
                <a:gd name="connsiteY16" fmla="*/ 1113 h 9636"/>
                <a:gd name="connsiteX17" fmla="*/ 3767 w 10000"/>
                <a:gd name="connsiteY17" fmla="*/ 940 h 9636"/>
                <a:gd name="connsiteX18" fmla="*/ 3907 w 10000"/>
                <a:gd name="connsiteY18" fmla="*/ 782 h 9636"/>
                <a:gd name="connsiteX19" fmla="*/ 4046 w 10000"/>
                <a:gd name="connsiteY19" fmla="*/ 643 h 9636"/>
                <a:gd name="connsiteX20" fmla="*/ 4198 w 10000"/>
                <a:gd name="connsiteY20" fmla="*/ 539 h 9636"/>
                <a:gd name="connsiteX21" fmla="*/ 4337 w 10000"/>
                <a:gd name="connsiteY21" fmla="*/ 435 h 9636"/>
                <a:gd name="connsiteX22" fmla="*/ 4488 w 10000"/>
                <a:gd name="connsiteY22" fmla="*/ 383 h 9636"/>
                <a:gd name="connsiteX23" fmla="*/ 4652 w 10000"/>
                <a:gd name="connsiteY23" fmla="*/ 330 h 9636"/>
                <a:gd name="connsiteX24" fmla="*/ 4817 w 10000"/>
                <a:gd name="connsiteY24" fmla="*/ 330 h 9636"/>
                <a:gd name="connsiteX25" fmla="*/ 5019 w 10000"/>
                <a:gd name="connsiteY25" fmla="*/ 348 h 9636"/>
                <a:gd name="connsiteX26" fmla="*/ 5221 w 10000"/>
                <a:gd name="connsiteY26" fmla="*/ 418 h 9636"/>
                <a:gd name="connsiteX27" fmla="*/ 5398 w 10000"/>
                <a:gd name="connsiteY27" fmla="*/ 539 h 9636"/>
                <a:gd name="connsiteX28" fmla="*/ 5589 w 10000"/>
                <a:gd name="connsiteY28" fmla="*/ 661 h 9636"/>
                <a:gd name="connsiteX29" fmla="*/ 5752 w 10000"/>
                <a:gd name="connsiteY29" fmla="*/ 835 h 9636"/>
                <a:gd name="connsiteX30" fmla="*/ 5929 w 10000"/>
                <a:gd name="connsiteY30" fmla="*/ 1061 h 9636"/>
                <a:gd name="connsiteX31" fmla="*/ 6081 w 10000"/>
                <a:gd name="connsiteY31" fmla="*/ 1304 h 9636"/>
                <a:gd name="connsiteX32" fmla="*/ 6258 w 10000"/>
                <a:gd name="connsiteY32" fmla="*/ 1582 h 9636"/>
                <a:gd name="connsiteX33" fmla="*/ 6398 w 10000"/>
                <a:gd name="connsiteY33" fmla="*/ 1878 h 9636"/>
                <a:gd name="connsiteX34" fmla="*/ 6549 w 10000"/>
                <a:gd name="connsiteY34" fmla="*/ 2209 h 9636"/>
                <a:gd name="connsiteX35" fmla="*/ 6688 w 10000"/>
                <a:gd name="connsiteY35" fmla="*/ 2538 h 9636"/>
                <a:gd name="connsiteX36" fmla="*/ 6852 w 10000"/>
                <a:gd name="connsiteY36" fmla="*/ 2906 h 9636"/>
                <a:gd name="connsiteX37" fmla="*/ 7130 w 10000"/>
                <a:gd name="connsiteY37" fmla="*/ 3687 h 9636"/>
                <a:gd name="connsiteX38" fmla="*/ 7421 w 10000"/>
                <a:gd name="connsiteY38" fmla="*/ 4522 h 9636"/>
                <a:gd name="connsiteX39" fmla="*/ 8002 w 10000"/>
                <a:gd name="connsiteY39" fmla="*/ 6278 h 9636"/>
                <a:gd name="connsiteX40" fmla="*/ 8319 w 10000"/>
                <a:gd name="connsiteY40" fmla="*/ 7183 h 9636"/>
                <a:gd name="connsiteX41" fmla="*/ 8635 w 10000"/>
                <a:gd name="connsiteY41" fmla="*/ 8034 h 9636"/>
                <a:gd name="connsiteX42" fmla="*/ 8811 w 10000"/>
                <a:gd name="connsiteY42" fmla="*/ 8471 h 9636"/>
                <a:gd name="connsiteX43" fmla="*/ 9002 w 10000"/>
                <a:gd name="connsiteY43" fmla="*/ 8870 h 9636"/>
                <a:gd name="connsiteX44" fmla="*/ 9179 w 10000"/>
                <a:gd name="connsiteY44" fmla="*/ 9252 h 9636"/>
                <a:gd name="connsiteX45" fmla="*/ 9368 w 10000"/>
                <a:gd name="connsiteY45" fmla="*/ 9636 h 9636"/>
                <a:gd name="connsiteX46" fmla="*/ 10000 w 10000"/>
                <a:gd name="connsiteY46" fmla="*/ 8209 h 9636"/>
                <a:gd name="connsiteX47" fmla="*/ 9760 w 10000"/>
                <a:gd name="connsiteY47" fmla="*/ 7496 h 9636"/>
                <a:gd name="connsiteX48" fmla="*/ 9267 w 10000"/>
                <a:gd name="connsiteY48" fmla="*/ 6035 h 9636"/>
                <a:gd name="connsiteX49" fmla="*/ 9014 w 10000"/>
                <a:gd name="connsiteY49" fmla="*/ 5287 h 9636"/>
                <a:gd name="connsiteX50" fmla="*/ 8736 w 10000"/>
                <a:gd name="connsiteY50" fmla="*/ 4540 h 9636"/>
                <a:gd name="connsiteX51" fmla="*/ 8458 w 10000"/>
                <a:gd name="connsiteY51" fmla="*/ 3843 h 9636"/>
                <a:gd name="connsiteX52" fmla="*/ 8143 w 10000"/>
                <a:gd name="connsiteY52" fmla="*/ 3165 h 9636"/>
                <a:gd name="connsiteX53" fmla="*/ 7989 w 10000"/>
                <a:gd name="connsiteY53" fmla="*/ 2835 h 9636"/>
                <a:gd name="connsiteX54" fmla="*/ 7826 w 10000"/>
                <a:gd name="connsiteY54" fmla="*/ 2523 h 9636"/>
                <a:gd name="connsiteX55" fmla="*/ 7661 w 10000"/>
                <a:gd name="connsiteY55" fmla="*/ 2209 h 9636"/>
                <a:gd name="connsiteX56" fmla="*/ 7485 w 10000"/>
                <a:gd name="connsiteY56" fmla="*/ 1912 h 9636"/>
                <a:gd name="connsiteX57" fmla="*/ 7308 w 10000"/>
                <a:gd name="connsiteY57" fmla="*/ 1634 h 9636"/>
                <a:gd name="connsiteX58" fmla="*/ 7118 w 10000"/>
                <a:gd name="connsiteY58" fmla="*/ 1392 h 9636"/>
                <a:gd name="connsiteX59" fmla="*/ 6915 w 10000"/>
                <a:gd name="connsiteY59" fmla="*/ 1131 h 9636"/>
                <a:gd name="connsiteX60" fmla="*/ 6726 w 10000"/>
                <a:gd name="connsiteY60" fmla="*/ 921 h 9636"/>
                <a:gd name="connsiteX61" fmla="*/ 6511 w 10000"/>
                <a:gd name="connsiteY61" fmla="*/ 732 h 9636"/>
                <a:gd name="connsiteX62" fmla="*/ 6295 w 10000"/>
                <a:gd name="connsiteY62" fmla="*/ 557 h 9636"/>
                <a:gd name="connsiteX63" fmla="*/ 6068 w 10000"/>
                <a:gd name="connsiteY63" fmla="*/ 399 h 9636"/>
                <a:gd name="connsiteX64" fmla="*/ 5841 w 10000"/>
                <a:gd name="connsiteY64" fmla="*/ 261 h 9636"/>
                <a:gd name="connsiteX65" fmla="*/ 5601 w 10000"/>
                <a:gd name="connsiteY65" fmla="*/ 156 h 9636"/>
                <a:gd name="connsiteX66" fmla="*/ 5347 w 10000"/>
                <a:gd name="connsiteY66" fmla="*/ 86 h 9636"/>
                <a:gd name="connsiteX67" fmla="*/ 5082 w 10000"/>
                <a:gd name="connsiteY67" fmla="*/ 17 h 9636"/>
                <a:gd name="connsiteX68" fmla="*/ 4817 w 10000"/>
                <a:gd name="connsiteY68" fmla="*/ 0 h 9636"/>
                <a:gd name="connsiteX69" fmla="*/ 4588 w 10000"/>
                <a:gd name="connsiteY69" fmla="*/ 17 h 9636"/>
                <a:gd name="connsiteX70" fmla="*/ 4375 w 10000"/>
                <a:gd name="connsiteY70" fmla="*/ 52 h 9636"/>
                <a:gd name="connsiteX71" fmla="*/ 4160 w 10000"/>
                <a:gd name="connsiteY71" fmla="*/ 105 h 9636"/>
                <a:gd name="connsiteX72" fmla="*/ 3971 w 10000"/>
                <a:gd name="connsiteY72" fmla="*/ 156 h 9636"/>
                <a:gd name="connsiteX73" fmla="*/ 3767 w 10000"/>
                <a:gd name="connsiteY73" fmla="*/ 243 h 9636"/>
                <a:gd name="connsiteX74" fmla="*/ 3564 w 10000"/>
                <a:gd name="connsiteY74" fmla="*/ 330 h 9636"/>
                <a:gd name="connsiteX75" fmla="*/ 3389 w 10000"/>
                <a:gd name="connsiteY75" fmla="*/ 452 h 9636"/>
                <a:gd name="connsiteX76" fmla="*/ 3198 w 10000"/>
                <a:gd name="connsiteY76" fmla="*/ 592 h 9636"/>
                <a:gd name="connsiteX77" fmla="*/ 3035 w 10000"/>
                <a:gd name="connsiteY77" fmla="*/ 748 h 9636"/>
                <a:gd name="connsiteX78" fmla="*/ 2857 w 10000"/>
                <a:gd name="connsiteY78" fmla="*/ 904 h 9636"/>
                <a:gd name="connsiteX79" fmla="*/ 2693 w 10000"/>
                <a:gd name="connsiteY79" fmla="*/ 1078 h 9636"/>
                <a:gd name="connsiteX80" fmla="*/ 2528 w 10000"/>
                <a:gd name="connsiteY80" fmla="*/ 1270 h 9636"/>
                <a:gd name="connsiteX81" fmla="*/ 2377 w 10000"/>
                <a:gd name="connsiteY81" fmla="*/ 1460 h 9636"/>
                <a:gd name="connsiteX82" fmla="*/ 2212 w 10000"/>
                <a:gd name="connsiteY82" fmla="*/ 1688 h 9636"/>
                <a:gd name="connsiteX83" fmla="*/ 1922 w 10000"/>
                <a:gd name="connsiteY83" fmla="*/ 2156 h 9636"/>
                <a:gd name="connsiteX84" fmla="*/ 1644 w 10000"/>
                <a:gd name="connsiteY84" fmla="*/ 2644 h 9636"/>
                <a:gd name="connsiteX85" fmla="*/ 1379 w 10000"/>
                <a:gd name="connsiteY85" fmla="*/ 3165 h 9636"/>
                <a:gd name="connsiteX86" fmla="*/ 1125 w 10000"/>
                <a:gd name="connsiteY86" fmla="*/ 3722 h 9636"/>
                <a:gd name="connsiteX87" fmla="*/ 885 w 10000"/>
                <a:gd name="connsiteY87" fmla="*/ 4296 h 9636"/>
                <a:gd name="connsiteX88" fmla="*/ 658 w 10000"/>
                <a:gd name="connsiteY88" fmla="*/ 4869 h 9636"/>
                <a:gd name="connsiteX89" fmla="*/ 431 w 10000"/>
                <a:gd name="connsiteY89" fmla="*/ 5479 h 9636"/>
                <a:gd name="connsiteX90" fmla="*/ 0 w 10000"/>
                <a:gd name="connsiteY90" fmla="*/ 6696 h 9636"/>
                <a:gd name="connsiteX0" fmla="*/ 0 w 10000"/>
                <a:gd name="connsiteY0" fmla="*/ 6949 h 9601"/>
                <a:gd name="connsiteX1" fmla="*/ 0 w 10000"/>
                <a:gd name="connsiteY1" fmla="*/ 6949 h 9601"/>
                <a:gd name="connsiteX2" fmla="*/ 316 w 10000"/>
                <a:gd name="connsiteY2" fmla="*/ 7887 h 9601"/>
                <a:gd name="connsiteX3" fmla="*/ 608 w 10000"/>
                <a:gd name="connsiteY3" fmla="*/ 8808 h 9601"/>
                <a:gd name="connsiteX4" fmla="*/ 898 w 10000"/>
                <a:gd name="connsiteY4" fmla="*/ 8122 h 9601"/>
                <a:gd name="connsiteX5" fmla="*/ 1163 w 10000"/>
                <a:gd name="connsiteY5" fmla="*/ 7401 h 9601"/>
                <a:gd name="connsiteX6" fmla="*/ 1441 w 10000"/>
                <a:gd name="connsiteY6" fmla="*/ 6696 h 9601"/>
                <a:gd name="connsiteX7" fmla="*/ 1681 w 10000"/>
                <a:gd name="connsiteY7" fmla="*/ 5974 h 9601"/>
                <a:gd name="connsiteX8" fmla="*/ 2162 w 10000"/>
                <a:gd name="connsiteY8" fmla="*/ 4549 h 9601"/>
                <a:gd name="connsiteX9" fmla="*/ 2403 w 10000"/>
                <a:gd name="connsiteY9" fmla="*/ 3863 h 9601"/>
                <a:gd name="connsiteX10" fmla="*/ 2630 w 10000"/>
                <a:gd name="connsiteY10" fmla="*/ 3212 h 9601"/>
                <a:gd name="connsiteX11" fmla="*/ 2869 w 10000"/>
                <a:gd name="connsiteY11" fmla="*/ 2618 h 9601"/>
                <a:gd name="connsiteX12" fmla="*/ 3110 w 10000"/>
                <a:gd name="connsiteY12" fmla="*/ 2076 h 9601"/>
                <a:gd name="connsiteX13" fmla="*/ 3236 w 10000"/>
                <a:gd name="connsiteY13" fmla="*/ 1804 h 9601"/>
                <a:gd name="connsiteX14" fmla="*/ 3363 w 10000"/>
                <a:gd name="connsiteY14" fmla="*/ 1588 h 9601"/>
                <a:gd name="connsiteX15" fmla="*/ 3502 w 10000"/>
                <a:gd name="connsiteY15" fmla="*/ 1353 h 9601"/>
                <a:gd name="connsiteX16" fmla="*/ 3628 w 10000"/>
                <a:gd name="connsiteY16" fmla="*/ 1155 h 9601"/>
                <a:gd name="connsiteX17" fmla="*/ 3767 w 10000"/>
                <a:gd name="connsiteY17" fmla="*/ 976 h 9601"/>
                <a:gd name="connsiteX18" fmla="*/ 3907 w 10000"/>
                <a:gd name="connsiteY18" fmla="*/ 812 h 9601"/>
                <a:gd name="connsiteX19" fmla="*/ 4046 w 10000"/>
                <a:gd name="connsiteY19" fmla="*/ 667 h 9601"/>
                <a:gd name="connsiteX20" fmla="*/ 4198 w 10000"/>
                <a:gd name="connsiteY20" fmla="*/ 559 h 9601"/>
                <a:gd name="connsiteX21" fmla="*/ 4337 w 10000"/>
                <a:gd name="connsiteY21" fmla="*/ 451 h 9601"/>
                <a:gd name="connsiteX22" fmla="*/ 4488 w 10000"/>
                <a:gd name="connsiteY22" fmla="*/ 397 h 9601"/>
                <a:gd name="connsiteX23" fmla="*/ 4652 w 10000"/>
                <a:gd name="connsiteY23" fmla="*/ 342 h 9601"/>
                <a:gd name="connsiteX24" fmla="*/ 4817 w 10000"/>
                <a:gd name="connsiteY24" fmla="*/ 342 h 9601"/>
                <a:gd name="connsiteX25" fmla="*/ 5019 w 10000"/>
                <a:gd name="connsiteY25" fmla="*/ 361 h 9601"/>
                <a:gd name="connsiteX26" fmla="*/ 5221 w 10000"/>
                <a:gd name="connsiteY26" fmla="*/ 434 h 9601"/>
                <a:gd name="connsiteX27" fmla="*/ 5398 w 10000"/>
                <a:gd name="connsiteY27" fmla="*/ 559 h 9601"/>
                <a:gd name="connsiteX28" fmla="*/ 5589 w 10000"/>
                <a:gd name="connsiteY28" fmla="*/ 686 h 9601"/>
                <a:gd name="connsiteX29" fmla="*/ 5752 w 10000"/>
                <a:gd name="connsiteY29" fmla="*/ 867 h 9601"/>
                <a:gd name="connsiteX30" fmla="*/ 5929 w 10000"/>
                <a:gd name="connsiteY30" fmla="*/ 1101 h 9601"/>
                <a:gd name="connsiteX31" fmla="*/ 6081 w 10000"/>
                <a:gd name="connsiteY31" fmla="*/ 1353 h 9601"/>
                <a:gd name="connsiteX32" fmla="*/ 6258 w 10000"/>
                <a:gd name="connsiteY32" fmla="*/ 1642 h 9601"/>
                <a:gd name="connsiteX33" fmla="*/ 6398 w 10000"/>
                <a:gd name="connsiteY33" fmla="*/ 1949 h 9601"/>
                <a:gd name="connsiteX34" fmla="*/ 6549 w 10000"/>
                <a:gd name="connsiteY34" fmla="*/ 2292 h 9601"/>
                <a:gd name="connsiteX35" fmla="*/ 6688 w 10000"/>
                <a:gd name="connsiteY35" fmla="*/ 2634 h 9601"/>
                <a:gd name="connsiteX36" fmla="*/ 6852 w 10000"/>
                <a:gd name="connsiteY36" fmla="*/ 3016 h 9601"/>
                <a:gd name="connsiteX37" fmla="*/ 7130 w 10000"/>
                <a:gd name="connsiteY37" fmla="*/ 3826 h 9601"/>
                <a:gd name="connsiteX38" fmla="*/ 7421 w 10000"/>
                <a:gd name="connsiteY38" fmla="*/ 4693 h 9601"/>
                <a:gd name="connsiteX39" fmla="*/ 8002 w 10000"/>
                <a:gd name="connsiteY39" fmla="*/ 6515 h 9601"/>
                <a:gd name="connsiteX40" fmla="*/ 8319 w 10000"/>
                <a:gd name="connsiteY40" fmla="*/ 7454 h 9601"/>
                <a:gd name="connsiteX41" fmla="*/ 8635 w 10000"/>
                <a:gd name="connsiteY41" fmla="*/ 8337 h 9601"/>
                <a:gd name="connsiteX42" fmla="*/ 8811 w 10000"/>
                <a:gd name="connsiteY42" fmla="*/ 8791 h 9601"/>
                <a:gd name="connsiteX43" fmla="*/ 9002 w 10000"/>
                <a:gd name="connsiteY43" fmla="*/ 9205 h 9601"/>
                <a:gd name="connsiteX44" fmla="*/ 9179 w 10000"/>
                <a:gd name="connsiteY44" fmla="*/ 9601 h 9601"/>
                <a:gd name="connsiteX45" fmla="*/ 10000 w 10000"/>
                <a:gd name="connsiteY45" fmla="*/ 8519 h 9601"/>
                <a:gd name="connsiteX46" fmla="*/ 9760 w 10000"/>
                <a:gd name="connsiteY46" fmla="*/ 7779 h 9601"/>
                <a:gd name="connsiteX47" fmla="*/ 9267 w 10000"/>
                <a:gd name="connsiteY47" fmla="*/ 6263 h 9601"/>
                <a:gd name="connsiteX48" fmla="*/ 9014 w 10000"/>
                <a:gd name="connsiteY48" fmla="*/ 5487 h 9601"/>
                <a:gd name="connsiteX49" fmla="*/ 8736 w 10000"/>
                <a:gd name="connsiteY49" fmla="*/ 4711 h 9601"/>
                <a:gd name="connsiteX50" fmla="*/ 8458 w 10000"/>
                <a:gd name="connsiteY50" fmla="*/ 3988 h 9601"/>
                <a:gd name="connsiteX51" fmla="*/ 8143 w 10000"/>
                <a:gd name="connsiteY51" fmla="*/ 3285 h 9601"/>
                <a:gd name="connsiteX52" fmla="*/ 7989 w 10000"/>
                <a:gd name="connsiteY52" fmla="*/ 2942 h 9601"/>
                <a:gd name="connsiteX53" fmla="*/ 7826 w 10000"/>
                <a:gd name="connsiteY53" fmla="*/ 2618 h 9601"/>
                <a:gd name="connsiteX54" fmla="*/ 7661 w 10000"/>
                <a:gd name="connsiteY54" fmla="*/ 2292 h 9601"/>
                <a:gd name="connsiteX55" fmla="*/ 7485 w 10000"/>
                <a:gd name="connsiteY55" fmla="*/ 1984 h 9601"/>
                <a:gd name="connsiteX56" fmla="*/ 7308 w 10000"/>
                <a:gd name="connsiteY56" fmla="*/ 1696 h 9601"/>
                <a:gd name="connsiteX57" fmla="*/ 7118 w 10000"/>
                <a:gd name="connsiteY57" fmla="*/ 1445 h 9601"/>
                <a:gd name="connsiteX58" fmla="*/ 6915 w 10000"/>
                <a:gd name="connsiteY58" fmla="*/ 1174 h 9601"/>
                <a:gd name="connsiteX59" fmla="*/ 6726 w 10000"/>
                <a:gd name="connsiteY59" fmla="*/ 956 h 9601"/>
                <a:gd name="connsiteX60" fmla="*/ 6511 w 10000"/>
                <a:gd name="connsiteY60" fmla="*/ 760 h 9601"/>
                <a:gd name="connsiteX61" fmla="*/ 6295 w 10000"/>
                <a:gd name="connsiteY61" fmla="*/ 578 h 9601"/>
                <a:gd name="connsiteX62" fmla="*/ 6068 w 10000"/>
                <a:gd name="connsiteY62" fmla="*/ 414 h 9601"/>
                <a:gd name="connsiteX63" fmla="*/ 5841 w 10000"/>
                <a:gd name="connsiteY63" fmla="*/ 271 h 9601"/>
                <a:gd name="connsiteX64" fmla="*/ 5601 w 10000"/>
                <a:gd name="connsiteY64" fmla="*/ 162 h 9601"/>
                <a:gd name="connsiteX65" fmla="*/ 5347 w 10000"/>
                <a:gd name="connsiteY65" fmla="*/ 89 h 9601"/>
                <a:gd name="connsiteX66" fmla="*/ 5082 w 10000"/>
                <a:gd name="connsiteY66" fmla="*/ 18 h 9601"/>
                <a:gd name="connsiteX67" fmla="*/ 4817 w 10000"/>
                <a:gd name="connsiteY67" fmla="*/ 0 h 9601"/>
                <a:gd name="connsiteX68" fmla="*/ 4588 w 10000"/>
                <a:gd name="connsiteY68" fmla="*/ 18 h 9601"/>
                <a:gd name="connsiteX69" fmla="*/ 4375 w 10000"/>
                <a:gd name="connsiteY69" fmla="*/ 54 h 9601"/>
                <a:gd name="connsiteX70" fmla="*/ 4160 w 10000"/>
                <a:gd name="connsiteY70" fmla="*/ 109 h 9601"/>
                <a:gd name="connsiteX71" fmla="*/ 3971 w 10000"/>
                <a:gd name="connsiteY71" fmla="*/ 162 h 9601"/>
                <a:gd name="connsiteX72" fmla="*/ 3767 w 10000"/>
                <a:gd name="connsiteY72" fmla="*/ 252 h 9601"/>
                <a:gd name="connsiteX73" fmla="*/ 3564 w 10000"/>
                <a:gd name="connsiteY73" fmla="*/ 342 h 9601"/>
                <a:gd name="connsiteX74" fmla="*/ 3389 w 10000"/>
                <a:gd name="connsiteY74" fmla="*/ 469 h 9601"/>
                <a:gd name="connsiteX75" fmla="*/ 3198 w 10000"/>
                <a:gd name="connsiteY75" fmla="*/ 614 h 9601"/>
                <a:gd name="connsiteX76" fmla="*/ 3035 w 10000"/>
                <a:gd name="connsiteY76" fmla="*/ 776 h 9601"/>
                <a:gd name="connsiteX77" fmla="*/ 2857 w 10000"/>
                <a:gd name="connsiteY77" fmla="*/ 938 h 9601"/>
                <a:gd name="connsiteX78" fmla="*/ 2693 w 10000"/>
                <a:gd name="connsiteY78" fmla="*/ 1119 h 9601"/>
                <a:gd name="connsiteX79" fmla="*/ 2528 w 10000"/>
                <a:gd name="connsiteY79" fmla="*/ 1318 h 9601"/>
                <a:gd name="connsiteX80" fmla="*/ 2377 w 10000"/>
                <a:gd name="connsiteY80" fmla="*/ 1515 h 9601"/>
                <a:gd name="connsiteX81" fmla="*/ 2212 w 10000"/>
                <a:gd name="connsiteY81" fmla="*/ 1752 h 9601"/>
                <a:gd name="connsiteX82" fmla="*/ 1922 w 10000"/>
                <a:gd name="connsiteY82" fmla="*/ 2237 h 9601"/>
                <a:gd name="connsiteX83" fmla="*/ 1644 w 10000"/>
                <a:gd name="connsiteY83" fmla="*/ 2744 h 9601"/>
                <a:gd name="connsiteX84" fmla="*/ 1379 w 10000"/>
                <a:gd name="connsiteY84" fmla="*/ 3285 h 9601"/>
                <a:gd name="connsiteX85" fmla="*/ 1125 w 10000"/>
                <a:gd name="connsiteY85" fmla="*/ 3863 h 9601"/>
                <a:gd name="connsiteX86" fmla="*/ 885 w 10000"/>
                <a:gd name="connsiteY86" fmla="*/ 4458 h 9601"/>
                <a:gd name="connsiteX87" fmla="*/ 658 w 10000"/>
                <a:gd name="connsiteY87" fmla="*/ 5053 h 9601"/>
                <a:gd name="connsiteX88" fmla="*/ 431 w 10000"/>
                <a:gd name="connsiteY88" fmla="*/ 5686 h 9601"/>
                <a:gd name="connsiteX89" fmla="*/ 0 w 10000"/>
                <a:gd name="connsiteY89" fmla="*/ 6949 h 9601"/>
                <a:gd name="connsiteX0" fmla="*/ 0 w 10000"/>
                <a:gd name="connsiteY0" fmla="*/ 7238 h 9588"/>
                <a:gd name="connsiteX1" fmla="*/ 0 w 10000"/>
                <a:gd name="connsiteY1" fmla="*/ 7238 h 9588"/>
                <a:gd name="connsiteX2" fmla="*/ 316 w 10000"/>
                <a:gd name="connsiteY2" fmla="*/ 8215 h 9588"/>
                <a:gd name="connsiteX3" fmla="*/ 608 w 10000"/>
                <a:gd name="connsiteY3" fmla="*/ 9174 h 9588"/>
                <a:gd name="connsiteX4" fmla="*/ 898 w 10000"/>
                <a:gd name="connsiteY4" fmla="*/ 8460 h 9588"/>
                <a:gd name="connsiteX5" fmla="*/ 1163 w 10000"/>
                <a:gd name="connsiteY5" fmla="*/ 7709 h 9588"/>
                <a:gd name="connsiteX6" fmla="*/ 1441 w 10000"/>
                <a:gd name="connsiteY6" fmla="*/ 6974 h 9588"/>
                <a:gd name="connsiteX7" fmla="*/ 1681 w 10000"/>
                <a:gd name="connsiteY7" fmla="*/ 6222 h 9588"/>
                <a:gd name="connsiteX8" fmla="*/ 2162 w 10000"/>
                <a:gd name="connsiteY8" fmla="*/ 4738 h 9588"/>
                <a:gd name="connsiteX9" fmla="*/ 2403 w 10000"/>
                <a:gd name="connsiteY9" fmla="*/ 4024 h 9588"/>
                <a:gd name="connsiteX10" fmla="*/ 2630 w 10000"/>
                <a:gd name="connsiteY10" fmla="*/ 3345 h 9588"/>
                <a:gd name="connsiteX11" fmla="*/ 2869 w 10000"/>
                <a:gd name="connsiteY11" fmla="*/ 2727 h 9588"/>
                <a:gd name="connsiteX12" fmla="*/ 3110 w 10000"/>
                <a:gd name="connsiteY12" fmla="*/ 2162 h 9588"/>
                <a:gd name="connsiteX13" fmla="*/ 3236 w 10000"/>
                <a:gd name="connsiteY13" fmla="*/ 1879 h 9588"/>
                <a:gd name="connsiteX14" fmla="*/ 3363 w 10000"/>
                <a:gd name="connsiteY14" fmla="*/ 1654 h 9588"/>
                <a:gd name="connsiteX15" fmla="*/ 3502 w 10000"/>
                <a:gd name="connsiteY15" fmla="*/ 1409 h 9588"/>
                <a:gd name="connsiteX16" fmla="*/ 3628 w 10000"/>
                <a:gd name="connsiteY16" fmla="*/ 1203 h 9588"/>
                <a:gd name="connsiteX17" fmla="*/ 3767 w 10000"/>
                <a:gd name="connsiteY17" fmla="*/ 1017 h 9588"/>
                <a:gd name="connsiteX18" fmla="*/ 3907 w 10000"/>
                <a:gd name="connsiteY18" fmla="*/ 846 h 9588"/>
                <a:gd name="connsiteX19" fmla="*/ 4046 w 10000"/>
                <a:gd name="connsiteY19" fmla="*/ 695 h 9588"/>
                <a:gd name="connsiteX20" fmla="*/ 4198 w 10000"/>
                <a:gd name="connsiteY20" fmla="*/ 582 h 9588"/>
                <a:gd name="connsiteX21" fmla="*/ 4337 w 10000"/>
                <a:gd name="connsiteY21" fmla="*/ 470 h 9588"/>
                <a:gd name="connsiteX22" fmla="*/ 4488 w 10000"/>
                <a:gd name="connsiteY22" fmla="*/ 413 h 9588"/>
                <a:gd name="connsiteX23" fmla="*/ 4652 w 10000"/>
                <a:gd name="connsiteY23" fmla="*/ 356 h 9588"/>
                <a:gd name="connsiteX24" fmla="*/ 4817 w 10000"/>
                <a:gd name="connsiteY24" fmla="*/ 356 h 9588"/>
                <a:gd name="connsiteX25" fmla="*/ 5019 w 10000"/>
                <a:gd name="connsiteY25" fmla="*/ 376 h 9588"/>
                <a:gd name="connsiteX26" fmla="*/ 5221 w 10000"/>
                <a:gd name="connsiteY26" fmla="*/ 452 h 9588"/>
                <a:gd name="connsiteX27" fmla="*/ 5398 w 10000"/>
                <a:gd name="connsiteY27" fmla="*/ 582 h 9588"/>
                <a:gd name="connsiteX28" fmla="*/ 5589 w 10000"/>
                <a:gd name="connsiteY28" fmla="*/ 715 h 9588"/>
                <a:gd name="connsiteX29" fmla="*/ 5752 w 10000"/>
                <a:gd name="connsiteY29" fmla="*/ 903 h 9588"/>
                <a:gd name="connsiteX30" fmla="*/ 5929 w 10000"/>
                <a:gd name="connsiteY30" fmla="*/ 1147 h 9588"/>
                <a:gd name="connsiteX31" fmla="*/ 6081 w 10000"/>
                <a:gd name="connsiteY31" fmla="*/ 1409 h 9588"/>
                <a:gd name="connsiteX32" fmla="*/ 6258 w 10000"/>
                <a:gd name="connsiteY32" fmla="*/ 1710 h 9588"/>
                <a:gd name="connsiteX33" fmla="*/ 6398 w 10000"/>
                <a:gd name="connsiteY33" fmla="*/ 2030 h 9588"/>
                <a:gd name="connsiteX34" fmla="*/ 6549 w 10000"/>
                <a:gd name="connsiteY34" fmla="*/ 2387 h 9588"/>
                <a:gd name="connsiteX35" fmla="*/ 6688 w 10000"/>
                <a:gd name="connsiteY35" fmla="*/ 2743 h 9588"/>
                <a:gd name="connsiteX36" fmla="*/ 6852 w 10000"/>
                <a:gd name="connsiteY36" fmla="*/ 3141 h 9588"/>
                <a:gd name="connsiteX37" fmla="*/ 7130 w 10000"/>
                <a:gd name="connsiteY37" fmla="*/ 3985 h 9588"/>
                <a:gd name="connsiteX38" fmla="*/ 7421 w 10000"/>
                <a:gd name="connsiteY38" fmla="*/ 4888 h 9588"/>
                <a:gd name="connsiteX39" fmla="*/ 8002 w 10000"/>
                <a:gd name="connsiteY39" fmla="*/ 6786 h 9588"/>
                <a:gd name="connsiteX40" fmla="*/ 8319 w 10000"/>
                <a:gd name="connsiteY40" fmla="*/ 7764 h 9588"/>
                <a:gd name="connsiteX41" fmla="*/ 8635 w 10000"/>
                <a:gd name="connsiteY41" fmla="*/ 8683 h 9588"/>
                <a:gd name="connsiteX42" fmla="*/ 8811 w 10000"/>
                <a:gd name="connsiteY42" fmla="*/ 9156 h 9588"/>
                <a:gd name="connsiteX43" fmla="*/ 9002 w 10000"/>
                <a:gd name="connsiteY43" fmla="*/ 9588 h 9588"/>
                <a:gd name="connsiteX44" fmla="*/ 10000 w 10000"/>
                <a:gd name="connsiteY44" fmla="*/ 8873 h 9588"/>
                <a:gd name="connsiteX45" fmla="*/ 9760 w 10000"/>
                <a:gd name="connsiteY45" fmla="*/ 8102 h 9588"/>
                <a:gd name="connsiteX46" fmla="*/ 9267 w 10000"/>
                <a:gd name="connsiteY46" fmla="*/ 6523 h 9588"/>
                <a:gd name="connsiteX47" fmla="*/ 9014 w 10000"/>
                <a:gd name="connsiteY47" fmla="*/ 5715 h 9588"/>
                <a:gd name="connsiteX48" fmla="*/ 8736 w 10000"/>
                <a:gd name="connsiteY48" fmla="*/ 4907 h 9588"/>
                <a:gd name="connsiteX49" fmla="*/ 8458 w 10000"/>
                <a:gd name="connsiteY49" fmla="*/ 4154 h 9588"/>
                <a:gd name="connsiteX50" fmla="*/ 8143 w 10000"/>
                <a:gd name="connsiteY50" fmla="*/ 3422 h 9588"/>
                <a:gd name="connsiteX51" fmla="*/ 7989 w 10000"/>
                <a:gd name="connsiteY51" fmla="*/ 3064 h 9588"/>
                <a:gd name="connsiteX52" fmla="*/ 7826 w 10000"/>
                <a:gd name="connsiteY52" fmla="*/ 2727 h 9588"/>
                <a:gd name="connsiteX53" fmla="*/ 7661 w 10000"/>
                <a:gd name="connsiteY53" fmla="*/ 2387 h 9588"/>
                <a:gd name="connsiteX54" fmla="*/ 7485 w 10000"/>
                <a:gd name="connsiteY54" fmla="*/ 2066 h 9588"/>
                <a:gd name="connsiteX55" fmla="*/ 7308 w 10000"/>
                <a:gd name="connsiteY55" fmla="*/ 1766 h 9588"/>
                <a:gd name="connsiteX56" fmla="*/ 7118 w 10000"/>
                <a:gd name="connsiteY56" fmla="*/ 1505 h 9588"/>
                <a:gd name="connsiteX57" fmla="*/ 6915 w 10000"/>
                <a:gd name="connsiteY57" fmla="*/ 1223 h 9588"/>
                <a:gd name="connsiteX58" fmla="*/ 6726 w 10000"/>
                <a:gd name="connsiteY58" fmla="*/ 996 h 9588"/>
                <a:gd name="connsiteX59" fmla="*/ 6511 w 10000"/>
                <a:gd name="connsiteY59" fmla="*/ 792 h 9588"/>
                <a:gd name="connsiteX60" fmla="*/ 6295 w 10000"/>
                <a:gd name="connsiteY60" fmla="*/ 602 h 9588"/>
                <a:gd name="connsiteX61" fmla="*/ 6068 w 10000"/>
                <a:gd name="connsiteY61" fmla="*/ 431 h 9588"/>
                <a:gd name="connsiteX62" fmla="*/ 5841 w 10000"/>
                <a:gd name="connsiteY62" fmla="*/ 282 h 9588"/>
                <a:gd name="connsiteX63" fmla="*/ 5601 w 10000"/>
                <a:gd name="connsiteY63" fmla="*/ 169 h 9588"/>
                <a:gd name="connsiteX64" fmla="*/ 5347 w 10000"/>
                <a:gd name="connsiteY64" fmla="*/ 93 h 9588"/>
                <a:gd name="connsiteX65" fmla="*/ 5082 w 10000"/>
                <a:gd name="connsiteY65" fmla="*/ 19 h 9588"/>
                <a:gd name="connsiteX66" fmla="*/ 4817 w 10000"/>
                <a:gd name="connsiteY66" fmla="*/ 0 h 9588"/>
                <a:gd name="connsiteX67" fmla="*/ 4588 w 10000"/>
                <a:gd name="connsiteY67" fmla="*/ 19 h 9588"/>
                <a:gd name="connsiteX68" fmla="*/ 4375 w 10000"/>
                <a:gd name="connsiteY68" fmla="*/ 56 h 9588"/>
                <a:gd name="connsiteX69" fmla="*/ 4160 w 10000"/>
                <a:gd name="connsiteY69" fmla="*/ 114 h 9588"/>
                <a:gd name="connsiteX70" fmla="*/ 3971 w 10000"/>
                <a:gd name="connsiteY70" fmla="*/ 169 h 9588"/>
                <a:gd name="connsiteX71" fmla="*/ 3767 w 10000"/>
                <a:gd name="connsiteY71" fmla="*/ 262 h 9588"/>
                <a:gd name="connsiteX72" fmla="*/ 3564 w 10000"/>
                <a:gd name="connsiteY72" fmla="*/ 356 h 9588"/>
                <a:gd name="connsiteX73" fmla="*/ 3389 w 10000"/>
                <a:gd name="connsiteY73" fmla="*/ 488 h 9588"/>
                <a:gd name="connsiteX74" fmla="*/ 3198 w 10000"/>
                <a:gd name="connsiteY74" fmla="*/ 640 h 9588"/>
                <a:gd name="connsiteX75" fmla="*/ 3035 w 10000"/>
                <a:gd name="connsiteY75" fmla="*/ 808 h 9588"/>
                <a:gd name="connsiteX76" fmla="*/ 2857 w 10000"/>
                <a:gd name="connsiteY76" fmla="*/ 977 h 9588"/>
                <a:gd name="connsiteX77" fmla="*/ 2693 w 10000"/>
                <a:gd name="connsiteY77" fmla="*/ 1166 h 9588"/>
                <a:gd name="connsiteX78" fmla="*/ 2528 w 10000"/>
                <a:gd name="connsiteY78" fmla="*/ 1373 h 9588"/>
                <a:gd name="connsiteX79" fmla="*/ 2377 w 10000"/>
                <a:gd name="connsiteY79" fmla="*/ 1578 h 9588"/>
                <a:gd name="connsiteX80" fmla="*/ 2212 w 10000"/>
                <a:gd name="connsiteY80" fmla="*/ 1825 h 9588"/>
                <a:gd name="connsiteX81" fmla="*/ 1922 w 10000"/>
                <a:gd name="connsiteY81" fmla="*/ 2330 h 9588"/>
                <a:gd name="connsiteX82" fmla="*/ 1644 w 10000"/>
                <a:gd name="connsiteY82" fmla="*/ 2858 h 9588"/>
                <a:gd name="connsiteX83" fmla="*/ 1379 w 10000"/>
                <a:gd name="connsiteY83" fmla="*/ 3422 h 9588"/>
                <a:gd name="connsiteX84" fmla="*/ 1125 w 10000"/>
                <a:gd name="connsiteY84" fmla="*/ 4024 h 9588"/>
                <a:gd name="connsiteX85" fmla="*/ 885 w 10000"/>
                <a:gd name="connsiteY85" fmla="*/ 4643 h 9588"/>
                <a:gd name="connsiteX86" fmla="*/ 658 w 10000"/>
                <a:gd name="connsiteY86" fmla="*/ 5263 h 9588"/>
                <a:gd name="connsiteX87" fmla="*/ 431 w 10000"/>
                <a:gd name="connsiteY87" fmla="*/ 5922 h 9588"/>
                <a:gd name="connsiteX88" fmla="*/ 0 w 10000"/>
                <a:gd name="connsiteY88" fmla="*/ 7238 h 9588"/>
                <a:gd name="connsiteX0" fmla="*/ 0 w 10000"/>
                <a:gd name="connsiteY0" fmla="*/ 7549 h 9568"/>
                <a:gd name="connsiteX1" fmla="*/ 0 w 10000"/>
                <a:gd name="connsiteY1" fmla="*/ 7549 h 9568"/>
                <a:gd name="connsiteX2" fmla="*/ 316 w 10000"/>
                <a:gd name="connsiteY2" fmla="*/ 8568 h 9568"/>
                <a:gd name="connsiteX3" fmla="*/ 608 w 10000"/>
                <a:gd name="connsiteY3" fmla="*/ 9568 h 9568"/>
                <a:gd name="connsiteX4" fmla="*/ 898 w 10000"/>
                <a:gd name="connsiteY4" fmla="*/ 8824 h 9568"/>
                <a:gd name="connsiteX5" fmla="*/ 1163 w 10000"/>
                <a:gd name="connsiteY5" fmla="*/ 8040 h 9568"/>
                <a:gd name="connsiteX6" fmla="*/ 1441 w 10000"/>
                <a:gd name="connsiteY6" fmla="*/ 7274 h 9568"/>
                <a:gd name="connsiteX7" fmla="*/ 1681 w 10000"/>
                <a:gd name="connsiteY7" fmla="*/ 6489 h 9568"/>
                <a:gd name="connsiteX8" fmla="*/ 2162 w 10000"/>
                <a:gd name="connsiteY8" fmla="*/ 4942 h 9568"/>
                <a:gd name="connsiteX9" fmla="*/ 2403 w 10000"/>
                <a:gd name="connsiteY9" fmla="*/ 4197 h 9568"/>
                <a:gd name="connsiteX10" fmla="*/ 2630 w 10000"/>
                <a:gd name="connsiteY10" fmla="*/ 3489 h 9568"/>
                <a:gd name="connsiteX11" fmla="*/ 2869 w 10000"/>
                <a:gd name="connsiteY11" fmla="*/ 2844 h 9568"/>
                <a:gd name="connsiteX12" fmla="*/ 3110 w 10000"/>
                <a:gd name="connsiteY12" fmla="*/ 2255 h 9568"/>
                <a:gd name="connsiteX13" fmla="*/ 3236 w 10000"/>
                <a:gd name="connsiteY13" fmla="*/ 1960 h 9568"/>
                <a:gd name="connsiteX14" fmla="*/ 3363 w 10000"/>
                <a:gd name="connsiteY14" fmla="*/ 1725 h 9568"/>
                <a:gd name="connsiteX15" fmla="*/ 3502 w 10000"/>
                <a:gd name="connsiteY15" fmla="*/ 1470 h 9568"/>
                <a:gd name="connsiteX16" fmla="*/ 3628 w 10000"/>
                <a:gd name="connsiteY16" fmla="*/ 1255 h 9568"/>
                <a:gd name="connsiteX17" fmla="*/ 3767 w 10000"/>
                <a:gd name="connsiteY17" fmla="*/ 1061 h 9568"/>
                <a:gd name="connsiteX18" fmla="*/ 3907 w 10000"/>
                <a:gd name="connsiteY18" fmla="*/ 882 h 9568"/>
                <a:gd name="connsiteX19" fmla="*/ 4046 w 10000"/>
                <a:gd name="connsiteY19" fmla="*/ 725 h 9568"/>
                <a:gd name="connsiteX20" fmla="*/ 4198 w 10000"/>
                <a:gd name="connsiteY20" fmla="*/ 607 h 9568"/>
                <a:gd name="connsiteX21" fmla="*/ 4337 w 10000"/>
                <a:gd name="connsiteY21" fmla="*/ 490 h 9568"/>
                <a:gd name="connsiteX22" fmla="*/ 4488 w 10000"/>
                <a:gd name="connsiteY22" fmla="*/ 431 h 9568"/>
                <a:gd name="connsiteX23" fmla="*/ 4652 w 10000"/>
                <a:gd name="connsiteY23" fmla="*/ 371 h 9568"/>
                <a:gd name="connsiteX24" fmla="*/ 4817 w 10000"/>
                <a:gd name="connsiteY24" fmla="*/ 371 h 9568"/>
                <a:gd name="connsiteX25" fmla="*/ 5019 w 10000"/>
                <a:gd name="connsiteY25" fmla="*/ 392 h 9568"/>
                <a:gd name="connsiteX26" fmla="*/ 5221 w 10000"/>
                <a:gd name="connsiteY26" fmla="*/ 471 h 9568"/>
                <a:gd name="connsiteX27" fmla="*/ 5398 w 10000"/>
                <a:gd name="connsiteY27" fmla="*/ 607 h 9568"/>
                <a:gd name="connsiteX28" fmla="*/ 5589 w 10000"/>
                <a:gd name="connsiteY28" fmla="*/ 746 h 9568"/>
                <a:gd name="connsiteX29" fmla="*/ 5752 w 10000"/>
                <a:gd name="connsiteY29" fmla="*/ 942 h 9568"/>
                <a:gd name="connsiteX30" fmla="*/ 5929 w 10000"/>
                <a:gd name="connsiteY30" fmla="*/ 1196 h 9568"/>
                <a:gd name="connsiteX31" fmla="*/ 6081 w 10000"/>
                <a:gd name="connsiteY31" fmla="*/ 1470 h 9568"/>
                <a:gd name="connsiteX32" fmla="*/ 6258 w 10000"/>
                <a:gd name="connsiteY32" fmla="*/ 1783 h 9568"/>
                <a:gd name="connsiteX33" fmla="*/ 6398 w 10000"/>
                <a:gd name="connsiteY33" fmla="*/ 2117 h 9568"/>
                <a:gd name="connsiteX34" fmla="*/ 6549 w 10000"/>
                <a:gd name="connsiteY34" fmla="*/ 2490 h 9568"/>
                <a:gd name="connsiteX35" fmla="*/ 6688 w 10000"/>
                <a:gd name="connsiteY35" fmla="*/ 2861 h 9568"/>
                <a:gd name="connsiteX36" fmla="*/ 6852 w 10000"/>
                <a:gd name="connsiteY36" fmla="*/ 3276 h 9568"/>
                <a:gd name="connsiteX37" fmla="*/ 7130 w 10000"/>
                <a:gd name="connsiteY37" fmla="*/ 4156 h 9568"/>
                <a:gd name="connsiteX38" fmla="*/ 7421 w 10000"/>
                <a:gd name="connsiteY38" fmla="*/ 5098 h 9568"/>
                <a:gd name="connsiteX39" fmla="*/ 8002 w 10000"/>
                <a:gd name="connsiteY39" fmla="*/ 7078 h 9568"/>
                <a:gd name="connsiteX40" fmla="*/ 8319 w 10000"/>
                <a:gd name="connsiteY40" fmla="*/ 8098 h 9568"/>
                <a:gd name="connsiteX41" fmla="*/ 8635 w 10000"/>
                <a:gd name="connsiteY41" fmla="*/ 9056 h 9568"/>
                <a:gd name="connsiteX42" fmla="*/ 8811 w 10000"/>
                <a:gd name="connsiteY42" fmla="*/ 9549 h 9568"/>
                <a:gd name="connsiteX43" fmla="*/ 10000 w 10000"/>
                <a:gd name="connsiteY43" fmla="*/ 9254 h 9568"/>
                <a:gd name="connsiteX44" fmla="*/ 9760 w 10000"/>
                <a:gd name="connsiteY44" fmla="*/ 8450 h 9568"/>
                <a:gd name="connsiteX45" fmla="*/ 9267 w 10000"/>
                <a:gd name="connsiteY45" fmla="*/ 6803 h 9568"/>
                <a:gd name="connsiteX46" fmla="*/ 9014 w 10000"/>
                <a:gd name="connsiteY46" fmla="*/ 5961 h 9568"/>
                <a:gd name="connsiteX47" fmla="*/ 8736 w 10000"/>
                <a:gd name="connsiteY47" fmla="*/ 5118 h 9568"/>
                <a:gd name="connsiteX48" fmla="*/ 8458 w 10000"/>
                <a:gd name="connsiteY48" fmla="*/ 4332 h 9568"/>
                <a:gd name="connsiteX49" fmla="*/ 8143 w 10000"/>
                <a:gd name="connsiteY49" fmla="*/ 3569 h 9568"/>
                <a:gd name="connsiteX50" fmla="*/ 7989 w 10000"/>
                <a:gd name="connsiteY50" fmla="*/ 3196 h 9568"/>
                <a:gd name="connsiteX51" fmla="*/ 7826 w 10000"/>
                <a:gd name="connsiteY51" fmla="*/ 2844 h 9568"/>
                <a:gd name="connsiteX52" fmla="*/ 7661 w 10000"/>
                <a:gd name="connsiteY52" fmla="*/ 2490 h 9568"/>
                <a:gd name="connsiteX53" fmla="*/ 7485 w 10000"/>
                <a:gd name="connsiteY53" fmla="*/ 2155 h 9568"/>
                <a:gd name="connsiteX54" fmla="*/ 7308 w 10000"/>
                <a:gd name="connsiteY54" fmla="*/ 1842 h 9568"/>
                <a:gd name="connsiteX55" fmla="*/ 7118 w 10000"/>
                <a:gd name="connsiteY55" fmla="*/ 1570 h 9568"/>
                <a:gd name="connsiteX56" fmla="*/ 6915 w 10000"/>
                <a:gd name="connsiteY56" fmla="*/ 1276 h 9568"/>
                <a:gd name="connsiteX57" fmla="*/ 6726 w 10000"/>
                <a:gd name="connsiteY57" fmla="*/ 1039 h 9568"/>
                <a:gd name="connsiteX58" fmla="*/ 6511 w 10000"/>
                <a:gd name="connsiteY58" fmla="*/ 826 h 9568"/>
                <a:gd name="connsiteX59" fmla="*/ 6295 w 10000"/>
                <a:gd name="connsiteY59" fmla="*/ 628 h 9568"/>
                <a:gd name="connsiteX60" fmla="*/ 6068 w 10000"/>
                <a:gd name="connsiteY60" fmla="*/ 450 h 9568"/>
                <a:gd name="connsiteX61" fmla="*/ 5841 w 10000"/>
                <a:gd name="connsiteY61" fmla="*/ 294 h 9568"/>
                <a:gd name="connsiteX62" fmla="*/ 5601 w 10000"/>
                <a:gd name="connsiteY62" fmla="*/ 176 h 9568"/>
                <a:gd name="connsiteX63" fmla="*/ 5347 w 10000"/>
                <a:gd name="connsiteY63" fmla="*/ 97 h 9568"/>
                <a:gd name="connsiteX64" fmla="*/ 5082 w 10000"/>
                <a:gd name="connsiteY64" fmla="*/ 20 h 9568"/>
                <a:gd name="connsiteX65" fmla="*/ 4817 w 10000"/>
                <a:gd name="connsiteY65" fmla="*/ 0 h 9568"/>
                <a:gd name="connsiteX66" fmla="*/ 4588 w 10000"/>
                <a:gd name="connsiteY66" fmla="*/ 20 h 9568"/>
                <a:gd name="connsiteX67" fmla="*/ 4375 w 10000"/>
                <a:gd name="connsiteY67" fmla="*/ 58 h 9568"/>
                <a:gd name="connsiteX68" fmla="*/ 4160 w 10000"/>
                <a:gd name="connsiteY68" fmla="*/ 119 h 9568"/>
                <a:gd name="connsiteX69" fmla="*/ 3971 w 10000"/>
                <a:gd name="connsiteY69" fmla="*/ 176 h 9568"/>
                <a:gd name="connsiteX70" fmla="*/ 3767 w 10000"/>
                <a:gd name="connsiteY70" fmla="*/ 273 h 9568"/>
                <a:gd name="connsiteX71" fmla="*/ 3564 w 10000"/>
                <a:gd name="connsiteY71" fmla="*/ 371 h 9568"/>
                <a:gd name="connsiteX72" fmla="*/ 3389 w 10000"/>
                <a:gd name="connsiteY72" fmla="*/ 509 h 9568"/>
                <a:gd name="connsiteX73" fmla="*/ 3198 w 10000"/>
                <a:gd name="connsiteY73" fmla="*/ 668 h 9568"/>
                <a:gd name="connsiteX74" fmla="*/ 3035 w 10000"/>
                <a:gd name="connsiteY74" fmla="*/ 843 h 9568"/>
                <a:gd name="connsiteX75" fmla="*/ 2857 w 10000"/>
                <a:gd name="connsiteY75" fmla="*/ 1019 h 9568"/>
                <a:gd name="connsiteX76" fmla="*/ 2693 w 10000"/>
                <a:gd name="connsiteY76" fmla="*/ 1216 h 9568"/>
                <a:gd name="connsiteX77" fmla="*/ 2528 w 10000"/>
                <a:gd name="connsiteY77" fmla="*/ 1432 h 9568"/>
                <a:gd name="connsiteX78" fmla="*/ 2377 w 10000"/>
                <a:gd name="connsiteY78" fmla="*/ 1646 h 9568"/>
                <a:gd name="connsiteX79" fmla="*/ 2212 w 10000"/>
                <a:gd name="connsiteY79" fmla="*/ 1903 h 9568"/>
                <a:gd name="connsiteX80" fmla="*/ 1922 w 10000"/>
                <a:gd name="connsiteY80" fmla="*/ 2430 h 9568"/>
                <a:gd name="connsiteX81" fmla="*/ 1644 w 10000"/>
                <a:gd name="connsiteY81" fmla="*/ 2981 h 9568"/>
                <a:gd name="connsiteX82" fmla="*/ 1379 w 10000"/>
                <a:gd name="connsiteY82" fmla="*/ 3569 h 9568"/>
                <a:gd name="connsiteX83" fmla="*/ 1125 w 10000"/>
                <a:gd name="connsiteY83" fmla="*/ 4197 h 9568"/>
                <a:gd name="connsiteX84" fmla="*/ 885 w 10000"/>
                <a:gd name="connsiteY84" fmla="*/ 4843 h 9568"/>
                <a:gd name="connsiteX85" fmla="*/ 658 w 10000"/>
                <a:gd name="connsiteY85" fmla="*/ 5489 h 9568"/>
                <a:gd name="connsiteX86" fmla="*/ 431 w 10000"/>
                <a:gd name="connsiteY86" fmla="*/ 6176 h 9568"/>
                <a:gd name="connsiteX87" fmla="*/ 0 w 10000"/>
                <a:gd name="connsiteY87" fmla="*/ 7549 h 9568"/>
                <a:gd name="connsiteX0" fmla="*/ 0 w 9760"/>
                <a:gd name="connsiteY0" fmla="*/ 7890 h 10000"/>
                <a:gd name="connsiteX1" fmla="*/ 0 w 9760"/>
                <a:gd name="connsiteY1" fmla="*/ 7890 h 10000"/>
                <a:gd name="connsiteX2" fmla="*/ 316 w 9760"/>
                <a:gd name="connsiteY2" fmla="*/ 8955 h 10000"/>
                <a:gd name="connsiteX3" fmla="*/ 608 w 9760"/>
                <a:gd name="connsiteY3" fmla="*/ 10000 h 10000"/>
                <a:gd name="connsiteX4" fmla="*/ 898 w 9760"/>
                <a:gd name="connsiteY4" fmla="*/ 9222 h 10000"/>
                <a:gd name="connsiteX5" fmla="*/ 1163 w 9760"/>
                <a:gd name="connsiteY5" fmla="*/ 8403 h 10000"/>
                <a:gd name="connsiteX6" fmla="*/ 1441 w 9760"/>
                <a:gd name="connsiteY6" fmla="*/ 7602 h 10000"/>
                <a:gd name="connsiteX7" fmla="*/ 1681 w 9760"/>
                <a:gd name="connsiteY7" fmla="*/ 6782 h 10000"/>
                <a:gd name="connsiteX8" fmla="*/ 2162 w 9760"/>
                <a:gd name="connsiteY8" fmla="*/ 5165 h 10000"/>
                <a:gd name="connsiteX9" fmla="*/ 2403 w 9760"/>
                <a:gd name="connsiteY9" fmla="*/ 4386 h 10000"/>
                <a:gd name="connsiteX10" fmla="*/ 2630 w 9760"/>
                <a:gd name="connsiteY10" fmla="*/ 3647 h 10000"/>
                <a:gd name="connsiteX11" fmla="*/ 2869 w 9760"/>
                <a:gd name="connsiteY11" fmla="*/ 2972 h 10000"/>
                <a:gd name="connsiteX12" fmla="*/ 3110 w 9760"/>
                <a:gd name="connsiteY12" fmla="*/ 2357 h 10000"/>
                <a:gd name="connsiteX13" fmla="*/ 3236 w 9760"/>
                <a:gd name="connsiteY13" fmla="*/ 2048 h 10000"/>
                <a:gd name="connsiteX14" fmla="*/ 3363 w 9760"/>
                <a:gd name="connsiteY14" fmla="*/ 1803 h 10000"/>
                <a:gd name="connsiteX15" fmla="*/ 3502 w 9760"/>
                <a:gd name="connsiteY15" fmla="*/ 1536 h 10000"/>
                <a:gd name="connsiteX16" fmla="*/ 3628 w 9760"/>
                <a:gd name="connsiteY16" fmla="*/ 1312 h 10000"/>
                <a:gd name="connsiteX17" fmla="*/ 3767 w 9760"/>
                <a:gd name="connsiteY17" fmla="*/ 1109 h 10000"/>
                <a:gd name="connsiteX18" fmla="*/ 3907 w 9760"/>
                <a:gd name="connsiteY18" fmla="*/ 922 h 10000"/>
                <a:gd name="connsiteX19" fmla="*/ 4046 w 9760"/>
                <a:gd name="connsiteY19" fmla="*/ 758 h 10000"/>
                <a:gd name="connsiteX20" fmla="*/ 4198 w 9760"/>
                <a:gd name="connsiteY20" fmla="*/ 634 h 10000"/>
                <a:gd name="connsiteX21" fmla="*/ 4337 w 9760"/>
                <a:gd name="connsiteY21" fmla="*/ 512 h 10000"/>
                <a:gd name="connsiteX22" fmla="*/ 4488 w 9760"/>
                <a:gd name="connsiteY22" fmla="*/ 450 h 10000"/>
                <a:gd name="connsiteX23" fmla="*/ 4652 w 9760"/>
                <a:gd name="connsiteY23" fmla="*/ 388 h 10000"/>
                <a:gd name="connsiteX24" fmla="*/ 4817 w 9760"/>
                <a:gd name="connsiteY24" fmla="*/ 388 h 10000"/>
                <a:gd name="connsiteX25" fmla="*/ 5019 w 9760"/>
                <a:gd name="connsiteY25" fmla="*/ 410 h 10000"/>
                <a:gd name="connsiteX26" fmla="*/ 5221 w 9760"/>
                <a:gd name="connsiteY26" fmla="*/ 492 h 10000"/>
                <a:gd name="connsiteX27" fmla="*/ 5398 w 9760"/>
                <a:gd name="connsiteY27" fmla="*/ 634 h 10000"/>
                <a:gd name="connsiteX28" fmla="*/ 5589 w 9760"/>
                <a:gd name="connsiteY28" fmla="*/ 780 h 10000"/>
                <a:gd name="connsiteX29" fmla="*/ 5752 w 9760"/>
                <a:gd name="connsiteY29" fmla="*/ 985 h 10000"/>
                <a:gd name="connsiteX30" fmla="*/ 5929 w 9760"/>
                <a:gd name="connsiteY30" fmla="*/ 1250 h 10000"/>
                <a:gd name="connsiteX31" fmla="*/ 6081 w 9760"/>
                <a:gd name="connsiteY31" fmla="*/ 1536 h 10000"/>
                <a:gd name="connsiteX32" fmla="*/ 6258 w 9760"/>
                <a:gd name="connsiteY32" fmla="*/ 1864 h 10000"/>
                <a:gd name="connsiteX33" fmla="*/ 6398 w 9760"/>
                <a:gd name="connsiteY33" fmla="*/ 2213 h 10000"/>
                <a:gd name="connsiteX34" fmla="*/ 6549 w 9760"/>
                <a:gd name="connsiteY34" fmla="*/ 2602 h 10000"/>
                <a:gd name="connsiteX35" fmla="*/ 6688 w 9760"/>
                <a:gd name="connsiteY35" fmla="*/ 2990 h 10000"/>
                <a:gd name="connsiteX36" fmla="*/ 6852 w 9760"/>
                <a:gd name="connsiteY36" fmla="*/ 3424 h 10000"/>
                <a:gd name="connsiteX37" fmla="*/ 7130 w 9760"/>
                <a:gd name="connsiteY37" fmla="*/ 4344 h 10000"/>
                <a:gd name="connsiteX38" fmla="*/ 7421 w 9760"/>
                <a:gd name="connsiteY38" fmla="*/ 5328 h 10000"/>
                <a:gd name="connsiteX39" fmla="*/ 8002 w 9760"/>
                <a:gd name="connsiteY39" fmla="*/ 7398 h 10000"/>
                <a:gd name="connsiteX40" fmla="*/ 8319 w 9760"/>
                <a:gd name="connsiteY40" fmla="*/ 8464 h 10000"/>
                <a:gd name="connsiteX41" fmla="*/ 8635 w 9760"/>
                <a:gd name="connsiteY41" fmla="*/ 9465 h 10000"/>
                <a:gd name="connsiteX42" fmla="*/ 8811 w 9760"/>
                <a:gd name="connsiteY42" fmla="*/ 9980 h 10000"/>
                <a:gd name="connsiteX43" fmla="*/ 9760 w 9760"/>
                <a:gd name="connsiteY43" fmla="*/ 8832 h 10000"/>
                <a:gd name="connsiteX44" fmla="*/ 9267 w 9760"/>
                <a:gd name="connsiteY44" fmla="*/ 7110 h 10000"/>
                <a:gd name="connsiteX45" fmla="*/ 9014 w 9760"/>
                <a:gd name="connsiteY45" fmla="*/ 6230 h 10000"/>
                <a:gd name="connsiteX46" fmla="*/ 8736 w 9760"/>
                <a:gd name="connsiteY46" fmla="*/ 5349 h 10000"/>
                <a:gd name="connsiteX47" fmla="*/ 8458 w 9760"/>
                <a:gd name="connsiteY47" fmla="*/ 4528 h 10000"/>
                <a:gd name="connsiteX48" fmla="*/ 8143 w 9760"/>
                <a:gd name="connsiteY48" fmla="*/ 3730 h 10000"/>
                <a:gd name="connsiteX49" fmla="*/ 7989 w 9760"/>
                <a:gd name="connsiteY49" fmla="*/ 3340 h 10000"/>
                <a:gd name="connsiteX50" fmla="*/ 7826 w 9760"/>
                <a:gd name="connsiteY50" fmla="*/ 2972 h 10000"/>
                <a:gd name="connsiteX51" fmla="*/ 7661 w 9760"/>
                <a:gd name="connsiteY51" fmla="*/ 2602 h 10000"/>
                <a:gd name="connsiteX52" fmla="*/ 7485 w 9760"/>
                <a:gd name="connsiteY52" fmla="*/ 2252 h 10000"/>
                <a:gd name="connsiteX53" fmla="*/ 7308 w 9760"/>
                <a:gd name="connsiteY53" fmla="*/ 1925 h 10000"/>
                <a:gd name="connsiteX54" fmla="*/ 7118 w 9760"/>
                <a:gd name="connsiteY54" fmla="*/ 1641 h 10000"/>
                <a:gd name="connsiteX55" fmla="*/ 6915 w 9760"/>
                <a:gd name="connsiteY55" fmla="*/ 1334 h 10000"/>
                <a:gd name="connsiteX56" fmla="*/ 6726 w 9760"/>
                <a:gd name="connsiteY56" fmla="*/ 1086 h 10000"/>
                <a:gd name="connsiteX57" fmla="*/ 6511 w 9760"/>
                <a:gd name="connsiteY57" fmla="*/ 863 h 10000"/>
                <a:gd name="connsiteX58" fmla="*/ 6295 w 9760"/>
                <a:gd name="connsiteY58" fmla="*/ 656 h 10000"/>
                <a:gd name="connsiteX59" fmla="*/ 6068 w 9760"/>
                <a:gd name="connsiteY59" fmla="*/ 470 h 10000"/>
                <a:gd name="connsiteX60" fmla="*/ 5841 w 9760"/>
                <a:gd name="connsiteY60" fmla="*/ 307 h 10000"/>
                <a:gd name="connsiteX61" fmla="*/ 5601 w 9760"/>
                <a:gd name="connsiteY61" fmla="*/ 184 h 10000"/>
                <a:gd name="connsiteX62" fmla="*/ 5347 w 9760"/>
                <a:gd name="connsiteY62" fmla="*/ 101 h 10000"/>
                <a:gd name="connsiteX63" fmla="*/ 5082 w 9760"/>
                <a:gd name="connsiteY63" fmla="*/ 21 h 10000"/>
                <a:gd name="connsiteX64" fmla="*/ 4817 w 9760"/>
                <a:gd name="connsiteY64" fmla="*/ 0 h 10000"/>
                <a:gd name="connsiteX65" fmla="*/ 4588 w 9760"/>
                <a:gd name="connsiteY65" fmla="*/ 21 h 10000"/>
                <a:gd name="connsiteX66" fmla="*/ 4375 w 9760"/>
                <a:gd name="connsiteY66" fmla="*/ 61 h 10000"/>
                <a:gd name="connsiteX67" fmla="*/ 4160 w 9760"/>
                <a:gd name="connsiteY67" fmla="*/ 124 h 10000"/>
                <a:gd name="connsiteX68" fmla="*/ 3971 w 9760"/>
                <a:gd name="connsiteY68" fmla="*/ 184 h 10000"/>
                <a:gd name="connsiteX69" fmla="*/ 3767 w 9760"/>
                <a:gd name="connsiteY69" fmla="*/ 285 h 10000"/>
                <a:gd name="connsiteX70" fmla="*/ 3564 w 9760"/>
                <a:gd name="connsiteY70" fmla="*/ 388 h 10000"/>
                <a:gd name="connsiteX71" fmla="*/ 3389 w 9760"/>
                <a:gd name="connsiteY71" fmla="*/ 532 h 10000"/>
                <a:gd name="connsiteX72" fmla="*/ 3198 w 9760"/>
                <a:gd name="connsiteY72" fmla="*/ 698 h 10000"/>
                <a:gd name="connsiteX73" fmla="*/ 3035 w 9760"/>
                <a:gd name="connsiteY73" fmla="*/ 881 h 10000"/>
                <a:gd name="connsiteX74" fmla="*/ 2857 w 9760"/>
                <a:gd name="connsiteY74" fmla="*/ 1065 h 10000"/>
                <a:gd name="connsiteX75" fmla="*/ 2693 w 9760"/>
                <a:gd name="connsiteY75" fmla="*/ 1271 h 10000"/>
                <a:gd name="connsiteX76" fmla="*/ 2528 w 9760"/>
                <a:gd name="connsiteY76" fmla="*/ 1497 h 10000"/>
                <a:gd name="connsiteX77" fmla="*/ 2377 w 9760"/>
                <a:gd name="connsiteY77" fmla="*/ 1720 h 10000"/>
                <a:gd name="connsiteX78" fmla="*/ 2212 w 9760"/>
                <a:gd name="connsiteY78" fmla="*/ 1989 h 10000"/>
                <a:gd name="connsiteX79" fmla="*/ 1922 w 9760"/>
                <a:gd name="connsiteY79" fmla="*/ 2540 h 10000"/>
                <a:gd name="connsiteX80" fmla="*/ 1644 w 9760"/>
                <a:gd name="connsiteY80" fmla="*/ 3116 h 10000"/>
                <a:gd name="connsiteX81" fmla="*/ 1379 w 9760"/>
                <a:gd name="connsiteY81" fmla="*/ 3730 h 10000"/>
                <a:gd name="connsiteX82" fmla="*/ 1125 w 9760"/>
                <a:gd name="connsiteY82" fmla="*/ 4386 h 10000"/>
                <a:gd name="connsiteX83" fmla="*/ 885 w 9760"/>
                <a:gd name="connsiteY83" fmla="*/ 5062 h 10000"/>
                <a:gd name="connsiteX84" fmla="*/ 658 w 9760"/>
                <a:gd name="connsiteY84" fmla="*/ 5737 h 10000"/>
                <a:gd name="connsiteX85" fmla="*/ 431 w 9760"/>
                <a:gd name="connsiteY85" fmla="*/ 6455 h 10000"/>
                <a:gd name="connsiteX86" fmla="*/ 0 w 9760"/>
                <a:gd name="connsiteY86" fmla="*/ 7890 h 10000"/>
                <a:gd name="connsiteX0" fmla="*/ 0 w 9495"/>
                <a:gd name="connsiteY0" fmla="*/ 7890 h 10000"/>
                <a:gd name="connsiteX1" fmla="*/ 0 w 9495"/>
                <a:gd name="connsiteY1" fmla="*/ 7890 h 10000"/>
                <a:gd name="connsiteX2" fmla="*/ 324 w 9495"/>
                <a:gd name="connsiteY2" fmla="*/ 8955 h 10000"/>
                <a:gd name="connsiteX3" fmla="*/ 623 w 9495"/>
                <a:gd name="connsiteY3" fmla="*/ 10000 h 10000"/>
                <a:gd name="connsiteX4" fmla="*/ 920 w 9495"/>
                <a:gd name="connsiteY4" fmla="*/ 9222 h 10000"/>
                <a:gd name="connsiteX5" fmla="*/ 1192 w 9495"/>
                <a:gd name="connsiteY5" fmla="*/ 8403 h 10000"/>
                <a:gd name="connsiteX6" fmla="*/ 1476 w 9495"/>
                <a:gd name="connsiteY6" fmla="*/ 7602 h 10000"/>
                <a:gd name="connsiteX7" fmla="*/ 1722 w 9495"/>
                <a:gd name="connsiteY7" fmla="*/ 6782 h 10000"/>
                <a:gd name="connsiteX8" fmla="*/ 2215 w 9495"/>
                <a:gd name="connsiteY8" fmla="*/ 5165 h 10000"/>
                <a:gd name="connsiteX9" fmla="*/ 2462 w 9495"/>
                <a:gd name="connsiteY9" fmla="*/ 4386 h 10000"/>
                <a:gd name="connsiteX10" fmla="*/ 2695 w 9495"/>
                <a:gd name="connsiteY10" fmla="*/ 3647 h 10000"/>
                <a:gd name="connsiteX11" fmla="*/ 2940 w 9495"/>
                <a:gd name="connsiteY11" fmla="*/ 2972 h 10000"/>
                <a:gd name="connsiteX12" fmla="*/ 3186 w 9495"/>
                <a:gd name="connsiteY12" fmla="*/ 2357 h 10000"/>
                <a:gd name="connsiteX13" fmla="*/ 3316 w 9495"/>
                <a:gd name="connsiteY13" fmla="*/ 2048 h 10000"/>
                <a:gd name="connsiteX14" fmla="*/ 3446 w 9495"/>
                <a:gd name="connsiteY14" fmla="*/ 1803 h 10000"/>
                <a:gd name="connsiteX15" fmla="*/ 3588 w 9495"/>
                <a:gd name="connsiteY15" fmla="*/ 1536 h 10000"/>
                <a:gd name="connsiteX16" fmla="*/ 3717 w 9495"/>
                <a:gd name="connsiteY16" fmla="*/ 1312 h 10000"/>
                <a:gd name="connsiteX17" fmla="*/ 3860 w 9495"/>
                <a:gd name="connsiteY17" fmla="*/ 1109 h 10000"/>
                <a:gd name="connsiteX18" fmla="*/ 4003 w 9495"/>
                <a:gd name="connsiteY18" fmla="*/ 922 h 10000"/>
                <a:gd name="connsiteX19" fmla="*/ 4145 w 9495"/>
                <a:gd name="connsiteY19" fmla="*/ 758 h 10000"/>
                <a:gd name="connsiteX20" fmla="*/ 4301 w 9495"/>
                <a:gd name="connsiteY20" fmla="*/ 634 h 10000"/>
                <a:gd name="connsiteX21" fmla="*/ 4444 w 9495"/>
                <a:gd name="connsiteY21" fmla="*/ 512 h 10000"/>
                <a:gd name="connsiteX22" fmla="*/ 4598 w 9495"/>
                <a:gd name="connsiteY22" fmla="*/ 450 h 10000"/>
                <a:gd name="connsiteX23" fmla="*/ 4766 w 9495"/>
                <a:gd name="connsiteY23" fmla="*/ 388 h 10000"/>
                <a:gd name="connsiteX24" fmla="*/ 4935 w 9495"/>
                <a:gd name="connsiteY24" fmla="*/ 388 h 10000"/>
                <a:gd name="connsiteX25" fmla="*/ 5142 w 9495"/>
                <a:gd name="connsiteY25" fmla="*/ 410 h 10000"/>
                <a:gd name="connsiteX26" fmla="*/ 5349 w 9495"/>
                <a:gd name="connsiteY26" fmla="*/ 492 h 10000"/>
                <a:gd name="connsiteX27" fmla="*/ 5531 w 9495"/>
                <a:gd name="connsiteY27" fmla="*/ 634 h 10000"/>
                <a:gd name="connsiteX28" fmla="*/ 5726 w 9495"/>
                <a:gd name="connsiteY28" fmla="*/ 780 h 10000"/>
                <a:gd name="connsiteX29" fmla="*/ 5893 w 9495"/>
                <a:gd name="connsiteY29" fmla="*/ 985 h 10000"/>
                <a:gd name="connsiteX30" fmla="*/ 6075 w 9495"/>
                <a:gd name="connsiteY30" fmla="*/ 1250 h 10000"/>
                <a:gd name="connsiteX31" fmla="*/ 6231 w 9495"/>
                <a:gd name="connsiteY31" fmla="*/ 1536 h 10000"/>
                <a:gd name="connsiteX32" fmla="*/ 6412 w 9495"/>
                <a:gd name="connsiteY32" fmla="*/ 1864 h 10000"/>
                <a:gd name="connsiteX33" fmla="*/ 6555 w 9495"/>
                <a:gd name="connsiteY33" fmla="*/ 2213 h 10000"/>
                <a:gd name="connsiteX34" fmla="*/ 6710 w 9495"/>
                <a:gd name="connsiteY34" fmla="*/ 2602 h 10000"/>
                <a:gd name="connsiteX35" fmla="*/ 6852 w 9495"/>
                <a:gd name="connsiteY35" fmla="*/ 2990 h 10000"/>
                <a:gd name="connsiteX36" fmla="*/ 7020 w 9495"/>
                <a:gd name="connsiteY36" fmla="*/ 3424 h 10000"/>
                <a:gd name="connsiteX37" fmla="*/ 7305 w 9495"/>
                <a:gd name="connsiteY37" fmla="*/ 4344 h 10000"/>
                <a:gd name="connsiteX38" fmla="*/ 7603 w 9495"/>
                <a:gd name="connsiteY38" fmla="*/ 5328 h 10000"/>
                <a:gd name="connsiteX39" fmla="*/ 8199 w 9495"/>
                <a:gd name="connsiteY39" fmla="*/ 7398 h 10000"/>
                <a:gd name="connsiteX40" fmla="*/ 8524 w 9495"/>
                <a:gd name="connsiteY40" fmla="*/ 8464 h 10000"/>
                <a:gd name="connsiteX41" fmla="*/ 8847 w 9495"/>
                <a:gd name="connsiteY41" fmla="*/ 9465 h 10000"/>
                <a:gd name="connsiteX42" fmla="*/ 9028 w 9495"/>
                <a:gd name="connsiteY42" fmla="*/ 9980 h 10000"/>
                <a:gd name="connsiteX43" fmla="*/ 9495 w 9495"/>
                <a:gd name="connsiteY43" fmla="*/ 7110 h 10000"/>
                <a:gd name="connsiteX44" fmla="*/ 9236 w 9495"/>
                <a:gd name="connsiteY44" fmla="*/ 6230 h 10000"/>
                <a:gd name="connsiteX45" fmla="*/ 8951 w 9495"/>
                <a:gd name="connsiteY45" fmla="*/ 5349 h 10000"/>
                <a:gd name="connsiteX46" fmla="*/ 8666 w 9495"/>
                <a:gd name="connsiteY46" fmla="*/ 4528 h 10000"/>
                <a:gd name="connsiteX47" fmla="*/ 8343 w 9495"/>
                <a:gd name="connsiteY47" fmla="*/ 3730 h 10000"/>
                <a:gd name="connsiteX48" fmla="*/ 8185 w 9495"/>
                <a:gd name="connsiteY48" fmla="*/ 3340 h 10000"/>
                <a:gd name="connsiteX49" fmla="*/ 8018 w 9495"/>
                <a:gd name="connsiteY49" fmla="*/ 2972 h 10000"/>
                <a:gd name="connsiteX50" fmla="*/ 7849 w 9495"/>
                <a:gd name="connsiteY50" fmla="*/ 2602 h 10000"/>
                <a:gd name="connsiteX51" fmla="*/ 7669 w 9495"/>
                <a:gd name="connsiteY51" fmla="*/ 2252 h 10000"/>
                <a:gd name="connsiteX52" fmla="*/ 7488 w 9495"/>
                <a:gd name="connsiteY52" fmla="*/ 1925 h 10000"/>
                <a:gd name="connsiteX53" fmla="*/ 7293 w 9495"/>
                <a:gd name="connsiteY53" fmla="*/ 1641 h 10000"/>
                <a:gd name="connsiteX54" fmla="*/ 7085 w 9495"/>
                <a:gd name="connsiteY54" fmla="*/ 1334 h 10000"/>
                <a:gd name="connsiteX55" fmla="*/ 6891 w 9495"/>
                <a:gd name="connsiteY55" fmla="*/ 1086 h 10000"/>
                <a:gd name="connsiteX56" fmla="*/ 6671 w 9495"/>
                <a:gd name="connsiteY56" fmla="*/ 863 h 10000"/>
                <a:gd name="connsiteX57" fmla="*/ 6450 w 9495"/>
                <a:gd name="connsiteY57" fmla="*/ 656 h 10000"/>
                <a:gd name="connsiteX58" fmla="*/ 6217 w 9495"/>
                <a:gd name="connsiteY58" fmla="*/ 470 h 10000"/>
                <a:gd name="connsiteX59" fmla="*/ 5985 w 9495"/>
                <a:gd name="connsiteY59" fmla="*/ 307 h 10000"/>
                <a:gd name="connsiteX60" fmla="*/ 5739 w 9495"/>
                <a:gd name="connsiteY60" fmla="*/ 184 h 10000"/>
                <a:gd name="connsiteX61" fmla="*/ 5478 w 9495"/>
                <a:gd name="connsiteY61" fmla="*/ 101 h 10000"/>
                <a:gd name="connsiteX62" fmla="*/ 5207 w 9495"/>
                <a:gd name="connsiteY62" fmla="*/ 21 h 10000"/>
                <a:gd name="connsiteX63" fmla="*/ 4935 w 9495"/>
                <a:gd name="connsiteY63" fmla="*/ 0 h 10000"/>
                <a:gd name="connsiteX64" fmla="*/ 4701 w 9495"/>
                <a:gd name="connsiteY64" fmla="*/ 21 h 10000"/>
                <a:gd name="connsiteX65" fmla="*/ 4483 w 9495"/>
                <a:gd name="connsiteY65" fmla="*/ 61 h 10000"/>
                <a:gd name="connsiteX66" fmla="*/ 4262 w 9495"/>
                <a:gd name="connsiteY66" fmla="*/ 124 h 10000"/>
                <a:gd name="connsiteX67" fmla="*/ 4069 w 9495"/>
                <a:gd name="connsiteY67" fmla="*/ 184 h 10000"/>
                <a:gd name="connsiteX68" fmla="*/ 3860 w 9495"/>
                <a:gd name="connsiteY68" fmla="*/ 285 h 10000"/>
                <a:gd name="connsiteX69" fmla="*/ 3652 w 9495"/>
                <a:gd name="connsiteY69" fmla="*/ 388 h 10000"/>
                <a:gd name="connsiteX70" fmla="*/ 3472 w 9495"/>
                <a:gd name="connsiteY70" fmla="*/ 532 h 10000"/>
                <a:gd name="connsiteX71" fmla="*/ 3277 w 9495"/>
                <a:gd name="connsiteY71" fmla="*/ 698 h 10000"/>
                <a:gd name="connsiteX72" fmla="*/ 3110 w 9495"/>
                <a:gd name="connsiteY72" fmla="*/ 881 h 10000"/>
                <a:gd name="connsiteX73" fmla="*/ 2927 w 9495"/>
                <a:gd name="connsiteY73" fmla="*/ 1065 h 10000"/>
                <a:gd name="connsiteX74" fmla="*/ 2759 w 9495"/>
                <a:gd name="connsiteY74" fmla="*/ 1271 h 10000"/>
                <a:gd name="connsiteX75" fmla="*/ 2590 w 9495"/>
                <a:gd name="connsiteY75" fmla="*/ 1497 h 10000"/>
                <a:gd name="connsiteX76" fmla="*/ 2435 w 9495"/>
                <a:gd name="connsiteY76" fmla="*/ 1720 h 10000"/>
                <a:gd name="connsiteX77" fmla="*/ 2266 w 9495"/>
                <a:gd name="connsiteY77" fmla="*/ 1989 h 10000"/>
                <a:gd name="connsiteX78" fmla="*/ 1969 w 9495"/>
                <a:gd name="connsiteY78" fmla="*/ 2540 h 10000"/>
                <a:gd name="connsiteX79" fmla="*/ 1684 w 9495"/>
                <a:gd name="connsiteY79" fmla="*/ 3116 h 10000"/>
                <a:gd name="connsiteX80" fmla="*/ 1413 w 9495"/>
                <a:gd name="connsiteY80" fmla="*/ 3730 h 10000"/>
                <a:gd name="connsiteX81" fmla="*/ 1153 w 9495"/>
                <a:gd name="connsiteY81" fmla="*/ 4386 h 10000"/>
                <a:gd name="connsiteX82" fmla="*/ 907 w 9495"/>
                <a:gd name="connsiteY82" fmla="*/ 5062 h 10000"/>
                <a:gd name="connsiteX83" fmla="*/ 674 w 9495"/>
                <a:gd name="connsiteY83" fmla="*/ 5737 h 10000"/>
                <a:gd name="connsiteX84" fmla="*/ 442 w 9495"/>
                <a:gd name="connsiteY84" fmla="*/ 6455 h 10000"/>
                <a:gd name="connsiteX85" fmla="*/ 0 w 9495"/>
                <a:gd name="connsiteY8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9318 w 10000"/>
                <a:gd name="connsiteY41" fmla="*/ 9465 h 10000"/>
                <a:gd name="connsiteX42" fmla="*/ 10000 w 10000"/>
                <a:gd name="connsiteY42" fmla="*/ 7110 h 10000"/>
                <a:gd name="connsiteX43" fmla="*/ 9727 w 10000"/>
                <a:gd name="connsiteY43" fmla="*/ 6230 h 10000"/>
                <a:gd name="connsiteX44" fmla="*/ 9427 w 10000"/>
                <a:gd name="connsiteY44" fmla="*/ 5349 h 10000"/>
                <a:gd name="connsiteX45" fmla="*/ 9127 w 10000"/>
                <a:gd name="connsiteY45" fmla="*/ 4528 h 10000"/>
                <a:gd name="connsiteX46" fmla="*/ 8787 w 10000"/>
                <a:gd name="connsiteY46" fmla="*/ 3730 h 10000"/>
                <a:gd name="connsiteX47" fmla="*/ 8620 w 10000"/>
                <a:gd name="connsiteY47" fmla="*/ 3340 h 10000"/>
                <a:gd name="connsiteX48" fmla="*/ 8444 w 10000"/>
                <a:gd name="connsiteY48" fmla="*/ 2972 h 10000"/>
                <a:gd name="connsiteX49" fmla="*/ 8266 w 10000"/>
                <a:gd name="connsiteY49" fmla="*/ 2602 h 10000"/>
                <a:gd name="connsiteX50" fmla="*/ 8077 w 10000"/>
                <a:gd name="connsiteY50" fmla="*/ 2252 h 10000"/>
                <a:gd name="connsiteX51" fmla="*/ 7886 w 10000"/>
                <a:gd name="connsiteY51" fmla="*/ 1925 h 10000"/>
                <a:gd name="connsiteX52" fmla="*/ 7681 w 10000"/>
                <a:gd name="connsiteY52" fmla="*/ 1641 h 10000"/>
                <a:gd name="connsiteX53" fmla="*/ 7462 w 10000"/>
                <a:gd name="connsiteY53" fmla="*/ 1334 h 10000"/>
                <a:gd name="connsiteX54" fmla="*/ 7258 w 10000"/>
                <a:gd name="connsiteY54" fmla="*/ 1086 h 10000"/>
                <a:gd name="connsiteX55" fmla="*/ 7026 w 10000"/>
                <a:gd name="connsiteY55" fmla="*/ 863 h 10000"/>
                <a:gd name="connsiteX56" fmla="*/ 6793 w 10000"/>
                <a:gd name="connsiteY56" fmla="*/ 656 h 10000"/>
                <a:gd name="connsiteX57" fmla="*/ 6548 w 10000"/>
                <a:gd name="connsiteY57" fmla="*/ 470 h 10000"/>
                <a:gd name="connsiteX58" fmla="*/ 6303 w 10000"/>
                <a:gd name="connsiteY58" fmla="*/ 307 h 10000"/>
                <a:gd name="connsiteX59" fmla="*/ 6044 w 10000"/>
                <a:gd name="connsiteY59" fmla="*/ 184 h 10000"/>
                <a:gd name="connsiteX60" fmla="*/ 5769 w 10000"/>
                <a:gd name="connsiteY60" fmla="*/ 101 h 10000"/>
                <a:gd name="connsiteX61" fmla="*/ 5484 w 10000"/>
                <a:gd name="connsiteY61" fmla="*/ 21 h 10000"/>
                <a:gd name="connsiteX62" fmla="*/ 5197 w 10000"/>
                <a:gd name="connsiteY62" fmla="*/ 0 h 10000"/>
                <a:gd name="connsiteX63" fmla="*/ 4951 w 10000"/>
                <a:gd name="connsiteY63" fmla="*/ 21 h 10000"/>
                <a:gd name="connsiteX64" fmla="*/ 4721 w 10000"/>
                <a:gd name="connsiteY64" fmla="*/ 61 h 10000"/>
                <a:gd name="connsiteX65" fmla="*/ 4489 w 10000"/>
                <a:gd name="connsiteY65" fmla="*/ 124 h 10000"/>
                <a:gd name="connsiteX66" fmla="*/ 4285 w 10000"/>
                <a:gd name="connsiteY66" fmla="*/ 184 h 10000"/>
                <a:gd name="connsiteX67" fmla="*/ 4065 w 10000"/>
                <a:gd name="connsiteY67" fmla="*/ 285 h 10000"/>
                <a:gd name="connsiteX68" fmla="*/ 3846 w 10000"/>
                <a:gd name="connsiteY68" fmla="*/ 388 h 10000"/>
                <a:gd name="connsiteX69" fmla="*/ 3657 w 10000"/>
                <a:gd name="connsiteY69" fmla="*/ 532 h 10000"/>
                <a:gd name="connsiteX70" fmla="*/ 3451 w 10000"/>
                <a:gd name="connsiteY70" fmla="*/ 698 h 10000"/>
                <a:gd name="connsiteX71" fmla="*/ 3275 w 10000"/>
                <a:gd name="connsiteY71" fmla="*/ 881 h 10000"/>
                <a:gd name="connsiteX72" fmla="*/ 3083 w 10000"/>
                <a:gd name="connsiteY72" fmla="*/ 1065 h 10000"/>
                <a:gd name="connsiteX73" fmla="*/ 2906 w 10000"/>
                <a:gd name="connsiteY73" fmla="*/ 1271 h 10000"/>
                <a:gd name="connsiteX74" fmla="*/ 2728 w 10000"/>
                <a:gd name="connsiteY74" fmla="*/ 1497 h 10000"/>
                <a:gd name="connsiteX75" fmla="*/ 2565 w 10000"/>
                <a:gd name="connsiteY75" fmla="*/ 1720 h 10000"/>
                <a:gd name="connsiteX76" fmla="*/ 2387 w 10000"/>
                <a:gd name="connsiteY76" fmla="*/ 1989 h 10000"/>
                <a:gd name="connsiteX77" fmla="*/ 2074 w 10000"/>
                <a:gd name="connsiteY77" fmla="*/ 2540 h 10000"/>
                <a:gd name="connsiteX78" fmla="*/ 1774 w 10000"/>
                <a:gd name="connsiteY78" fmla="*/ 3116 h 10000"/>
                <a:gd name="connsiteX79" fmla="*/ 1488 w 10000"/>
                <a:gd name="connsiteY79" fmla="*/ 3730 h 10000"/>
                <a:gd name="connsiteX80" fmla="*/ 1214 w 10000"/>
                <a:gd name="connsiteY80" fmla="*/ 4386 h 10000"/>
                <a:gd name="connsiteX81" fmla="*/ 955 w 10000"/>
                <a:gd name="connsiteY81" fmla="*/ 5062 h 10000"/>
                <a:gd name="connsiteX82" fmla="*/ 710 w 10000"/>
                <a:gd name="connsiteY82" fmla="*/ 5737 h 10000"/>
                <a:gd name="connsiteX83" fmla="*/ 466 w 10000"/>
                <a:gd name="connsiteY83" fmla="*/ 6455 h 10000"/>
                <a:gd name="connsiteX84" fmla="*/ 0 w 10000"/>
                <a:gd name="connsiteY8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41 w 10000"/>
                <a:gd name="connsiteY2" fmla="*/ 8955 h 10000"/>
                <a:gd name="connsiteX3" fmla="*/ 656 w 10000"/>
                <a:gd name="connsiteY3" fmla="*/ 10000 h 10000"/>
                <a:gd name="connsiteX4" fmla="*/ 969 w 10000"/>
                <a:gd name="connsiteY4" fmla="*/ 9222 h 10000"/>
                <a:gd name="connsiteX5" fmla="*/ 1255 w 10000"/>
                <a:gd name="connsiteY5" fmla="*/ 8403 h 10000"/>
                <a:gd name="connsiteX6" fmla="*/ 1555 w 10000"/>
                <a:gd name="connsiteY6" fmla="*/ 7602 h 10000"/>
                <a:gd name="connsiteX7" fmla="*/ 1814 w 10000"/>
                <a:gd name="connsiteY7" fmla="*/ 6782 h 10000"/>
                <a:gd name="connsiteX8" fmla="*/ 2333 w 10000"/>
                <a:gd name="connsiteY8" fmla="*/ 5165 h 10000"/>
                <a:gd name="connsiteX9" fmla="*/ 2593 w 10000"/>
                <a:gd name="connsiteY9" fmla="*/ 4386 h 10000"/>
                <a:gd name="connsiteX10" fmla="*/ 2838 w 10000"/>
                <a:gd name="connsiteY10" fmla="*/ 3647 h 10000"/>
                <a:gd name="connsiteX11" fmla="*/ 3096 w 10000"/>
                <a:gd name="connsiteY11" fmla="*/ 2972 h 10000"/>
                <a:gd name="connsiteX12" fmla="*/ 3355 w 10000"/>
                <a:gd name="connsiteY12" fmla="*/ 2357 h 10000"/>
                <a:gd name="connsiteX13" fmla="*/ 3492 w 10000"/>
                <a:gd name="connsiteY13" fmla="*/ 2048 h 10000"/>
                <a:gd name="connsiteX14" fmla="*/ 3629 w 10000"/>
                <a:gd name="connsiteY14" fmla="*/ 1803 h 10000"/>
                <a:gd name="connsiteX15" fmla="*/ 3779 w 10000"/>
                <a:gd name="connsiteY15" fmla="*/ 1536 h 10000"/>
                <a:gd name="connsiteX16" fmla="*/ 3915 w 10000"/>
                <a:gd name="connsiteY16" fmla="*/ 1312 h 10000"/>
                <a:gd name="connsiteX17" fmla="*/ 4065 w 10000"/>
                <a:gd name="connsiteY17" fmla="*/ 1109 h 10000"/>
                <a:gd name="connsiteX18" fmla="*/ 4216 w 10000"/>
                <a:gd name="connsiteY18" fmla="*/ 922 h 10000"/>
                <a:gd name="connsiteX19" fmla="*/ 4365 w 10000"/>
                <a:gd name="connsiteY19" fmla="*/ 758 h 10000"/>
                <a:gd name="connsiteX20" fmla="*/ 4530 w 10000"/>
                <a:gd name="connsiteY20" fmla="*/ 634 h 10000"/>
                <a:gd name="connsiteX21" fmla="*/ 4680 w 10000"/>
                <a:gd name="connsiteY21" fmla="*/ 512 h 10000"/>
                <a:gd name="connsiteX22" fmla="*/ 4843 w 10000"/>
                <a:gd name="connsiteY22" fmla="*/ 450 h 10000"/>
                <a:gd name="connsiteX23" fmla="*/ 5019 w 10000"/>
                <a:gd name="connsiteY23" fmla="*/ 388 h 10000"/>
                <a:gd name="connsiteX24" fmla="*/ 5197 w 10000"/>
                <a:gd name="connsiteY24" fmla="*/ 388 h 10000"/>
                <a:gd name="connsiteX25" fmla="*/ 5415 w 10000"/>
                <a:gd name="connsiteY25" fmla="*/ 410 h 10000"/>
                <a:gd name="connsiteX26" fmla="*/ 5633 w 10000"/>
                <a:gd name="connsiteY26" fmla="*/ 492 h 10000"/>
                <a:gd name="connsiteX27" fmla="*/ 5825 w 10000"/>
                <a:gd name="connsiteY27" fmla="*/ 634 h 10000"/>
                <a:gd name="connsiteX28" fmla="*/ 6031 w 10000"/>
                <a:gd name="connsiteY28" fmla="*/ 780 h 10000"/>
                <a:gd name="connsiteX29" fmla="*/ 6206 w 10000"/>
                <a:gd name="connsiteY29" fmla="*/ 985 h 10000"/>
                <a:gd name="connsiteX30" fmla="*/ 6398 w 10000"/>
                <a:gd name="connsiteY30" fmla="*/ 1250 h 10000"/>
                <a:gd name="connsiteX31" fmla="*/ 6562 w 10000"/>
                <a:gd name="connsiteY31" fmla="*/ 1536 h 10000"/>
                <a:gd name="connsiteX32" fmla="*/ 6753 w 10000"/>
                <a:gd name="connsiteY32" fmla="*/ 1864 h 10000"/>
                <a:gd name="connsiteX33" fmla="*/ 6904 w 10000"/>
                <a:gd name="connsiteY33" fmla="*/ 2213 h 10000"/>
                <a:gd name="connsiteX34" fmla="*/ 7067 w 10000"/>
                <a:gd name="connsiteY34" fmla="*/ 2602 h 10000"/>
                <a:gd name="connsiteX35" fmla="*/ 7216 w 10000"/>
                <a:gd name="connsiteY35" fmla="*/ 2990 h 10000"/>
                <a:gd name="connsiteX36" fmla="*/ 7393 w 10000"/>
                <a:gd name="connsiteY36" fmla="*/ 3424 h 10000"/>
                <a:gd name="connsiteX37" fmla="*/ 7694 w 10000"/>
                <a:gd name="connsiteY37" fmla="*/ 4344 h 10000"/>
                <a:gd name="connsiteX38" fmla="*/ 8007 w 10000"/>
                <a:gd name="connsiteY38" fmla="*/ 5328 h 10000"/>
                <a:gd name="connsiteX39" fmla="*/ 8635 w 10000"/>
                <a:gd name="connsiteY39" fmla="*/ 7398 h 10000"/>
                <a:gd name="connsiteX40" fmla="*/ 8977 w 10000"/>
                <a:gd name="connsiteY40" fmla="*/ 8464 h 10000"/>
                <a:gd name="connsiteX41" fmla="*/ 10000 w 10000"/>
                <a:gd name="connsiteY41" fmla="*/ 7110 h 10000"/>
                <a:gd name="connsiteX42" fmla="*/ 9727 w 10000"/>
                <a:gd name="connsiteY42" fmla="*/ 6230 h 10000"/>
                <a:gd name="connsiteX43" fmla="*/ 9427 w 10000"/>
                <a:gd name="connsiteY43" fmla="*/ 5349 h 10000"/>
                <a:gd name="connsiteX44" fmla="*/ 9127 w 10000"/>
                <a:gd name="connsiteY44" fmla="*/ 4528 h 10000"/>
                <a:gd name="connsiteX45" fmla="*/ 8787 w 10000"/>
                <a:gd name="connsiteY45" fmla="*/ 3730 h 10000"/>
                <a:gd name="connsiteX46" fmla="*/ 8620 w 10000"/>
                <a:gd name="connsiteY46" fmla="*/ 3340 h 10000"/>
                <a:gd name="connsiteX47" fmla="*/ 8444 w 10000"/>
                <a:gd name="connsiteY47" fmla="*/ 2972 h 10000"/>
                <a:gd name="connsiteX48" fmla="*/ 8266 w 10000"/>
                <a:gd name="connsiteY48" fmla="*/ 2602 h 10000"/>
                <a:gd name="connsiteX49" fmla="*/ 8077 w 10000"/>
                <a:gd name="connsiteY49" fmla="*/ 2252 h 10000"/>
                <a:gd name="connsiteX50" fmla="*/ 7886 w 10000"/>
                <a:gd name="connsiteY50" fmla="*/ 1925 h 10000"/>
                <a:gd name="connsiteX51" fmla="*/ 7681 w 10000"/>
                <a:gd name="connsiteY51" fmla="*/ 1641 h 10000"/>
                <a:gd name="connsiteX52" fmla="*/ 7462 w 10000"/>
                <a:gd name="connsiteY52" fmla="*/ 1334 h 10000"/>
                <a:gd name="connsiteX53" fmla="*/ 7258 w 10000"/>
                <a:gd name="connsiteY53" fmla="*/ 1086 h 10000"/>
                <a:gd name="connsiteX54" fmla="*/ 7026 w 10000"/>
                <a:gd name="connsiteY54" fmla="*/ 863 h 10000"/>
                <a:gd name="connsiteX55" fmla="*/ 6793 w 10000"/>
                <a:gd name="connsiteY55" fmla="*/ 656 h 10000"/>
                <a:gd name="connsiteX56" fmla="*/ 6548 w 10000"/>
                <a:gd name="connsiteY56" fmla="*/ 470 h 10000"/>
                <a:gd name="connsiteX57" fmla="*/ 6303 w 10000"/>
                <a:gd name="connsiteY57" fmla="*/ 307 h 10000"/>
                <a:gd name="connsiteX58" fmla="*/ 6044 w 10000"/>
                <a:gd name="connsiteY58" fmla="*/ 184 h 10000"/>
                <a:gd name="connsiteX59" fmla="*/ 5769 w 10000"/>
                <a:gd name="connsiteY59" fmla="*/ 101 h 10000"/>
                <a:gd name="connsiteX60" fmla="*/ 5484 w 10000"/>
                <a:gd name="connsiteY60" fmla="*/ 21 h 10000"/>
                <a:gd name="connsiteX61" fmla="*/ 5197 w 10000"/>
                <a:gd name="connsiteY61" fmla="*/ 0 h 10000"/>
                <a:gd name="connsiteX62" fmla="*/ 4951 w 10000"/>
                <a:gd name="connsiteY62" fmla="*/ 21 h 10000"/>
                <a:gd name="connsiteX63" fmla="*/ 4721 w 10000"/>
                <a:gd name="connsiteY63" fmla="*/ 61 h 10000"/>
                <a:gd name="connsiteX64" fmla="*/ 4489 w 10000"/>
                <a:gd name="connsiteY64" fmla="*/ 124 h 10000"/>
                <a:gd name="connsiteX65" fmla="*/ 4285 w 10000"/>
                <a:gd name="connsiteY65" fmla="*/ 184 h 10000"/>
                <a:gd name="connsiteX66" fmla="*/ 4065 w 10000"/>
                <a:gd name="connsiteY66" fmla="*/ 285 h 10000"/>
                <a:gd name="connsiteX67" fmla="*/ 3846 w 10000"/>
                <a:gd name="connsiteY67" fmla="*/ 388 h 10000"/>
                <a:gd name="connsiteX68" fmla="*/ 3657 w 10000"/>
                <a:gd name="connsiteY68" fmla="*/ 532 h 10000"/>
                <a:gd name="connsiteX69" fmla="*/ 3451 w 10000"/>
                <a:gd name="connsiteY69" fmla="*/ 698 h 10000"/>
                <a:gd name="connsiteX70" fmla="*/ 3275 w 10000"/>
                <a:gd name="connsiteY70" fmla="*/ 881 h 10000"/>
                <a:gd name="connsiteX71" fmla="*/ 3083 w 10000"/>
                <a:gd name="connsiteY71" fmla="*/ 1065 h 10000"/>
                <a:gd name="connsiteX72" fmla="*/ 2906 w 10000"/>
                <a:gd name="connsiteY72" fmla="*/ 1271 h 10000"/>
                <a:gd name="connsiteX73" fmla="*/ 2728 w 10000"/>
                <a:gd name="connsiteY73" fmla="*/ 1497 h 10000"/>
                <a:gd name="connsiteX74" fmla="*/ 2565 w 10000"/>
                <a:gd name="connsiteY74" fmla="*/ 1720 h 10000"/>
                <a:gd name="connsiteX75" fmla="*/ 2387 w 10000"/>
                <a:gd name="connsiteY75" fmla="*/ 1989 h 10000"/>
                <a:gd name="connsiteX76" fmla="*/ 2074 w 10000"/>
                <a:gd name="connsiteY76" fmla="*/ 2540 h 10000"/>
                <a:gd name="connsiteX77" fmla="*/ 1774 w 10000"/>
                <a:gd name="connsiteY77" fmla="*/ 3116 h 10000"/>
                <a:gd name="connsiteX78" fmla="*/ 1488 w 10000"/>
                <a:gd name="connsiteY78" fmla="*/ 3730 h 10000"/>
                <a:gd name="connsiteX79" fmla="*/ 1214 w 10000"/>
                <a:gd name="connsiteY79" fmla="*/ 4386 h 10000"/>
                <a:gd name="connsiteX80" fmla="*/ 955 w 10000"/>
                <a:gd name="connsiteY80" fmla="*/ 5062 h 10000"/>
                <a:gd name="connsiteX81" fmla="*/ 710 w 10000"/>
                <a:gd name="connsiteY81" fmla="*/ 5737 h 10000"/>
                <a:gd name="connsiteX82" fmla="*/ 466 w 10000"/>
                <a:gd name="connsiteY82" fmla="*/ 6455 h 10000"/>
                <a:gd name="connsiteX83" fmla="*/ 0 w 10000"/>
                <a:gd name="connsiteY83" fmla="*/ 7890 h 10000"/>
                <a:gd name="connsiteX0" fmla="*/ 0 w 9727"/>
                <a:gd name="connsiteY0" fmla="*/ 7890 h 10000"/>
                <a:gd name="connsiteX1" fmla="*/ 0 w 9727"/>
                <a:gd name="connsiteY1" fmla="*/ 7890 h 10000"/>
                <a:gd name="connsiteX2" fmla="*/ 341 w 9727"/>
                <a:gd name="connsiteY2" fmla="*/ 8955 h 10000"/>
                <a:gd name="connsiteX3" fmla="*/ 656 w 9727"/>
                <a:gd name="connsiteY3" fmla="*/ 10000 h 10000"/>
                <a:gd name="connsiteX4" fmla="*/ 969 w 9727"/>
                <a:gd name="connsiteY4" fmla="*/ 9222 h 10000"/>
                <a:gd name="connsiteX5" fmla="*/ 1255 w 9727"/>
                <a:gd name="connsiteY5" fmla="*/ 8403 h 10000"/>
                <a:gd name="connsiteX6" fmla="*/ 1555 w 9727"/>
                <a:gd name="connsiteY6" fmla="*/ 7602 h 10000"/>
                <a:gd name="connsiteX7" fmla="*/ 1814 w 9727"/>
                <a:gd name="connsiteY7" fmla="*/ 6782 h 10000"/>
                <a:gd name="connsiteX8" fmla="*/ 2333 w 9727"/>
                <a:gd name="connsiteY8" fmla="*/ 5165 h 10000"/>
                <a:gd name="connsiteX9" fmla="*/ 2593 w 9727"/>
                <a:gd name="connsiteY9" fmla="*/ 4386 h 10000"/>
                <a:gd name="connsiteX10" fmla="*/ 2838 w 9727"/>
                <a:gd name="connsiteY10" fmla="*/ 3647 h 10000"/>
                <a:gd name="connsiteX11" fmla="*/ 3096 w 9727"/>
                <a:gd name="connsiteY11" fmla="*/ 2972 h 10000"/>
                <a:gd name="connsiteX12" fmla="*/ 3355 w 9727"/>
                <a:gd name="connsiteY12" fmla="*/ 2357 h 10000"/>
                <a:gd name="connsiteX13" fmla="*/ 3492 w 9727"/>
                <a:gd name="connsiteY13" fmla="*/ 2048 h 10000"/>
                <a:gd name="connsiteX14" fmla="*/ 3629 w 9727"/>
                <a:gd name="connsiteY14" fmla="*/ 1803 h 10000"/>
                <a:gd name="connsiteX15" fmla="*/ 3779 w 9727"/>
                <a:gd name="connsiteY15" fmla="*/ 1536 h 10000"/>
                <a:gd name="connsiteX16" fmla="*/ 3915 w 9727"/>
                <a:gd name="connsiteY16" fmla="*/ 1312 h 10000"/>
                <a:gd name="connsiteX17" fmla="*/ 4065 w 9727"/>
                <a:gd name="connsiteY17" fmla="*/ 1109 h 10000"/>
                <a:gd name="connsiteX18" fmla="*/ 4216 w 9727"/>
                <a:gd name="connsiteY18" fmla="*/ 922 h 10000"/>
                <a:gd name="connsiteX19" fmla="*/ 4365 w 9727"/>
                <a:gd name="connsiteY19" fmla="*/ 758 h 10000"/>
                <a:gd name="connsiteX20" fmla="*/ 4530 w 9727"/>
                <a:gd name="connsiteY20" fmla="*/ 634 h 10000"/>
                <a:gd name="connsiteX21" fmla="*/ 4680 w 9727"/>
                <a:gd name="connsiteY21" fmla="*/ 512 h 10000"/>
                <a:gd name="connsiteX22" fmla="*/ 4843 w 9727"/>
                <a:gd name="connsiteY22" fmla="*/ 450 h 10000"/>
                <a:gd name="connsiteX23" fmla="*/ 5019 w 9727"/>
                <a:gd name="connsiteY23" fmla="*/ 388 h 10000"/>
                <a:gd name="connsiteX24" fmla="*/ 5197 w 9727"/>
                <a:gd name="connsiteY24" fmla="*/ 388 h 10000"/>
                <a:gd name="connsiteX25" fmla="*/ 5415 w 9727"/>
                <a:gd name="connsiteY25" fmla="*/ 410 h 10000"/>
                <a:gd name="connsiteX26" fmla="*/ 5633 w 9727"/>
                <a:gd name="connsiteY26" fmla="*/ 492 h 10000"/>
                <a:gd name="connsiteX27" fmla="*/ 5825 w 9727"/>
                <a:gd name="connsiteY27" fmla="*/ 634 h 10000"/>
                <a:gd name="connsiteX28" fmla="*/ 6031 w 9727"/>
                <a:gd name="connsiteY28" fmla="*/ 780 h 10000"/>
                <a:gd name="connsiteX29" fmla="*/ 6206 w 9727"/>
                <a:gd name="connsiteY29" fmla="*/ 985 h 10000"/>
                <a:gd name="connsiteX30" fmla="*/ 6398 w 9727"/>
                <a:gd name="connsiteY30" fmla="*/ 1250 h 10000"/>
                <a:gd name="connsiteX31" fmla="*/ 6562 w 9727"/>
                <a:gd name="connsiteY31" fmla="*/ 1536 h 10000"/>
                <a:gd name="connsiteX32" fmla="*/ 6753 w 9727"/>
                <a:gd name="connsiteY32" fmla="*/ 1864 h 10000"/>
                <a:gd name="connsiteX33" fmla="*/ 6904 w 9727"/>
                <a:gd name="connsiteY33" fmla="*/ 2213 h 10000"/>
                <a:gd name="connsiteX34" fmla="*/ 7067 w 9727"/>
                <a:gd name="connsiteY34" fmla="*/ 2602 h 10000"/>
                <a:gd name="connsiteX35" fmla="*/ 7216 w 9727"/>
                <a:gd name="connsiteY35" fmla="*/ 2990 h 10000"/>
                <a:gd name="connsiteX36" fmla="*/ 7393 w 9727"/>
                <a:gd name="connsiteY36" fmla="*/ 3424 h 10000"/>
                <a:gd name="connsiteX37" fmla="*/ 7694 w 9727"/>
                <a:gd name="connsiteY37" fmla="*/ 4344 h 10000"/>
                <a:gd name="connsiteX38" fmla="*/ 8007 w 9727"/>
                <a:gd name="connsiteY38" fmla="*/ 5328 h 10000"/>
                <a:gd name="connsiteX39" fmla="*/ 8635 w 9727"/>
                <a:gd name="connsiteY39" fmla="*/ 7398 h 10000"/>
                <a:gd name="connsiteX40" fmla="*/ 8977 w 9727"/>
                <a:gd name="connsiteY40" fmla="*/ 8464 h 10000"/>
                <a:gd name="connsiteX41" fmla="*/ 9727 w 9727"/>
                <a:gd name="connsiteY41" fmla="*/ 6230 h 10000"/>
                <a:gd name="connsiteX42" fmla="*/ 9427 w 9727"/>
                <a:gd name="connsiteY42" fmla="*/ 5349 h 10000"/>
                <a:gd name="connsiteX43" fmla="*/ 9127 w 9727"/>
                <a:gd name="connsiteY43" fmla="*/ 4528 h 10000"/>
                <a:gd name="connsiteX44" fmla="*/ 8787 w 9727"/>
                <a:gd name="connsiteY44" fmla="*/ 3730 h 10000"/>
                <a:gd name="connsiteX45" fmla="*/ 8620 w 9727"/>
                <a:gd name="connsiteY45" fmla="*/ 3340 h 10000"/>
                <a:gd name="connsiteX46" fmla="*/ 8444 w 9727"/>
                <a:gd name="connsiteY46" fmla="*/ 2972 h 10000"/>
                <a:gd name="connsiteX47" fmla="*/ 8266 w 9727"/>
                <a:gd name="connsiteY47" fmla="*/ 2602 h 10000"/>
                <a:gd name="connsiteX48" fmla="*/ 8077 w 9727"/>
                <a:gd name="connsiteY48" fmla="*/ 2252 h 10000"/>
                <a:gd name="connsiteX49" fmla="*/ 7886 w 9727"/>
                <a:gd name="connsiteY49" fmla="*/ 1925 h 10000"/>
                <a:gd name="connsiteX50" fmla="*/ 7681 w 9727"/>
                <a:gd name="connsiteY50" fmla="*/ 1641 h 10000"/>
                <a:gd name="connsiteX51" fmla="*/ 7462 w 9727"/>
                <a:gd name="connsiteY51" fmla="*/ 1334 h 10000"/>
                <a:gd name="connsiteX52" fmla="*/ 7258 w 9727"/>
                <a:gd name="connsiteY52" fmla="*/ 1086 h 10000"/>
                <a:gd name="connsiteX53" fmla="*/ 7026 w 9727"/>
                <a:gd name="connsiteY53" fmla="*/ 863 h 10000"/>
                <a:gd name="connsiteX54" fmla="*/ 6793 w 9727"/>
                <a:gd name="connsiteY54" fmla="*/ 656 h 10000"/>
                <a:gd name="connsiteX55" fmla="*/ 6548 w 9727"/>
                <a:gd name="connsiteY55" fmla="*/ 470 h 10000"/>
                <a:gd name="connsiteX56" fmla="*/ 6303 w 9727"/>
                <a:gd name="connsiteY56" fmla="*/ 307 h 10000"/>
                <a:gd name="connsiteX57" fmla="*/ 6044 w 9727"/>
                <a:gd name="connsiteY57" fmla="*/ 184 h 10000"/>
                <a:gd name="connsiteX58" fmla="*/ 5769 w 9727"/>
                <a:gd name="connsiteY58" fmla="*/ 101 h 10000"/>
                <a:gd name="connsiteX59" fmla="*/ 5484 w 9727"/>
                <a:gd name="connsiteY59" fmla="*/ 21 h 10000"/>
                <a:gd name="connsiteX60" fmla="*/ 5197 w 9727"/>
                <a:gd name="connsiteY60" fmla="*/ 0 h 10000"/>
                <a:gd name="connsiteX61" fmla="*/ 4951 w 9727"/>
                <a:gd name="connsiteY61" fmla="*/ 21 h 10000"/>
                <a:gd name="connsiteX62" fmla="*/ 4721 w 9727"/>
                <a:gd name="connsiteY62" fmla="*/ 61 h 10000"/>
                <a:gd name="connsiteX63" fmla="*/ 4489 w 9727"/>
                <a:gd name="connsiteY63" fmla="*/ 124 h 10000"/>
                <a:gd name="connsiteX64" fmla="*/ 4285 w 9727"/>
                <a:gd name="connsiteY64" fmla="*/ 184 h 10000"/>
                <a:gd name="connsiteX65" fmla="*/ 4065 w 9727"/>
                <a:gd name="connsiteY65" fmla="*/ 285 h 10000"/>
                <a:gd name="connsiteX66" fmla="*/ 3846 w 9727"/>
                <a:gd name="connsiteY66" fmla="*/ 388 h 10000"/>
                <a:gd name="connsiteX67" fmla="*/ 3657 w 9727"/>
                <a:gd name="connsiteY67" fmla="*/ 532 h 10000"/>
                <a:gd name="connsiteX68" fmla="*/ 3451 w 9727"/>
                <a:gd name="connsiteY68" fmla="*/ 698 h 10000"/>
                <a:gd name="connsiteX69" fmla="*/ 3275 w 9727"/>
                <a:gd name="connsiteY69" fmla="*/ 881 h 10000"/>
                <a:gd name="connsiteX70" fmla="*/ 3083 w 9727"/>
                <a:gd name="connsiteY70" fmla="*/ 1065 h 10000"/>
                <a:gd name="connsiteX71" fmla="*/ 2906 w 9727"/>
                <a:gd name="connsiteY71" fmla="*/ 1271 h 10000"/>
                <a:gd name="connsiteX72" fmla="*/ 2728 w 9727"/>
                <a:gd name="connsiteY72" fmla="*/ 1497 h 10000"/>
                <a:gd name="connsiteX73" fmla="*/ 2565 w 9727"/>
                <a:gd name="connsiteY73" fmla="*/ 1720 h 10000"/>
                <a:gd name="connsiteX74" fmla="*/ 2387 w 9727"/>
                <a:gd name="connsiteY74" fmla="*/ 1989 h 10000"/>
                <a:gd name="connsiteX75" fmla="*/ 2074 w 9727"/>
                <a:gd name="connsiteY75" fmla="*/ 2540 h 10000"/>
                <a:gd name="connsiteX76" fmla="*/ 1774 w 9727"/>
                <a:gd name="connsiteY76" fmla="*/ 3116 h 10000"/>
                <a:gd name="connsiteX77" fmla="*/ 1488 w 9727"/>
                <a:gd name="connsiteY77" fmla="*/ 3730 h 10000"/>
                <a:gd name="connsiteX78" fmla="*/ 1214 w 9727"/>
                <a:gd name="connsiteY78" fmla="*/ 4386 h 10000"/>
                <a:gd name="connsiteX79" fmla="*/ 955 w 9727"/>
                <a:gd name="connsiteY79" fmla="*/ 5062 h 10000"/>
                <a:gd name="connsiteX80" fmla="*/ 710 w 9727"/>
                <a:gd name="connsiteY80" fmla="*/ 5737 h 10000"/>
                <a:gd name="connsiteX81" fmla="*/ 466 w 9727"/>
                <a:gd name="connsiteY81" fmla="*/ 6455 h 10000"/>
                <a:gd name="connsiteX82" fmla="*/ 0 w 9727"/>
                <a:gd name="connsiteY82" fmla="*/ 7890 h 10000"/>
                <a:gd name="connsiteX0" fmla="*/ 0 w 9692"/>
                <a:gd name="connsiteY0" fmla="*/ 7890 h 10000"/>
                <a:gd name="connsiteX1" fmla="*/ 0 w 9692"/>
                <a:gd name="connsiteY1" fmla="*/ 7890 h 10000"/>
                <a:gd name="connsiteX2" fmla="*/ 351 w 9692"/>
                <a:gd name="connsiteY2" fmla="*/ 8955 h 10000"/>
                <a:gd name="connsiteX3" fmla="*/ 674 w 9692"/>
                <a:gd name="connsiteY3" fmla="*/ 10000 h 10000"/>
                <a:gd name="connsiteX4" fmla="*/ 996 w 9692"/>
                <a:gd name="connsiteY4" fmla="*/ 9222 h 10000"/>
                <a:gd name="connsiteX5" fmla="*/ 1290 w 9692"/>
                <a:gd name="connsiteY5" fmla="*/ 8403 h 10000"/>
                <a:gd name="connsiteX6" fmla="*/ 1599 w 9692"/>
                <a:gd name="connsiteY6" fmla="*/ 7602 h 10000"/>
                <a:gd name="connsiteX7" fmla="*/ 1865 w 9692"/>
                <a:gd name="connsiteY7" fmla="*/ 6782 h 10000"/>
                <a:gd name="connsiteX8" fmla="*/ 2398 w 9692"/>
                <a:gd name="connsiteY8" fmla="*/ 5165 h 10000"/>
                <a:gd name="connsiteX9" fmla="*/ 2666 w 9692"/>
                <a:gd name="connsiteY9" fmla="*/ 4386 h 10000"/>
                <a:gd name="connsiteX10" fmla="*/ 2918 w 9692"/>
                <a:gd name="connsiteY10" fmla="*/ 3647 h 10000"/>
                <a:gd name="connsiteX11" fmla="*/ 3183 w 9692"/>
                <a:gd name="connsiteY11" fmla="*/ 2972 h 10000"/>
                <a:gd name="connsiteX12" fmla="*/ 3449 w 9692"/>
                <a:gd name="connsiteY12" fmla="*/ 2357 h 10000"/>
                <a:gd name="connsiteX13" fmla="*/ 3590 w 9692"/>
                <a:gd name="connsiteY13" fmla="*/ 2048 h 10000"/>
                <a:gd name="connsiteX14" fmla="*/ 3731 w 9692"/>
                <a:gd name="connsiteY14" fmla="*/ 1803 h 10000"/>
                <a:gd name="connsiteX15" fmla="*/ 3885 w 9692"/>
                <a:gd name="connsiteY15" fmla="*/ 1536 h 10000"/>
                <a:gd name="connsiteX16" fmla="*/ 4025 w 9692"/>
                <a:gd name="connsiteY16" fmla="*/ 1312 h 10000"/>
                <a:gd name="connsiteX17" fmla="*/ 4179 w 9692"/>
                <a:gd name="connsiteY17" fmla="*/ 1109 h 10000"/>
                <a:gd name="connsiteX18" fmla="*/ 4334 w 9692"/>
                <a:gd name="connsiteY18" fmla="*/ 922 h 10000"/>
                <a:gd name="connsiteX19" fmla="*/ 4488 w 9692"/>
                <a:gd name="connsiteY19" fmla="*/ 758 h 10000"/>
                <a:gd name="connsiteX20" fmla="*/ 4657 w 9692"/>
                <a:gd name="connsiteY20" fmla="*/ 634 h 10000"/>
                <a:gd name="connsiteX21" fmla="*/ 4811 w 9692"/>
                <a:gd name="connsiteY21" fmla="*/ 512 h 10000"/>
                <a:gd name="connsiteX22" fmla="*/ 4979 w 9692"/>
                <a:gd name="connsiteY22" fmla="*/ 450 h 10000"/>
                <a:gd name="connsiteX23" fmla="*/ 5160 w 9692"/>
                <a:gd name="connsiteY23" fmla="*/ 388 h 10000"/>
                <a:gd name="connsiteX24" fmla="*/ 5343 w 9692"/>
                <a:gd name="connsiteY24" fmla="*/ 388 h 10000"/>
                <a:gd name="connsiteX25" fmla="*/ 5567 w 9692"/>
                <a:gd name="connsiteY25" fmla="*/ 410 h 10000"/>
                <a:gd name="connsiteX26" fmla="*/ 5791 w 9692"/>
                <a:gd name="connsiteY26" fmla="*/ 492 h 10000"/>
                <a:gd name="connsiteX27" fmla="*/ 5988 w 9692"/>
                <a:gd name="connsiteY27" fmla="*/ 634 h 10000"/>
                <a:gd name="connsiteX28" fmla="*/ 6200 w 9692"/>
                <a:gd name="connsiteY28" fmla="*/ 780 h 10000"/>
                <a:gd name="connsiteX29" fmla="*/ 6380 w 9692"/>
                <a:gd name="connsiteY29" fmla="*/ 985 h 10000"/>
                <a:gd name="connsiteX30" fmla="*/ 6578 w 9692"/>
                <a:gd name="connsiteY30" fmla="*/ 1250 h 10000"/>
                <a:gd name="connsiteX31" fmla="*/ 6746 w 9692"/>
                <a:gd name="connsiteY31" fmla="*/ 1536 h 10000"/>
                <a:gd name="connsiteX32" fmla="*/ 6943 w 9692"/>
                <a:gd name="connsiteY32" fmla="*/ 1864 h 10000"/>
                <a:gd name="connsiteX33" fmla="*/ 7098 w 9692"/>
                <a:gd name="connsiteY33" fmla="*/ 2213 h 10000"/>
                <a:gd name="connsiteX34" fmla="*/ 7265 w 9692"/>
                <a:gd name="connsiteY34" fmla="*/ 2602 h 10000"/>
                <a:gd name="connsiteX35" fmla="*/ 7419 w 9692"/>
                <a:gd name="connsiteY35" fmla="*/ 2990 h 10000"/>
                <a:gd name="connsiteX36" fmla="*/ 7600 w 9692"/>
                <a:gd name="connsiteY36" fmla="*/ 3424 h 10000"/>
                <a:gd name="connsiteX37" fmla="*/ 7910 w 9692"/>
                <a:gd name="connsiteY37" fmla="*/ 4344 h 10000"/>
                <a:gd name="connsiteX38" fmla="*/ 8232 w 9692"/>
                <a:gd name="connsiteY38" fmla="*/ 5328 h 10000"/>
                <a:gd name="connsiteX39" fmla="*/ 8877 w 9692"/>
                <a:gd name="connsiteY39" fmla="*/ 7398 h 10000"/>
                <a:gd name="connsiteX40" fmla="*/ 9229 w 9692"/>
                <a:gd name="connsiteY40" fmla="*/ 8464 h 10000"/>
                <a:gd name="connsiteX41" fmla="*/ 9692 w 9692"/>
                <a:gd name="connsiteY41" fmla="*/ 5349 h 10000"/>
                <a:gd name="connsiteX42" fmla="*/ 9383 w 9692"/>
                <a:gd name="connsiteY42" fmla="*/ 4528 h 10000"/>
                <a:gd name="connsiteX43" fmla="*/ 9034 w 9692"/>
                <a:gd name="connsiteY43" fmla="*/ 3730 h 10000"/>
                <a:gd name="connsiteX44" fmla="*/ 8862 w 9692"/>
                <a:gd name="connsiteY44" fmla="*/ 3340 h 10000"/>
                <a:gd name="connsiteX45" fmla="*/ 8681 w 9692"/>
                <a:gd name="connsiteY45" fmla="*/ 2972 h 10000"/>
                <a:gd name="connsiteX46" fmla="*/ 8498 w 9692"/>
                <a:gd name="connsiteY46" fmla="*/ 2602 h 10000"/>
                <a:gd name="connsiteX47" fmla="*/ 8304 w 9692"/>
                <a:gd name="connsiteY47" fmla="*/ 2252 h 10000"/>
                <a:gd name="connsiteX48" fmla="*/ 8107 w 9692"/>
                <a:gd name="connsiteY48" fmla="*/ 1925 h 10000"/>
                <a:gd name="connsiteX49" fmla="*/ 7897 w 9692"/>
                <a:gd name="connsiteY49" fmla="*/ 1641 h 10000"/>
                <a:gd name="connsiteX50" fmla="*/ 7671 w 9692"/>
                <a:gd name="connsiteY50" fmla="*/ 1334 h 10000"/>
                <a:gd name="connsiteX51" fmla="*/ 7462 w 9692"/>
                <a:gd name="connsiteY51" fmla="*/ 1086 h 10000"/>
                <a:gd name="connsiteX52" fmla="*/ 7223 w 9692"/>
                <a:gd name="connsiteY52" fmla="*/ 863 h 10000"/>
                <a:gd name="connsiteX53" fmla="*/ 6984 w 9692"/>
                <a:gd name="connsiteY53" fmla="*/ 656 h 10000"/>
                <a:gd name="connsiteX54" fmla="*/ 6732 w 9692"/>
                <a:gd name="connsiteY54" fmla="*/ 470 h 10000"/>
                <a:gd name="connsiteX55" fmla="*/ 6480 w 9692"/>
                <a:gd name="connsiteY55" fmla="*/ 307 h 10000"/>
                <a:gd name="connsiteX56" fmla="*/ 6214 w 9692"/>
                <a:gd name="connsiteY56" fmla="*/ 184 h 10000"/>
                <a:gd name="connsiteX57" fmla="*/ 5931 w 9692"/>
                <a:gd name="connsiteY57" fmla="*/ 101 h 10000"/>
                <a:gd name="connsiteX58" fmla="*/ 5638 w 9692"/>
                <a:gd name="connsiteY58" fmla="*/ 21 h 10000"/>
                <a:gd name="connsiteX59" fmla="*/ 5343 w 9692"/>
                <a:gd name="connsiteY59" fmla="*/ 0 h 10000"/>
                <a:gd name="connsiteX60" fmla="*/ 5090 w 9692"/>
                <a:gd name="connsiteY60" fmla="*/ 21 h 10000"/>
                <a:gd name="connsiteX61" fmla="*/ 4854 w 9692"/>
                <a:gd name="connsiteY61" fmla="*/ 61 h 10000"/>
                <a:gd name="connsiteX62" fmla="*/ 4615 w 9692"/>
                <a:gd name="connsiteY62" fmla="*/ 124 h 10000"/>
                <a:gd name="connsiteX63" fmla="*/ 4405 w 9692"/>
                <a:gd name="connsiteY63" fmla="*/ 184 h 10000"/>
                <a:gd name="connsiteX64" fmla="*/ 4179 w 9692"/>
                <a:gd name="connsiteY64" fmla="*/ 285 h 10000"/>
                <a:gd name="connsiteX65" fmla="*/ 3954 w 9692"/>
                <a:gd name="connsiteY65" fmla="*/ 388 h 10000"/>
                <a:gd name="connsiteX66" fmla="*/ 3760 w 9692"/>
                <a:gd name="connsiteY66" fmla="*/ 532 h 10000"/>
                <a:gd name="connsiteX67" fmla="*/ 3548 w 9692"/>
                <a:gd name="connsiteY67" fmla="*/ 698 h 10000"/>
                <a:gd name="connsiteX68" fmla="*/ 3367 w 9692"/>
                <a:gd name="connsiteY68" fmla="*/ 881 h 10000"/>
                <a:gd name="connsiteX69" fmla="*/ 3170 w 9692"/>
                <a:gd name="connsiteY69" fmla="*/ 1065 h 10000"/>
                <a:gd name="connsiteX70" fmla="*/ 2988 w 9692"/>
                <a:gd name="connsiteY70" fmla="*/ 1271 h 10000"/>
                <a:gd name="connsiteX71" fmla="*/ 2805 w 9692"/>
                <a:gd name="connsiteY71" fmla="*/ 1497 h 10000"/>
                <a:gd name="connsiteX72" fmla="*/ 2637 w 9692"/>
                <a:gd name="connsiteY72" fmla="*/ 1720 h 10000"/>
                <a:gd name="connsiteX73" fmla="*/ 2454 w 9692"/>
                <a:gd name="connsiteY73" fmla="*/ 1989 h 10000"/>
                <a:gd name="connsiteX74" fmla="*/ 2132 w 9692"/>
                <a:gd name="connsiteY74" fmla="*/ 2540 h 10000"/>
                <a:gd name="connsiteX75" fmla="*/ 1824 w 9692"/>
                <a:gd name="connsiteY75" fmla="*/ 3116 h 10000"/>
                <a:gd name="connsiteX76" fmla="*/ 1530 w 9692"/>
                <a:gd name="connsiteY76" fmla="*/ 3730 h 10000"/>
                <a:gd name="connsiteX77" fmla="*/ 1248 w 9692"/>
                <a:gd name="connsiteY77" fmla="*/ 4386 h 10000"/>
                <a:gd name="connsiteX78" fmla="*/ 982 w 9692"/>
                <a:gd name="connsiteY78" fmla="*/ 5062 h 10000"/>
                <a:gd name="connsiteX79" fmla="*/ 730 w 9692"/>
                <a:gd name="connsiteY79" fmla="*/ 5737 h 10000"/>
                <a:gd name="connsiteX80" fmla="*/ 479 w 9692"/>
                <a:gd name="connsiteY80" fmla="*/ 6455 h 10000"/>
                <a:gd name="connsiteX81" fmla="*/ 0 w 9692"/>
                <a:gd name="connsiteY81" fmla="*/ 7890 h 10000"/>
                <a:gd name="connsiteX0" fmla="*/ 0 w 9687"/>
                <a:gd name="connsiteY0" fmla="*/ 7890 h 10000"/>
                <a:gd name="connsiteX1" fmla="*/ 0 w 9687"/>
                <a:gd name="connsiteY1" fmla="*/ 7890 h 10000"/>
                <a:gd name="connsiteX2" fmla="*/ 362 w 9687"/>
                <a:gd name="connsiteY2" fmla="*/ 8955 h 10000"/>
                <a:gd name="connsiteX3" fmla="*/ 695 w 9687"/>
                <a:gd name="connsiteY3" fmla="*/ 10000 h 10000"/>
                <a:gd name="connsiteX4" fmla="*/ 1028 w 9687"/>
                <a:gd name="connsiteY4" fmla="*/ 9222 h 10000"/>
                <a:gd name="connsiteX5" fmla="*/ 1331 w 9687"/>
                <a:gd name="connsiteY5" fmla="*/ 8403 h 10000"/>
                <a:gd name="connsiteX6" fmla="*/ 1650 w 9687"/>
                <a:gd name="connsiteY6" fmla="*/ 7602 h 10000"/>
                <a:gd name="connsiteX7" fmla="*/ 1924 w 9687"/>
                <a:gd name="connsiteY7" fmla="*/ 6782 h 10000"/>
                <a:gd name="connsiteX8" fmla="*/ 2474 w 9687"/>
                <a:gd name="connsiteY8" fmla="*/ 5165 h 10000"/>
                <a:gd name="connsiteX9" fmla="*/ 2751 w 9687"/>
                <a:gd name="connsiteY9" fmla="*/ 4386 h 10000"/>
                <a:gd name="connsiteX10" fmla="*/ 3011 w 9687"/>
                <a:gd name="connsiteY10" fmla="*/ 3647 h 10000"/>
                <a:gd name="connsiteX11" fmla="*/ 3284 w 9687"/>
                <a:gd name="connsiteY11" fmla="*/ 2972 h 10000"/>
                <a:gd name="connsiteX12" fmla="*/ 3559 w 9687"/>
                <a:gd name="connsiteY12" fmla="*/ 2357 h 10000"/>
                <a:gd name="connsiteX13" fmla="*/ 3704 w 9687"/>
                <a:gd name="connsiteY13" fmla="*/ 2048 h 10000"/>
                <a:gd name="connsiteX14" fmla="*/ 3850 w 9687"/>
                <a:gd name="connsiteY14" fmla="*/ 1803 h 10000"/>
                <a:gd name="connsiteX15" fmla="*/ 4008 w 9687"/>
                <a:gd name="connsiteY15" fmla="*/ 1536 h 10000"/>
                <a:gd name="connsiteX16" fmla="*/ 4153 w 9687"/>
                <a:gd name="connsiteY16" fmla="*/ 1312 h 10000"/>
                <a:gd name="connsiteX17" fmla="*/ 4312 w 9687"/>
                <a:gd name="connsiteY17" fmla="*/ 1109 h 10000"/>
                <a:gd name="connsiteX18" fmla="*/ 4472 w 9687"/>
                <a:gd name="connsiteY18" fmla="*/ 922 h 10000"/>
                <a:gd name="connsiteX19" fmla="*/ 4631 w 9687"/>
                <a:gd name="connsiteY19" fmla="*/ 758 h 10000"/>
                <a:gd name="connsiteX20" fmla="*/ 4805 w 9687"/>
                <a:gd name="connsiteY20" fmla="*/ 634 h 10000"/>
                <a:gd name="connsiteX21" fmla="*/ 4964 w 9687"/>
                <a:gd name="connsiteY21" fmla="*/ 512 h 10000"/>
                <a:gd name="connsiteX22" fmla="*/ 5137 w 9687"/>
                <a:gd name="connsiteY22" fmla="*/ 450 h 10000"/>
                <a:gd name="connsiteX23" fmla="*/ 5324 w 9687"/>
                <a:gd name="connsiteY23" fmla="*/ 388 h 10000"/>
                <a:gd name="connsiteX24" fmla="*/ 5513 w 9687"/>
                <a:gd name="connsiteY24" fmla="*/ 388 h 10000"/>
                <a:gd name="connsiteX25" fmla="*/ 5744 w 9687"/>
                <a:gd name="connsiteY25" fmla="*/ 410 h 10000"/>
                <a:gd name="connsiteX26" fmla="*/ 5975 w 9687"/>
                <a:gd name="connsiteY26" fmla="*/ 492 h 10000"/>
                <a:gd name="connsiteX27" fmla="*/ 6178 w 9687"/>
                <a:gd name="connsiteY27" fmla="*/ 634 h 10000"/>
                <a:gd name="connsiteX28" fmla="*/ 6397 w 9687"/>
                <a:gd name="connsiteY28" fmla="*/ 780 h 10000"/>
                <a:gd name="connsiteX29" fmla="*/ 6583 w 9687"/>
                <a:gd name="connsiteY29" fmla="*/ 985 h 10000"/>
                <a:gd name="connsiteX30" fmla="*/ 6787 w 9687"/>
                <a:gd name="connsiteY30" fmla="*/ 1250 h 10000"/>
                <a:gd name="connsiteX31" fmla="*/ 6960 w 9687"/>
                <a:gd name="connsiteY31" fmla="*/ 1536 h 10000"/>
                <a:gd name="connsiteX32" fmla="*/ 7164 w 9687"/>
                <a:gd name="connsiteY32" fmla="*/ 1864 h 10000"/>
                <a:gd name="connsiteX33" fmla="*/ 7324 w 9687"/>
                <a:gd name="connsiteY33" fmla="*/ 2213 h 10000"/>
                <a:gd name="connsiteX34" fmla="*/ 7496 w 9687"/>
                <a:gd name="connsiteY34" fmla="*/ 2602 h 10000"/>
                <a:gd name="connsiteX35" fmla="*/ 7655 w 9687"/>
                <a:gd name="connsiteY35" fmla="*/ 2990 h 10000"/>
                <a:gd name="connsiteX36" fmla="*/ 7842 w 9687"/>
                <a:gd name="connsiteY36" fmla="*/ 3424 h 10000"/>
                <a:gd name="connsiteX37" fmla="*/ 8161 w 9687"/>
                <a:gd name="connsiteY37" fmla="*/ 4344 h 10000"/>
                <a:gd name="connsiteX38" fmla="*/ 8494 w 9687"/>
                <a:gd name="connsiteY38" fmla="*/ 5328 h 10000"/>
                <a:gd name="connsiteX39" fmla="*/ 9159 w 9687"/>
                <a:gd name="connsiteY39" fmla="*/ 7398 h 10000"/>
                <a:gd name="connsiteX40" fmla="*/ 9522 w 9687"/>
                <a:gd name="connsiteY40" fmla="*/ 8464 h 10000"/>
                <a:gd name="connsiteX41" fmla="*/ 9681 w 9687"/>
                <a:gd name="connsiteY41" fmla="*/ 4528 h 10000"/>
                <a:gd name="connsiteX42" fmla="*/ 9321 w 9687"/>
                <a:gd name="connsiteY42" fmla="*/ 3730 h 10000"/>
                <a:gd name="connsiteX43" fmla="*/ 9144 w 9687"/>
                <a:gd name="connsiteY43" fmla="*/ 3340 h 10000"/>
                <a:gd name="connsiteX44" fmla="*/ 8957 w 9687"/>
                <a:gd name="connsiteY44" fmla="*/ 2972 h 10000"/>
                <a:gd name="connsiteX45" fmla="*/ 8768 w 9687"/>
                <a:gd name="connsiteY45" fmla="*/ 2602 h 10000"/>
                <a:gd name="connsiteX46" fmla="*/ 8568 w 9687"/>
                <a:gd name="connsiteY46" fmla="*/ 2252 h 10000"/>
                <a:gd name="connsiteX47" fmla="*/ 8365 w 9687"/>
                <a:gd name="connsiteY47" fmla="*/ 1925 h 10000"/>
                <a:gd name="connsiteX48" fmla="*/ 8148 w 9687"/>
                <a:gd name="connsiteY48" fmla="*/ 1641 h 10000"/>
                <a:gd name="connsiteX49" fmla="*/ 7915 w 9687"/>
                <a:gd name="connsiteY49" fmla="*/ 1334 h 10000"/>
                <a:gd name="connsiteX50" fmla="*/ 7699 w 9687"/>
                <a:gd name="connsiteY50" fmla="*/ 1086 h 10000"/>
                <a:gd name="connsiteX51" fmla="*/ 7453 w 9687"/>
                <a:gd name="connsiteY51" fmla="*/ 863 h 10000"/>
                <a:gd name="connsiteX52" fmla="*/ 7206 w 9687"/>
                <a:gd name="connsiteY52" fmla="*/ 656 h 10000"/>
                <a:gd name="connsiteX53" fmla="*/ 6946 w 9687"/>
                <a:gd name="connsiteY53" fmla="*/ 470 h 10000"/>
                <a:gd name="connsiteX54" fmla="*/ 6686 w 9687"/>
                <a:gd name="connsiteY54" fmla="*/ 307 h 10000"/>
                <a:gd name="connsiteX55" fmla="*/ 6411 w 9687"/>
                <a:gd name="connsiteY55" fmla="*/ 184 h 10000"/>
                <a:gd name="connsiteX56" fmla="*/ 6119 w 9687"/>
                <a:gd name="connsiteY56" fmla="*/ 101 h 10000"/>
                <a:gd name="connsiteX57" fmla="*/ 5817 w 9687"/>
                <a:gd name="connsiteY57" fmla="*/ 21 h 10000"/>
                <a:gd name="connsiteX58" fmla="*/ 5513 w 9687"/>
                <a:gd name="connsiteY58" fmla="*/ 0 h 10000"/>
                <a:gd name="connsiteX59" fmla="*/ 5252 w 9687"/>
                <a:gd name="connsiteY59" fmla="*/ 21 h 10000"/>
                <a:gd name="connsiteX60" fmla="*/ 5008 w 9687"/>
                <a:gd name="connsiteY60" fmla="*/ 61 h 10000"/>
                <a:gd name="connsiteX61" fmla="*/ 4762 w 9687"/>
                <a:gd name="connsiteY61" fmla="*/ 124 h 10000"/>
                <a:gd name="connsiteX62" fmla="*/ 4545 w 9687"/>
                <a:gd name="connsiteY62" fmla="*/ 184 h 10000"/>
                <a:gd name="connsiteX63" fmla="*/ 4312 w 9687"/>
                <a:gd name="connsiteY63" fmla="*/ 285 h 10000"/>
                <a:gd name="connsiteX64" fmla="*/ 4080 w 9687"/>
                <a:gd name="connsiteY64" fmla="*/ 388 h 10000"/>
                <a:gd name="connsiteX65" fmla="*/ 3879 w 9687"/>
                <a:gd name="connsiteY65" fmla="*/ 532 h 10000"/>
                <a:gd name="connsiteX66" fmla="*/ 3661 w 9687"/>
                <a:gd name="connsiteY66" fmla="*/ 698 h 10000"/>
                <a:gd name="connsiteX67" fmla="*/ 3474 w 9687"/>
                <a:gd name="connsiteY67" fmla="*/ 881 h 10000"/>
                <a:gd name="connsiteX68" fmla="*/ 3271 w 9687"/>
                <a:gd name="connsiteY68" fmla="*/ 1065 h 10000"/>
                <a:gd name="connsiteX69" fmla="*/ 3083 w 9687"/>
                <a:gd name="connsiteY69" fmla="*/ 1271 h 10000"/>
                <a:gd name="connsiteX70" fmla="*/ 2894 w 9687"/>
                <a:gd name="connsiteY70" fmla="*/ 1497 h 10000"/>
                <a:gd name="connsiteX71" fmla="*/ 2721 w 9687"/>
                <a:gd name="connsiteY71" fmla="*/ 1720 h 10000"/>
                <a:gd name="connsiteX72" fmla="*/ 2532 w 9687"/>
                <a:gd name="connsiteY72" fmla="*/ 1989 h 10000"/>
                <a:gd name="connsiteX73" fmla="*/ 2200 w 9687"/>
                <a:gd name="connsiteY73" fmla="*/ 2540 h 10000"/>
                <a:gd name="connsiteX74" fmla="*/ 1882 w 9687"/>
                <a:gd name="connsiteY74" fmla="*/ 3116 h 10000"/>
                <a:gd name="connsiteX75" fmla="*/ 1579 w 9687"/>
                <a:gd name="connsiteY75" fmla="*/ 3730 h 10000"/>
                <a:gd name="connsiteX76" fmla="*/ 1288 w 9687"/>
                <a:gd name="connsiteY76" fmla="*/ 4386 h 10000"/>
                <a:gd name="connsiteX77" fmla="*/ 1013 w 9687"/>
                <a:gd name="connsiteY77" fmla="*/ 5062 h 10000"/>
                <a:gd name="connsiteX78" fmla="*/ 753 w 9687"/>
                <a:gd name="connsiteY78" fmla="*/ 5737 h 10000"/>
                <a:gd name="connsiteX79" fmla="*/ 494 w 9687"/>
                <a:gd name="connsiteY79" fmla="*/ 6455 h 10000"/>
                <a:gd name="connsiteX80" fmla="*/ 0 w 9687"/>
                <a:gd name="connsiteY80" fmla="*/ 7890 h 10000"/>
                <a:gd name="connsiteX0" fmla="*/ 0 w 9994"/>
                <a:gd name="connsiteY0" fmla="*/ 7890 h 10000"/>
                <a:gd name="connsiteX1" fmla="*/ 0 w 9994"/>
                <a:gd name="connsiteY1" fmla="*/ 7890 h 10000"/>
                <a:gd name="connsiteX2" fmla="*/ 374 w 9994"/>
                <a:gd name="connsiteY2" fmla="*/ 8955 h 10000"/>
                <a:gd name="connsiteX3" fmla="*/ 717 w 9994"/>
                <a:gd name="connsiteY3" fmla="*/ 10000 h 10000"/>
                <a:gd name="connsiteX4" fmla="*/ 1061 w 9994"/>
                <a:gd name="connsiteY4" fmla="*/ 9222 h 10000"/>
                <a:gd name="connsiteX5" fmla="*/ 1374 w 9994"/>
                <a:gd name="connsiteY5" fmla="*/ 8403 h 10000"/>
                <a:gd name="connsiteX6" fmla="*/ 1703 w 9994"/>
                <a:gd name="connsiteY6" fmla="*/ 7602 h 10000"/>
                <a:gd name="connsiteX7" fmla="*/ 1986 w 9994"/>
                <a:gd name="connsiteY7" fmla="*/ 6782 h 10000"/>
                <a:gd name="connsiteX8" fmla="*/ 2554 w 9994"/>
                <a:gd name="connsiteY8" fmla="*/ 5165 h 10000"/>
                <a:gd name="connsiteX9" fmla="*/ 2840 w 9994"/>
                <a:gd name="connsiteY9" fmla="*/ 4386 h 10000"/>
                <a:gd name="connsiteX10" fmla="*/ 3108 w 9994"/>
                <a:gd name="connsiteY10" fmla="*/ 3647 h 10000"/>
                <a:gd name="connsiteX11" fmla="*/ 3390 w 9994"/>
                <a:gd name="connsiteY11" fmla="*/ 2972 h 10000"/>
                <a:gd name="connsiteX12" fmla="*/ 3674 w 9994"/>
                <a:gd name="connsiteY12" fmla="*/ 2357 h 10000"/>
                <a:gd name="connsiteX13" fmla="*/ 3824 w 9994"/>
                <a:gd name="connsiteY13" fmla="*/ 2048 h 10000"/>
                <a:gd name="connsiteX14" fmla="*/ 3974 w 9994"/>
                <a:gd name="connsiteY14" fmla="*/ 1803 h 10000"/>
                <a:gd name="connsiteX15" fmla="*/ 4138 w 9994"/>
                <a:gd name="connsiteY15" fmla="*/ 1536 h 10000"/>
                <a:gd name="connsiteX16" fmla="*/ 4287 w 9994"/>
                <a:gd name="connsiteY16" fmla="*/ 1312 h 10000"/>
                <a:gd name="connsiteX17" fmla="*/ 4451 w 9994"/>
                <a:gd name="connsiteY17" fmla="*/ 1109 h 10000"/>
                <a:gd name="connsiteX18" fmla="*/ 4616 w 9994"/>
                <a:gd name="connsiteY18" fmla="*/ 922 h 10000"/>
                <a:gd name="connsiteX19" fmla="*/ 4781 w 9994"/>
                <a:gd name="connsiteY19" fmla="*/ 758 h 10000"/>
                <a:gd name="connsiteX20" fmla="*/ 4960 w 9994"/>
                <a:gd name="connsiteY20" fmla="*/ 634 h 10000"/>
                <a:gd name="connsiteX21" fmla="*/ 5124 w 9994"/>
                <a:gd name="connsiteY21" fmla="*/ 512 h 10000"/>
                <a:gd name="connsiteX22" fmla="*/ 5303 w 9994"/>
                <a:gd name="connsiteY22" fmla="*/ 450 h 10000"/>
                <a:gd name="connsiteX23" fmla="*/ 5496 w 9994"/>
                <a:gd name="connsiteY23" fmla="*/ 388 h 10000"/>
                <a:gd name="connsiteX24" fmla="*/ 5691 w 9994"/>
                <a:gd name="connsiteY24" fmla="*/ 388 h 10000"/>
                <a:gd name="connsiteX25" fmla="*/ 5930 w 9994"/>
                <a:gd name="connsiteY25" fmla="*/ 410 h 10000"/>
                <a:gd name="connsiteX26" fmla="*/ 6168 w 9994"/>
                <a:gd name="connsiteY26" fmla="*/ 492 h 10000"/>
                <a:gd name="connsiteX27" fmla="*/ 6378 w 9994"/>
                <a:gd name="connsiteY27" fmla="*/ 634 h 10000"/>
                <a:gd name="connsiteX28" fmla="*/ 6604 w 9994"/>
                <a:gd name="connsiteY28" fmla="*/ 780 h 10000"/>
                <a:gd name="connsiteX29" fmla="*/ 6796 w 9994"/>
                <a:gd name="connsiteY29" fmla="*/ 985 h 10000"/>
                <a:gd name="connsiteX30" fmla="*/ 7006 w 9994"/>
                <a:gd name="connsiteY30" fmla="*/ 1250 h 10000"/>
                <a:gd name="connsiteX31" fmla="*/ 7185 w 9994"/>
                <a:gd name="connsiteY31" fmla="*/ 1536 h 10000"/>
                <a:gd name="connsiteX32" fmla="*/ 7395 w 9994"/>
                <a:gd name="connsiteY32" fmla="*/ 1864 h 10000"/>
                <a:gd name="connsiteX33" fmla="*/ 7561 w 9994"/>
                <a:gd name="connsiteY33" fmla="*/ 2213 h 10000"/>
                <a:gd name="connsiteX34" fmla="*/ 7738 w 9994"/>
                <a:gd name="connsiteY34" fmla="*/ 2602 h 10000"/>
                <a:gd name="connsiteX35" fmla="*/ 7902 w 9994"/>
                <a:gd name="connsiteY35" fmla="*/ 2990 h 10000"/>
                <a:gd name="connsiteX36" fmla="*/ 8095 w 9994"/>
                <a:gd name="connsiteY36" fmla="*/ 3424 h 10000"/>
                <a:gd name="connsiteX37" fmla="*/ 8425 w 9994"/>
                <a:gd name="connsiteY37" fmla="*/ 4344 h 10000"/>
                <a:gd name="connsiteX38" fmla="*/ 8768 w 9994"/>
                <a:gd name="connsiteY38" fmla="*/ 5328 h 10000"/>
                <a:gd name="connsiteX39" fmla="*/ 9455 w 9994"/>
                <a:gd name="connsiteY39" fmla="*/ 7398 h 10000"/>
                <a:gd name="connsiteX40" fmla="*/ 9994 w 9994"/>
                <a:gd name="connsiteY40" fmla="*/ 4528 h 10000"/>
                <a:gd name="connsiteX41" fmla="*/ 9622 w 9994"/>
                <a:gd name="connsiteY41" fmla="*/ 3730 h 10000"/>
                <a:gd name="connsiteX42" fmla="*/ 9439 w 9994"/>
                <a:gd name="connsiteY42" fmla="*/ 3340 h 10000"/>
                <a:gd name="connsiteX43" fmla="*/ 9246 w 9994"/>
                <a:gd name="connsiteY43" fmla="*/ 2972 h 10000"/>
                <a:gd name="connsiteX44" fmla="*/ 9051 w 9994"/>
                <a:gd name="connsiteY44" fmla="*/ 2602 h 10000"/>
                <a:gd name="connsiteX45" fmla="*/ 8845 w 9994"/>
                <a:gd name="connsiteY45" fmla="*/ 2252 h 10000"/>
                <a:gd name="connsiteX46" fmla="*/ 8635 w 9994"/>
                <a:gd name="connsiteY46" fmla="*/ 1925 h 10000"/>
                <a:gd name="connsiteX47" fmla="*/ 8411 w 9994"/>
                <a:gd name="connsiteY47" fmla="*/ 1641 h 10000"/>
                <a:gd name="connsiteX48" fmla="*/ 8171 w 9994"/>
                <a:gd name="connsiteY48" fmla="*/ 1334 h 10000"/>
                <a:gd name="connsiteX49" fmla="*/ 7948 w 9994"/>
                <a:gd name="connsiteY49" fmla="*/ 1086 h 10000"/>
                <a:gd name="connsiteX50" fmla="*/ 7694 w 9994"/>
                <a:gd name="connsiteY50" fmla="*/ 863 h 10000"/>
                <a:gd name="connsiteX51" fmla="*/ 7439 w 9994"/>
                <a:gd name="connsiteY51" fmla="*/ 656 h 10000"/>
                <a:gd name="connsiteX52" fmla="*/ 7170 w 9994"/>
                <a:gd name="connsiteY52" fmla="*/ 470 h 10000"/>
                <a:gd name="connsiteX53" fmla="*/ 6902 w 9994"/>
                <a:gd name="connsiteY53" fmla="*/ 307 h 10000"/>
                <a:gd name="connsiteX54" fmla="*/ 6618 w 9994"/>
                <a:gd name="connsiteY54" fmla="*/ 184 h 10000"/>
                <a:gd name="connsiteX55" fmla="*/ 6317 w 9994"/>
                <a:gd name="connsiteY55" fmla="*/ 101 h 10000"/>
                <a:gd name="connsiteX56" fmla="*/ 6005 w 9994"/>
                <a:gd name="connsiteY56" fmla="*/ 21 h 10000"/>
                <a:gd name="connsiteX57" fmla="*/ 5691 w 9994"/>
                <a:gd name="connsiteY57" fmla="*/ 0 h 10000"/>
                <a:gd name="connsiteX58" fmla="*/ 5422 w 9994"/>
                <a:gd name="connsiteY58" fmla="*/ 21 h 10000"/>
                <a:gd name="connsiteX59" fmla="*/ 5170 w 9994"/>
                <a:gd name="connsiteY59" fmla="*/ 61 h 10000"/>
                <a:gd name="connsiteX60" fmla="*/ 4916 w 9994"/>
                <a:gd name="connsiteY60" fmla="*/ 124 h 10000"/>
                <a:gd name="connsiteX61" fmla="*/ 4692 w 9994"/>
                <a:gd name="connsiteY61" fmla="*/ 184 h 10000"/>
                <a:gd name="connsiteX62" fmla="*/ 4451 w 9994"/>
                <a:gd name="connsiteY62" fmla="*/ 285 h 10000"/>
                <a:gd name="connsiteX63" fmla="*/ 4212 w 9994"/>
                <a:gd name="connsiteY63" fmla="*/ 388 h 10000"/>
                <a:gd name="connsiteX64" fmla="*/ 4004 w 9994"/>
                <a:gd name="connsiteY64" fmla="*/ 532 h 10000"/>
                <a:gd name="connsiteX65" fmla="*/ 3779 w 9994"/>
                <a:gd name="connsiteY65" fmla="*/ 698 h 10000"/>
                <a:gd name="connsiteX66" fmla="*/ 3586 w 9994"/>
                <a:gd name="connsiteY66" fmla="*/ 881 h 10000"/>
                <a:gd name="connsiteX67" fmla="*/ 3377 w 9994"/>
                <a:gd name="connsiteY67" fmla="*/ 1065 h 10000"/>
                <a:gd name="connsiteX68" fmla="*/ 3183 w 9994"/>
                <a:gd name="connsiteY68" fmla="*/ 1271 h 10000"/>
                <a:gd name="connsiteX69" fmla="*/ 2988 w 9994"/>
                <a:gd name="connsiteY69" fmla="*/ 1497 h 10000"/>
                <a:gd name="connsiteX70" fmla="*/ 2809 w 9994"/>
                <a:gd name="connsiteY70" fmla="*/ 1720 h 10000"/>
                <a:gd name="connsiteX71" fmla="*/ 2614 w 9994"/>
                <a:gd name="connsiteY71" fmla="*/ 1989 h 10000"/>
                <a:gd name="connsiteX72" fmla="*/ 2271 w 9994"/>
                <a:gd name="connsiteY72" fmla="*/ 2540 h 10000"/>
                <a:gd name="connsiteX73" fmla="*/ 1943 w 9994"/>
                <a:gd name="connsiteY73" fmla="*/ 3116 h 10000"/>
                <a:gd name="connsiteX74" fmla="*/ 1630 w 9994"/>
                <a:gd name="connsiteY74" fmla="*/ 3730 h 10000"/>
                <a:gd name="connsiteX75" fmla="*/ 1330 w 9994"/>
                <a:gd name="connsiteY75" fmla="*/ 4386 h 10000"/>
                <a:gd name="connsiteX76" fmla="*/ 1046 w 9994"/>
                <a:gd name="connsiteY76" fmla="*/ 5062 h 10000"/>
                <a:gd name="connsiteX77" fmla="*/ 777 w 9994"/>
                <a:gd name="connsiteY77" fmla="*/ 5737 h 10000"/>
                <a:gd name="connsiteX78" fmla="*/ 510 w 9994"/>
                <a:gd name="connsiteY78" fmla="*/ 6455 h 10000"/>
                <a:gd name="connsiteX79" fmla="*/ 0 w 9994"/>
                <a:gd name="connsiteY7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8773 w 10000"/>
                <a:gd name="connsiteY38" fmla="*/ 5328 h 10000"/>
                <a:gd name="connsiteX39" fmla="*/ 10000 w 10000"/>
                <a:gd name="connsiteY39" fmla="*/ 4528 h 10000"/>
                <a:gd name="connsiteX40" fmla="*/ 9628 w 10000"/>
                <a:gd name="connsiteY40" fmla="*/ 3730 h 10000"/>
                <a:gd name="connsiteX41" fmla="*/ 9445 w 10000"/>
                <a:gd name="connsiteY41" fmla="*/ 3340 h 10000"/>
                <a:gd name="connsiteX42" fmla="*/ 9252 w 10000"/>
                <a:gd name="connsiteY42" fmla="*/ 2972 h 10000"/>
                <a:gd name="connsiteX43" fmla="*/ 9056 w 10000"/>
                <a:gd name="connsiteY43" fmla="*/ 2602 h 10000"/>
                <a:gd name="connsiteX44" fmla="*/ 8850 w 10000"/>
                <a:gd name="connsiteY44" fmla="*/ 2252 h 10000"/>
                <a:gd name="connsiteX45" fmla="*/ 8640 w 10000"/>
                <a:gd name="connsiteY45" fmla="*/ 1925 h 10000"/>
                <a:gd name="connsiteX46" fmla="*/ 8416 w 10000"/>
                <a:gd name="connsiteY46" fmla="*/ 1641 h 10000"/>
                <a:gd name="connsiteX47" fmla="*/ 8176 w 10000"/>
                <a:gd name="connsiteY47" fmla="*/ 1334 h 10000"/>
                <a:gd name="connsiteX48" fmla="*/ 7953 w 10000"/>
                <a:gd name="connsiteY48" fmla="*/ 1086 h 10000"/>
                <a:gd name="connsiteX49" fmla="*/ 7699 w 10000"/>
                <a:gd name="connsiteY49" fmla="*/ 863 h 10000"/>
                <a:gd name="connsiteX50" fmla="*/ 7443 w 10000"/>
                <a:gd name="connsiteY50" fmla="*/ 656 h 10000"/>
                <a:gd name="connsiteX51" fmla="*/ 7174 w 10000"/>
                <a:gd name="connsiteY51" fmla="*/ 470 h 10000"/>
                <a:gd name="connsiteX52" fmla="*/ 6906 w 10000"/>
                <a:gd name="connsiteY52" fmla="*/ 307 h 10000"/>
                <a:gd name="connsiteX53" fmla="*/ 6622 w 10000"/>
                <a:gd name="connsiteY53" fmla="*/ 184 h 10000"/>
                <a:gd name="connsiteX54" fmla="*/ 6321 w 10000"/>
                <a:gd name="connsiteY54" fmla="*/ 101 h 10000"/>
                <a:gd name="connsiteX55" fmla="*/ 6009 w 10000"/>
                <a:gd name="connsiteY55" fmla="*/ 21 h 10000"/>
                <a:gd name="connsiteX56" fmla="*/ 5694 w 10000"/>
                <a:gd name="connsiteY56" fmla="*/ 0 h 10000"/>
                <a:gd name="connsiteX57" fmla="*/ 5425 w 10000"/>
                <a:gd name="connsiteY57" fmla="*/ 21 h 10000"/>
                <a:gd name="connsiteX58" fmla="*/ 5173 w 10000"/>
                <a:gd name="connsiteY58" fmla="*/ 61 h 10000"/>
                <a:gd name="connsiteX59" fmla="*/ 4919 w 10000"/>
                <a:gd name="connsiteY59" fmla="*/ 124 h 10000"/>
                <a:gd name="connsiteX60" fmla="*/ 4695 w 10000"/>
                <a:gd name="connsiteY60" fmla="*/ 184 h 10000"/>
                <a:gd name="connsiteX61" fmla="*/ 4454 w 10000"/>
                <a:gd name="connsiteY61" fmla="*/ 285 h 10000"/>
                <a:gd name="connsiteX62" fmla="*/ 4215 w 10000"/>
                <a:gd name="connsiteY62" fmla="*/ 388 h 10000"/>
                <a:gd name="connsiteX63" fmla="*/ 4006 w 10000"/>
                <a:gd name="connsiteY63" fmla="*/ 532 h 10000"/>
                <a:gd name="connsiteX64" fmla="*/ 3781 w 10000"/>
                <a:gd name="connsiteY64" fmla="*/ 698 h 10000"/>
                <a:gd name="connsiteX65" fmla="*/ 3588 w 10000"/>
                <a:gd name="connsiteY65" fmla="*/ 881 h 10000"/>
                <a:gd name="connsiteX66" fmla="*/ 3379 w 10000"/>
                <a:gd name="connsiteY66" fmla="*/ 1065 h 10000"/>
                <a:gd name="connsiteX67" fmla="*/ 3185 w 10000"/>
                <a:gd name="connsiteY67" fmla="*/ 1271 h 10000"/>
                <a:gd name="connsiteX68" fmla="*/ 2990 w 10000"/>
                <a:gd name="connsiteY68" fmla="*/ 1497 h 10000"/>
                <a:gd name="connsiteX69" fmla="*/ 2811 w 10000"/>
                <a:gd name="connsiteY69" fmla="*/ 1720 h 10000"/>
                <a:gd name="connsiteX70" fmla="*/ 2616 w 10000"/>
                <a:gd name="connsiteY70" fmla="*/ 1989 h 10000"/>
                <a:gd name="connsiteX71" fmla="*/ 2272 w 10000"/>
                <a:gd name="connsiteY71" fmla="*/ 2540 h 10000"/>
                <a:gd name="connsiteX72" fmla="*/ 1944 w 10000"/>
                <a:gd name="connsiteY72" fmla="*/ 3116 h 10000"/>
                <a:gd name="connsiteX73" fmla="*/ 1631 w 10000"/>
                <a:gd name="connsiteY73" fmla="*/ 3730 h 10000"/>
                <a:gd name="connsiteX74" fmla="*/ 1331 w 10000"/>
                <a:gd name="connsiteY74" fmla="*/ 4386 h 10000"/>
                <a:gd name="connsiteX75" fmla="*/ 1047 w 10000"/>
                <a:gd name="connsiteY75" fmla="*/ 5062 h 10000"/>
                <a:gd name="connsiteX76" fmla="*/ 777 w 10000"/>
                <a:gd name="connsiteY76" fmla="*/ 5737 h 10000"/>
                <a:gd name="connsiteX77" fmla="*/ 510 w 10000"/>
                <a:gd name="connsiteY77" fmla="*/ 6455 h 10000"/>
                <a:gd name="connsiteX78" fmla="*/ 0 w 10000"/>
                <a:gd name="connsiteY7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74 w 10000"/>
                <a:gd name="connsiteY2" fmla="*/ 8955 h 10000"/>
                <a:gd name="connsiteX3" fmla="*/ 717 w 10000"/>
                <a:gd name="connsiteY3" fmla="*/ 10000 h 10000"/>
                <a:gd name="connsiteX4" fmla="*/ 1062 w 10000"/>
                <a:gd name="connsiteY4" fmla="*/ 9222 h 10000"/>
                <a:gd name="connsiteX5" fmla="*/ 1375 w 10000"/>
                <a:gd name="connsiteY5" fmla="*/ 8403 h 10000"/>
                <a:gd name="connsiteX6" fmla="*/ 1704 w 10000"/>
                <a:gd name="connsiteY6" fmla="*/ 7602 h 10000"/>
                <a:gd name="connsiteX7" fmla="*/ 1987 w 10000"/>
                <a:gd name="connsiteY7" fmla="*/ 6782 h 10000"/>
                <a:gd name="connsiteX8" fmla="*/ 2556 w 10000"/>
                <a:gd name="connsiteY8" fmla="*/ 5165 h 10000"/>
                <a:gd name="connsiteX9" fmla="*/ 2842 w 10000"/>
                <a:gd name="connsiteY9" fmla="*/ 4386 h 10000"/>
                <a:gd name="connsiteX10" fmla="*/ 3110 w 10000"/>
                <a:gd name="connsiteY10" fmla="*/ 3647 h 10000"/>
                <a:gd name="connsiteX11" fmla="*/ 3392 w 10000"/>
                <a:gd name="connsiteY11" fmla="*/ 2972 h 10000"/>
                <a:gd name="connsiteX12" fmla="*/ 3676 w 10000"/>
                <a:gd name="connsiteY12" fmla="*/ 2357 h 10000"/>
                <a:gd name="connsiteX13" fmla="*/ 3826 w 10000"/>
                <a:gd name="connsiteY13" fmla="*/ 2048 h 10000"/>
                <a:gd name="connsiteX14" fmla="*/ 3976 w 10000"/>
                <a:gd name="connsiteY14" fmla="*/ 1803 h 10000"/>
                <a:gd name="connsiteX15" fmla="*/ 4140 w 10000"/>
                <a:gd name="connsiteY15" fmla="*/ 1536 h 10000"/>
                <a:gd name="connsiteX16" fmla="*/ 4290 w 10000"/>
                <a:gd name="connsiteY16" fmla="*/ 1312 h 10000"/>
                <a:gd name="connsiteX17" fmla="*/ 4454 w 10000"/>
                <a:gd name="connsiteY17" fmla="*/ 1109 h 10000"/>
                <a:gd name="connsiteX18" fmla="*/ 4619 w 10000"/>
                <a:gd name="connsiteY18" fmla="*/ 922 h 10000"/>
                <a:gd name="connsiteX19" fmla="*/ 4784 w 10000"/>
                <a:gd name="connsiteY19" fmla="*/ 758 h 10000"/>
                <a:gd name="connsiteX20" fmla="*/ 4963 w 10000"/>
                <a:gd name="connsiteY20" fmla="*/ 634 h 10000"/>
                <a:gd name="connsiteX21" fmla="*/ 5127 w 10000"/>
                <a:gd name="connsiteY21" fmla="*/ 512 h 10000"/>
                <a:gd name="connsiteX22" fmla="*/ 5306 w 10000"/>
                <a:gd name="connsiteY22" fmla="*/ 450 h 10000"/>
                <a:gd name="connsiteX23" fmla="*/ 5499 w 10000"/>
                <a:gd name="connsiteY23" fmla="*/ 388 h 10000"/>
                <a:gd name="connsiteX24" fmla="*/ 5694 w 10000"/>
                <a:gd name="connsiteY24" fmla="*/ 388 h 10000"/>
                <a:gd name="connsiteX25" fmla="*/ 5934 w 10000"/>
                <a:gd name="connsiteY25" fmla="*/ 410 h 10000"/>
                <a:gd name="connsiteX26" fmla="*/ 6172 w 10000"/>
                <a:gd name="connsiteY26" fmla="*/ 492 h 10000"/>
                <a:gd name="connsiteX27" fmla="*/ 6382 w 10000"/>
                <a:gd name="connsiteY27" fmla="*/ 634 h 10000"/>
                <a:gd name="connsiteX28" fmla="*/ 6608 w 10000"/>
                <a:gd name="connsiteY28" fmla="*/ 780 h 10000"/>
                <a:gd name="connsiteX29" fmla="*/ 6800 w 10000"/>
                <a:gd name="connsiteY29" fmla="*/ 985 h 10000"/>
                <a:gd name="connsiteX30" fmla="*/ 7010 w 10000"/>
                <a:gd name="connsiteY30" fmla="*/ 1250 h 10000"/>
                <a:gd name="connsiteX31" fmla="*/ 7189 w 10000"/>
                <a:gd name="connsiteY31" fmla="*/ 1536 h 10000"/>
                <a:gd name="connsiteX32" fmla="*/ 7399 w 10000"/>
                <a:gd name="connsiteY32" fmla="*/ 1864 h 10000"/>
                <a:gd name="connsiteX33" fmla="*/ 7566 w 10000"/>
                <a:gd name="connsiteY33" fmla="*/ 2213 h 10000"/>
                <a:gd name="connsiteX34" fmla="*/ 7743 w 10000"/>
                <a:gd name="connsiteY34" fmla="*/ 2602 h 10000"/>
                <a:gd name="connsiteX35" fmla="*/ 7907 w 10000"/>
                <a:gd name="connsiteY35" fmla="*/ 2990 h 10000"/>
                <a:gd name="connsiteX36" fmla="*/ 8100 w 10000"/>
                <a:gd name="connsiteY36" fmla="*/ 3424 h 10000"/>
                <a:gd name="connsiteX37" fmla="*/ 8430 w 10000"/>
                <a:gd name="connsiteY37" fmla="*/ 4344 h 10000"/>
                <a:gd name="connsiteX38" fmla="*/ 10000 w 10000"/>
                <a:gd name="connsiteY38" fmla="*/ 4528 h 10000"/>
                <a:gd name="connsiteX39" fmla="*/ 9628 w 10000"/>
                <a:gd name="connsiteY39" fmla="*/ 3730 h 10000"/>
                <a:gd name="connsiteX40" fmla="*/ 9445 w 10000"/>
                <a:gd name="connsiteY40" fmla="*/ 3340 h 10000"/>
                <a:gd name="connsiteX41" fmla="*/ 9252 w 10000"/>
                <a:gd name="connsiteY41" fmla="*/ 2972 h 10000"/>
                <a:gd name="connsiteX42" fmla="*/ 9056 w 10000"/>
                <a:gd name="connsiteY42" fmla="*/ 2602 h 10000"/>
                <a:gd name="connsiteX43" fmla="*/ 8850 w 10000"/>
                <a:gd name="connsiteY43" fmla="*/ 2252 h 10000"/>
                <a:gd name="connsiteX44" fmla="*/ 8640 w 10000"/>
                <a:gd name="connsiteY44" fmla="*/ 1925 h 10000"/>
                <a:gd name="connsiteX45" fmla="*/ 8416 w 10000"/>
                <a:gd name="connsiteY45" fmla="*/ 1641 h 10000"/>
                <a:gd name="connsiteX46" fmla="*/ 8176 w 10000"/>
                <a:gd name="connsiteY46" fmla="*/ 1334 h 10000"/>
                <a:gd name="connsiteX47" fmla="*/ 7953 w 10000"/>
                <a:gd name="connsiteY47" fmla="*/ 1086 h 10000"/>
                <a:gd name="connsiteX48" fmla="*/ 7699 w 10000"/>
                <a:gd name="connsiteY48" fmla="*/ 863 h 10000"/>
                <a:gd name="connsiteX49" fmla="*/ 7443 w 10000"/>
                <a:gd name="connsiteY49" fmla="*/ 656 h 10000"/>
                <a:gd name="connsiteX50" fmla="*/ 7174 w 10000"/>
                <a:gd name="connsiteY50" fmla="*/ 470 h 10000"/>
                <a:gd name="connsiteX51" fmla="*/ 6906 w 10000"/>
                <a:gd name="connsiteY51" fmla="*/ 307 h 10000"/>
                <a:gd name="connsiteX52" fmla="*/ 6622 w 10000"/>
                <a:gd name="connsiteY52" fmla="*/ 184 h 10000"/>
                <a:gd name="connsiteX53" fmla="*/ 6321 w 10000"/>
                <a:gd name="connsiteY53" fmla="*/ 101 h 10000"/>
                <a:gd name="connsiteX54" fmla="*/ 6009 w 10000"/>
                <a:gd name="connsiteY54" fmla="*/ 21 h 10000"/>
                <a:gd name="connsiteX55" fmla="*/ 5694 w 10000"/>
                <a:gd name="connsiteY55" fmla="*/ 0 h 10000"/>
                <a:gd name="connsiteX56" fmla="*/ 5425 w 10000"/>
                <a:gd name="connsiteY56" fmla="*/ 21 h 10000"/>
                <a:gd name="connsiteX57" fmla="*/ 5173 w 10000"/>
                <a:gd name="connsiteY57" fmla="*/ 61 h 10000"/>
                <a:gd name="connsiteX58" fmla="*/ 4919 w 10000"/>
                <a:gd name="connsiteY58" fmla="*/ 124 h 10000"/>
                <a:gd name="connsiteX59" fmla="*/ 4695 w 10000"/>
                <a:gd name="connsiteY59" fmla="*/ 184 h 10000"/>
                <a:gd name="connsiteX60" fmla="*/ 4454 w 10000"/>
                <a:gd name="connsiteY60" fmla="*/ 285 h 10000"/>
                <a:gd name="connsiteX61" fmla="*/ 4215 w 10000"/>
                <a:gd name="connsiteY61" fmla="*/ 388 h 10000"/>
                <a:gd name="connsiteX62" fmla="*/ 4006 w 10000"/>
                <a:gd name="connsiteY62" fmla="*/ 532 h 10000"/>
                <a:gd name="connsiteX63" fmla="*/ 3781 w 10000"/>
                <a:gd name="connsiteY63" fmla="*/ 698 h 10000"/>
                <a:gd name="connsiteX64" fmla="*/ 3588 w 10000"/>
                <a:gd name="connsiteY64" fmla="*/ 881 h 10000"/>
                <a:gd name="connsiteX65" fmla="*/ 3379 w 10000"/>
                <a:gd name="connsiteY65" fmla="*/ 1065 h 10000"/>
                <a:gd name="connsiteX66" fmla="*/ 3185 w 10000"/>
                <a:gd name="connsiteY66" fmla="*/ 1271 h 10000"/>
                <a:gd name="connsiteX67" fmla="*/ 2990 w 10000"/>
                <a:gd name="connsiteY67" fmla="*/ 1497 h 10000"/>
                <a:gd name="connsiteX68" fmla="*/ 2811 w 10000"/>
                <a:gd name="connsiteY68" fmla="*/ 1720 h 10000"/>
                <a:gd name="connsiteX69" fmla="*/ 2616 w 10000"/>
                <a:gd name="connsiteY69" fmla="*/ 1989 h 10000"/>
                <a:gd name="connsiteX70" fmla="*/ 2272 w 10000"/>
                <a:gd name="connsiteY70" fmla="*/ 2540 h 10000"/>
                <a:gd name="connsiteX71" fmla="*/ 1944 w 10000"/>
                <a:gd name="connsiteY71" fmla="*/ 3116 h 10000"/>
                <a:gd name="connsiteX72" fmla="*/ 1631 w 10000"/>
                <a:gd name="connsiteY72" fmla="*/ 3730 h 10000"/>
                <a:gd name="connsiteX73" fmla="*/ 1331 w 10000"/>
                <a:gd name="connsiteY73" fmla="*/ 4386 h 10000"/>
                <a:gd name="connsiteX74" fmla="*/ 1047 w 10000"/>
                <a:gd name="connsiteY74" fmla="*/ 5062 h 10000"/>
                <a:gd name="connsiteX75" fmla="*/ 777 w 10000"/>
                <a:gd name="connsiteY75" fmla="*/ 5737 h 10000"/>
                <a:gd name="connsiteX76" fmla="*/ 510 w 10000"/>
                <a:gd name="connsiteY76" fmla="*/ 6455 h 10000"/>
                <a:gd name="connsiteX77" fmla="*/ 0 w 10000"/>
                <a:gd name="connsiteY77" fmla="*/ 7890 h 10000"/>
                <a:gd name="connsiteX0" fmla="*/ 0 w 9628"/>
                <a:gd name="connsiteY0" fmla="*/ 7890 h 10000"/>
                <a:gd name="connsiteX1" fmla="*/ 0 w 9628"/>
                <a:gd name="connsiteY1" fmla="*/ 7890 h 10000"/>
                <a:gd name="connsiteX2" fmla="*/ 374 w 9628"/>
                <a:gd name="connsiteY2" fmla="*/ 8955 h 10000"/>
                <a:gd name="connsiteX3" fmla="*/ 717 w 9628"/>
                <a:gd name="connsiteY3" fmla="*/ 10000 h 10000"/>
                <a:gd name="connsiteX4" fmla="*/ 1062 w 9628"/>
                <a:gd name="connsiteY4" fmla="*/ 9222 h 10000"/>
                <a:gd name="connsiteX5" fmla="*/ 1375 w 9628"/>
                <a:gd name="connsiteY5" fmla="*/ 8403 h 10000"/>
                <a:gd name="connsiteX6" fmla="*/ 1704 w 9628"/>
                <a:gd name="connsiteY6" fmla="*/ 7602 h 10000"/>
                <a:gd name="connsiteX7" fmla="*/ 1987 w 9628"/>
                <a:gd name="connsiteY7" fmla="*/ 6782 h 10000"/>
                <a:gd name="connsiteX8" fmla="*/ 2556 w 9628"/>
                <a:gd name="connsiteY8" fmla="*/ 5165 h 10000"/>
                <a:gd name="connsiteX9" fmla="*/ 2842 w 9628"/>
                <a:gd name="connsiteY9" fmla="*/ 4386 h 10000"/>
                <a:gd name="connsiteX10" fmla="*/ 3110 w 9628"/>
                <a:gd name="connsiteY10" fmla="*/ 3647 h 10000"/>
                <a:gd name="connsiteX11" fmla="*/ 3392 w 9628"/>
                <a:gd name="connsiteY11" fmla="*/ 2972 h 10000"/>
                <a:gd name="connsiteX12" fmla="*/ 3676 w 9628"/>
                <a:gd name="connsiteY12" fmla="*/ 2357 h 10000"/>
                <a:gd name="connsiteX13" fmla="*/ 3826 w 9628"/>
                <a:gd name="connsiteY13" fmla="*/ 2048 h 10000"/>
                <a:gd name="connsiteX14" fmla="*/ 3976 w 9628"/>
                <a:gd name="connsiteY14" fmla="*/ 1803 h 10000"/>
                <a:gd name="connsiteX15" fmla="*/ 4140 w 9628"/>
                <a:gd name="connsiteY15" fmla="*/ 1536 h 10000"/>
                <a:gd name="connsiteX16" fmla="*/ 4290 w 9628"/>
                <a:gd name="connsiteY16" fmla="*/ 1312 h 10000"/>
                <a:gd name="connsiteX17" fmla="*/ 4454 w 9628"/>
                <a:gd name="connsiteY17" fmla="*/ 1109 h 10000"/>
                <a:gd name="connsiteX18" fmla="*/ 4619 w 9628"/>
                <a:gd name="connsiteY18" fmla="*/ 922 h 10000"/>
                <a:gd name="connsiteX19" fmla="*/ 4784 w 9628"/>
                <a:gd name="connsiteY19" fmla="*/ 758 h 10000"/>
                <a:gd name="connsiteX20" fmla="*/ 4963 w 9628"/>
                <a:gd name="connsiteY20" fmla="*/ 634 h 10000"/>
                <a:gd name="connsiteX21" fmla="*/ 5127 w 9628"/>
                <a:gd name="connsiteY21" fmla="*/ 512 h 10000"/>
                <a:gd name="connsiteX22" fmla="*/ 5306 w 9628"/>
                <a:gd name="connsiteY22" fmla="*/ 450 h 10000"/>
                <a:gd name="connsiteX23" fmla="*/ 5499 w 9628"/>
                <a:gd name="connsiteY23" fmla="*/ 388 h 10000"/>
                <a:gd name="connsiteX24" fmla="*/ 5694 w 9628"/>
                <a:gd name="connsiteY24" fmla="*/ 388 h 10000"/>
                <a:gd name="connsiteX25" fmla="*/ 5934 w 9628"/>
                <a:gd name="connsiteY25" fmla="*/ 410 h 10000"/>
                <a:gd name="connsiteX26" fmla="*/ 6172 w 9628"/>
                <a:gd name="connsiteY26" fmla="*/ 492 h 10000"/>
                <a:gd name="connsiteX27" fmla="*/ 6382 w 9628"/>
                <a:gd name="connsiteY27" fmla="*/ 634 h 10000"/>
                <a:gd name="connsiteX28" fmla="*/ 6608 w 9628"/>
                <a:gd name="connsiteY28" fmla="*/ 780 h 10000"/>
                <a:gd name="connsiteX29" fmla="*/ 6800 w 9628"/>
                <a:gd name="connsiteY29" fmla="*/ 985 h 10000"/>
                <a:gd name="connsiteX30" fmla="*/ 7010 w 9628"/>
                <a:gd name="connsiteY30" fmla="*/ 1250 h 10000"/>
                <a:gd name="connsiteX31" fmla="*/ 7189 w 9628"/>
                <a:gd name="connsiteY31" fmla="*/ 1536 h 10000"/>
                <a:gd name="connsiteX32" fmla="*/ 7399 w 9628"/>
                <a:gd name="connsiteY32" fmla="*/ 1864 h 10000"/>
                <a:gd name="connsiteX33" fmla="*/ 7566 w 9628"/>
                <a:gd name="connsiteY33" fmla="*/ 2213 h 10000"/>
                <a:gd name="connsiteX34" fmla="*/ 7743 w 9628"/>
                <a:gd name="connsiteY34" fmla="*/ 2602 h 10000"/>
                <a:gd name="connsiteX35" fmla="*/ 7907 w 9628"/>
                <a:gd name="connsiteY35" fmla="*/ 2990 h 10000"/>
                <a:gd name="connsiteX36" fmla="*/ 8100 w 9628"/>
                <a:gd name="connsiteY36" fmla="*/ 3424 h 10000"/>
                <a:gd name="connsiteX37" fmla="*/ 8430 w 9628"/>
                <a:gd name="connsiteY37" fmla="*/ 4344 h 10000"/>
                <a:gd name="connsiteX38" fmla="*/ 9628 w 9628"/>
                <a:gd name="connsiteY38" fmla="*/ 3730 h 10000"/>
                <a:gd name="connsiteX39" fmla="*/ 9445 w 9628"/>
                <a:gd name="connsiteY39" fmla="*/ 3340 h 10000"/>
                <a:gd name="connsiteX40" fmla="*/ 9252 w 9628"/>
                <a:gd name="connsiteY40" fmla="*/ 2972 h 10000"/>
                <a:gd name="connsiteX41" fmla="*/ 9056 w 9628"/>
                <a:gd name="connsiteY41" fmla="*/ 2602 h 10000"/>
                <a:gd name="connsiteX42" fmla="*/ 8850 w 9628"/>
                <a:gd name="connsiteY42" fmla="*/ 2252 h 10000"/>
                <a:gd name="connsiteX43" fmla="*/ 8640 w 9628"/>
                <a:gd name="connsiteY43" fmla="*/ 1925 h 10000"/>
                <a:gd name="connsiteX44" fmla="*/ 8416 w 9628"/>
                <a:gd name="connsiteY44" fmla="*/ 1641 h 10000"/>
                <a:gd name="connsiteX45" fmla="*/ 8176 w 9628"/>
                <a:gd name="connsiteY45" fmla="*/ 1334 h 10000"/>
                <a:gd name="connsiteX46" fmla="*/ 7953 w 9628"/>
                <a:gd name="connsiteY46" fmla="*/ 1086 h 10000"/>
                <a:gd name="connsiteX47" fmla="*/ 7699 w 9628"/>
                <a:gd name="connsiteY47" fmla="*/ 863 h 10000"/>
                <a:gd name="connsiteX48" fmla="*/ 7443 w 9628"/>
                <a:gd name="connsiteY48" fmla="*/ 656 h 10000"/>
                <a:gd name="connsiteX49" fmla="*/ 7174 w 9628"/>
                <a:gd name="connsiteY49" fmla="*/ 470 h 10000"/>
                <a:gd name="connsiteX50" fmla="*/ 6906 w 9628"/>
                <a:gd name="connsiteY50" fmla="*/ 307 h 10000"/>
                <a:gd name="connsiteX51" fmla="*/ 6622 w 9628"/>
                <a:gd name="connsiteY51" fmla="*/ 184 h 10000"/>
                <a:gd name="connsiteX52" fmla="*/ 6321 w 9628"/>
                <a:gd name="connsiteY52" fmla="*/ 101 h 10000"/>
                <a:gd name="connsiteX53" fmla="*/ 6009 w 9628"/>
                <a:gd name="connsiteY53" fmla="*/ 21 h 10000"/>
                <a:gd name="connsiteX54" fmla="*/ 5694 w 9628"/>
                <a:gd name="connsiteY54" fmla="*/ 0 h 10000"/>
                <a:gd name="connsiteX55" fmla="*/ 5425 w 9628"/>
                <a:gd name="connsiteY55" fmla="*/ 21 h 10000"/>
                <a:gd name="connsiteX56" fmla="*/ 5173 w 9628"/>
                <a:gd name="connsiteY56" fmla="*/ 61 h 10000"/>
                <a:gd name="connsiteX57" fmla="*/ 4919 w 9628"/>
                <a:gd name="connsiteY57" fmla="*/ 124 h 10000"/>
                <a:gd name="connsiteX58" fmla="*/ 4695 w 9628"/>
                <a:gd name="connsiteY58" fmla="*/ 184 h 10000"/>
                <a:gd name="connsiteX59" fmla="*/ 4454 w 9628"/>
                <a:gd name="connsiteY59" fmla="*/ 285 h 10000"/>
                <a:gd name="connsiteX60" fmla="*/ 4215 w 9628"/>
                <a:gd name="connsiteY60" fmla="*/ 388 h 10000"/>
                <a:gd name="connsiteX61" fmla="*/ 4006 w 9628"/>
                <a:gd name="connsiteY61" fmla="*/ 532 h 10000"/>
                <a:gd name="connsiteX62" fmla="*/ 3781 w 9628"/>
                <a:gd name="connsiteY62" fmla="*/ 698 h 10000"/>
                <a:gd name="connsiteX63" fmla="*/ 3588 w 9628"/>
                <a:gd name="connsiteY63" fmla="*/ 881 h 10000"/>
                <a:gd name="connsiteX64" fmla="*/ 3379 w 9628"/>
                <a:gd name="connsiteY64" fmla="*/ 1065 h 10000"/>
                <a:gd name="connsiteX65" fmla="*/ 3185 w 9628"/>
                <a:gd name="connsiteY65" fmla="*/ 1271 h 10000"/>
                <a:gd name="connsiteX66" fmla="*/ 2990 w 9628"/>
                <a:gd name="connsiteY66" fmla="*/ 1497 h 10000"/>
                <a:gd name="connsiteX67" fmla="*/ 2811 w 9628"/>
                <a:gd name="connsiteY67" fmla="*/ 1720 h 10000"/>
                <a:gd name="connsiteX68" fmla="*/ 2616 w 9628"/>
                <a:gd name="connsiteY68" fmla="*/ 1989 h 10000"/>
                <a:gd name="connsiteX69" fmla="*/ 2272 w 9628"/>
                <a:gd name="connsiteY69" fmla="*/ 2540 h 10000"/>
                <a:gd name="connsiteX70" fmla="*/ 1944 w 9628"/>
                <a:gd name="connsiteY70" fmla="*/ 3116 h 10000"/>
                <a:gd name="connsiteX71" fmla="*/ 1631 w 9628"/>
                <a:gd name="connsiteY71" fmla="*/ 3730 h 10000"/>
                <a:gd name="connsiteX72" fmla="*/ 1331 w 9628"/>
                <a:gd name="connsiteY72" fmla="*/ 4386 h 10000"/>
                <a:gd name="connsiteX73" fmla="*/ 1047 w 9628"/>
                <a:gd name="connsiteY73" fmla="*/ 5062 h 10000"/>
                <a:gd name="connsiteX74" fmla="*/ 777 w 9628"/>
                <a:gd name="connsiteY74" fmla="*/ 5737 h 10000"/>
                <a:gd name="connsiteX75" fmla="*/ 510 w 9628"/>
                <a:gd name="connsiteY75" fmla="*/ 6455 h 10000"/>
                <a:gd name="connsiteX76" fmla="*/ 0 w 9628"/>
                <a:gd name="connsiteY7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388 w 10000"/>
                <a:gd name="connsiteY2" fmla="*/ 8955 h 10000"/>
                <a:gd name="connsiteX3" fmla="*/ 745 w 10000"/>
                <a:gd name="connsiteY3" fmla="*/ 10000 h 10000"/>
                <a:gd name="connsiteX4" fmla="*/ 1103 w 10000"/>
                <a:gd name="connsiteY4" fmla="*/ 9222 h 10000"/>
                <a:gd name="connsiteX5" fmla="*/ 1428 w 10000"/>
                <a:gd name="connsiteY5" fmla="*/ 8403 h 10000"/>
                <a:gd name="connsiteX6" fmla="*/ 1770 w 10000"/>
                <a:gd name="connsiteY6" fmla="*/ 7602 h 10000"/>
                <a:gd name="connsiteX7" fmla="*/ 2064 w 10000"/>
                <a:gd name="connsiteY7" fmla="*/ 6782 h 10000"/>
                <a:gd name="connsiteX8" fmla="*/ 2655 w 10000"/>
                <a:gd name="connsiteY8" fmla="*/ 5165 h 10000"/>
                <a:gd name="connsiteX9" fmla="*/ 2952 w 10000"/>
                <a:gd name="connsiteY9" fmla="*/ 4386 h 10000"/>
                <a:gd name="connsiteX10" fmla="*/ 3230 w 10000"/>
                <a:gd name="connsiteY10" fmla="*/ 3647 h 10000"/>
                <a:gd name="connsiteX11" fmla="*/ 3523 w 10000"/>
                <a:gd name="connsiteY11" fmla="*/ 2972 h 10000"/>
                <a:gd name="connsiteX12" fmla="*/ 3818 w 10000"/>
                <a:gd name="connsiteY12" fmla="*/ 2357 h 10000"/>
                <a:gd name="connsiteX13" fmla="*/ 3974 w 10000"/>
                <a:gd name="connsiteY13" fmla="*/ 2048 h 10000"/>
                <a:gd name="connsiteX14" fmla="*/ 4130 w 10000"/>
                <a:gd name="connsiteY14" fmla="*/ 1803 h 10000"/>
                <a:gd name="connsiteX15" fmla="*/ 4300 w 10000"/>
                <a:gd name="connsiteY15" fmla="*/ 1536 h 10000"/>
                <a:gd name="connsiteX16" fmla="*/ 4456 w 10000"/>
                <a:gd name="connsiteY16" fmla="*/ 1312 h 10000"/>
                <a:gd name="connsiteX17" fmla="*/ 4626 w 10000"/>
                <a:gd name="connsiteY17" fmla="*/ 1109 h 10000"/>
                <a:gd name="connsiteX18" fmla="*/ 4797 w 10000"/>
                <a:gd name="connsiteY18" fmla="*/ 922 h 10000"/>
                <a:gd name="connsiteX19" fmla="*/ 4969 w 10000"/>
                <a:gd name="connsiteY19" fmla="*/ 758 h 10000"/>
                <a:gd name="connsiteX20" fmla="*/ 5155 w 10000"/>
                <a:gd name="connsiteY20" fmla="*/ 634 h 10000"/>
                <a:gd name="connsiteX21" fmla="*/ 5325 w 10000"/>
                <a:gd name="connsiteY21" fmla="*/ 512 h 10000"/>
                <a:gd name="connsiteX22" fmla="*/ 5511 w 10000"/>
                <a:gd name="connsiteY22" fmla="*/ 450 h 10000"/>
                <a:gd name="connsiteX23" fmla="*/ 5711 w 10000"/>
                <a:gd name="connsiteY23" fmla="*/ 388 h 10000"/>
                <a:gd name="connsiteX24" fmla="*/ 5914 w 10000"/>
                <a:gd name="connsiteY24" fmla="*/ 388 h 10000"/>
                <a:gd name="connsiteX25" fmla="*/ 6163 w 10000"/>
                <a:gd name="connsiteY25" fmla="*/ 410 h 10000"/>
                <a:gd name="connsiteX26" fmla="*/ 6410 w 10000"/>
                <a:gd name="connsiteY26" fmla="*/ 492 h 10000"/>
                <a:gd name="connsiteX27" fmla="*/ 6629 w 10000"/>
                <a:gd name="connsiteY27" fmla="*/ 634 h 10000"/>
                <a:gd name="connsiteX28" fmla="*/ 6863 w 10000"/>
                <a:gd name="connsiteY28" fmla="*/ 780 h 10000"/>
                <a:gd name="connsiteX29" fmla="*/ 7063 w 10000"/>
                <a:gd name="connsiteY29" fmla="*/ 985 h 10000"/>
                <a:gd name="connsiteX30" fmla="*/ 7281 w 10000"/>
                <a:gd name="connsiteY30" fmla="*/ 1250 h 10000"/>
                <a:gd name="connsiteX31" fmla="*/ 7467 w 10000"/>
                <a:gd name="connsiteY31" fmla="*/ 1536 h 10000"/>
                <a:gd name="connsiteX32" fmla="*/ 7685 w 10000"/>
                <a:gd name="connsiteY32" fmla="*/ 1864 h 10000"/>
                <a:gd name="connsiteX33" fmla="*/ 7858 w 10000"/>
                <a:gd name="connsiteY33" fmla="*/ 2213 h 10000"/>
                <a:gd name="connsiteX34" fmla="*/ 8042 w 10000"/>
                <a:gd name="connsiteY34" fmla="*/ 2602 h 10000"/>
                <a:gd name="connsiteX35" fmla="*/ 8213 w 10000"/>
                <a:gd name="connsiteY35" fmla="*/ 2990 h 10000"/>
                <a:gd name="connsiteX36" fmla="*/ 8413 w 10000"/>
                <a:gd name="connsiteY36" fmla="*/ 3424 h 10000"/>
                <a:gd name="connsiteX37" fmla="*/ 8756 w 10000"/>
                <a:gd name="connsiteY37" fmla="*/ 4344 h 10000"/>
                <a:gd name="connsiteX38" fmla="*/ 10000 w 10000"/>
                <a:gd name="connsiteY38" fmla="*/ 3730 h 10000"/>
                <a:gd name="connsiteX39" fmla="*/ 9810 w 10000"/>
                <a:gd name="connsiteY39" fmla="*/ 3340 h 10000"/>
                <a:gd name="connsiteX40" fmla="*/ 9406 w 10000"/>
                <a:gd name="connsiteY40" fmla="*/ 2602 h 10000"/>
                <a:gd name="connsiteX41" fmla="*/ 9192 w 10000"/>
                <a:gd name="connsiteY41" fmla="*/ 2252 h 10000"/>
                <a:gd name="connsiteX42" fmla="*/ 8974 w 10000"/>
                <a:gd name="connsiteY42" fmla="*/ 1925 h 10000"/>
                <a:gd name="connsiteX43" fmla="*/ 8741 w 10000"/>
                <a:gd name="connsiteY43" fmla="*/ 1641 h 10000"/>
                <a:gd name="connsiteX44" fmla="*/ 8492 w 10000"/>
                <a:gd name="connsiteY44" fmla="*/ 1334 h 10000"/>
                <a:gd name="connsiteX45" fmla="*/ 8260 w 10000"/>
                <a:gd name="connsiteY45" fmla="*/ 1086 h 10000"/>
                <a:gd name="connsiteX46" fmla="*/ 7996 w 10000"/>
                <a:gd name="connsiteY46" fmla="*/ 863 h 10000"/>
                <a:gd name="connsiteX47" fmla="*/ 7731 w 10000"/>
                <a:gd name="connsiteY47" fmla="*/ 656 h 10000"/>
                <a:gd name="connsiteX48" fmla="*/ 7451 w 10000"/>
                <a:gd name="connsiteY48" fmla="*/ 470 h 10000"/>
                <a:gd name="connsiteX49" fmla="*/ 7173 w 10000"/>
                <a:gd name="connsiteY49" fmla="*/ 307 h 10000"/>
                <a:gd name="connsiteX50" fmla="*/ 6878 w 10000"/>
                <a:gd name="connsiteY50" fmla="*/ 184 h 10000"/>
                <a:gd name="connsiteX51" fmla="*/ 6565 w 10000"/>
                <a:gd name="connsiteY51" fmla="*/ 101 h 10000"/>
                <a:gd name="connsiteX52" fmla="*/ 6241 w 10000"/>
                <a:gd name="connsiteY52" fmla="*/ 21 h 10000"/>
                <a:gd name="connsiteX53" fmla="*/ 5914 w 10000"/>
                <a:gd name="connsiteY53" fmla="*/ 0 h 10000"/>
                <a:gd name="connsiteX54" fmla="*/ 5635 w 10000"/>
                <a:gd name="connsiteY54" fmla="*/ 21 h 10000"/>
                <a:gd name="connsiteX55" fmla="*/ 5373 w 10000"/>
                <a:gd name="connsiteY55" fmla="*/ 61 h 10000"/>
                <a:gd name="connsiteX56" fmla="*/ 5109 w 10000"/>
                <a:gd name="connsiteY56" fmla="*/ 124 h 10000"/>
                <a:gd name="connsiteX57" fmla="*/ 4876 w 10000"/>
                <a:gd name="connsiteY57" fmla="*/ 184 h 10000"/>
                <a:gd name="connsiteX58" fmla="*/ 4626 w 10000"/>
                <a:gd name="connsiteY58" fmla="*/ 285 h 10000"/>
                <a:gd name="connsiteX59" fmla="*/ 4378 w 10000"/>
                <a:gd name="connsiteY59" fmla="*/ 388 h 10000"/>
                <a:gd name="connsiteX60" fmla="*/ 4161 w 10000"/>
                <a:gd name="connsiteY60" fmla="*/ 532 h 10000"/>
                <a:gd name="connsiteX61" fmla="*/ 3927 w 10000"/>
                <a:gd name="connsiteY61" fmla="*/ 698 h 10000"/>
                <a:gd name="connsiteX62" fmla="*/ 3727 w 10000"/>
                <a:gd name="connsiteY62" fmla="*/ 881 h 10000"/>
                <a:gd name="connsiteX63" fmla="*/ 3510 w 10000"/>
                <a:gd name="connsiteY63" fmla="*/ 1065 h 10000"/>
                <a:gd name="connsiteX64" fmla="*/ 3308 w 10000"/>
                <a:gd name="connsiteY64" fmla="*/ 1271 h 10000"/>
                <a:gd name="connsiteX65" fmla="*/ 3106 w 10000"/>
                <a:gd name="connsiteY65" fmla="*/ 1497 h 10000"/>
                <a:gd name="connsiteX66" fmla="*/ 2920 w 10000"/>
                <a:gd name="connsiteY66" fmla="*/ 1720 h 10000"/>
                <a:gd name="connsiteX67" fmla="*/ 2717 w 10000"/>
                <a:gd name="connsiteY67" fmla="*/ 1989 h 10000"/>
                <a:gd name="connsiteX68" fmla="*/ 2360 w 10000"/>
                <a:gd name="connsiteY68" fmla="*/ 2540 h 10000"/>
                <a:gd name="connsiteX69" fmla="*/ 2019 w 10000"/>
                <a:gd name="connsiteY69" fmla="*/ 3116 h 10000"/>
                <a:gd name="connsiteX70" fmla="*/ 1694 w 10000"/>
                <a:gd name="connsiteY70" fmla="*/ 3730 h 10000"/>
                <a:gd name="connsiteX71" fmla="*/ 1382 w 10000"/>
                <a:gd name="connsiteY71" fmla="*/ 4386 h 10000"/>
                <a:gd name="connsiteX72" fmla="*/ 1087 w 10000"/>
                <a:gd name="connsiteY72" fmla="*/ 5062 h 10000"/>
                <a:gd name="connsiteX73" fmla="*/ 807 w 10000"/>
                <a:gd name="connsiteY73" fmla="*/ 5737 h 10000"/>
                <a:gd name="connsiteX74" fmla="*/ 530 w 10000"/>
                <a:gd name="connsiteY74" fmla="*/ 6455 h 10000"/>
                <a:gd name="connsiteX75" fmla="*/ 0 w 10000"/>
                <a:gd name="connsiteY75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388 w 10013"/>
                <a:gd name="connsiteY2" fmla="*/ 8955 h 10000"/>
                <a:gd name="connsiteX3" fmla="*/ 745 w 10013"/>
                <a:gd name="connsiteY3" fmla="*/ 10000 h 10000"/>
                <a:gd name="connsiteX4" fmla="*/ 1103 w 10013"/>
                <a:gd name="connsiteY4" fmla="*/ 9222 h 10000"/>
                <a:gd name="connsiteX5" fmla="*/ 1428 w 10013"/>
                <a:gd name="connsiteY5" fmla="*/ 8403 h 10000"/>
                <a:gd name="connsiteX6" fmla="*/ 1770 w 10013"/>
                <a:gd name="connsiteY6" fmla="*/ 7602 h 10000"/>
                <a:gd name="connsiteX7" fmla="*/ 2064 w 10013"/>
                <a:gd name="connsiteY7" fmla="*/ 6782 h 10000"/>
                <a:gd name="connsiteX8" fmla="*/ 2655 w 10013"/>
                <a:gd name="connsiteY8" fmla="*/ 5165 h 10000"/>
                <a:gd name="connsiteX9" fmla="*/ 2952 w 10013"/>
                <a:gd name="connsiteY9" fmla="*/ 4386 h 10000"/>
                <a:gd name="connsiteX10" fmla="*/ 3230 w 10013"/>
                <a:gd name="connsiteY10" fmla="*/ 3647 h 10000"/>
                <a:gd name="connsiteX11" fmla="*/ 3523 w 10013"/>
                <a:gd name="connsiteY11" fmla="*/ 2972 h 10000"/>
                <a:gd name="connsiteX12" fmla="*/ 3818 w 10013"/>
                <a:gd name="connsiteY12" fmla="*/ 2357 h 10000"/>
                <a:gd name="connsiteX13" fmla="*/ 3974 w 10013"/>
                <a:gd name="connsiteY13" fmla="*/ 2048 h 10000"/>
                <a:gd name="connsiteX14" fmla="*/ 4130 w 10013"/>
                <a:gd name="connsiteY14" fmla="*/ 1803 h 10000"/>
                <a:gd name="connsiteX15" fmla="*/ 4300 w 10013"/>
                <a:gd name="connsiteY15" fmla="*/ 1536 h 10000"/>
                <a:gd name="connsiteX16" fmla="*/ 4456 w 10013"/>
                <a:gd name="connsiteY16" fmla="*/ 1312 h 10000"/>
                <a:gd name="connsiteX17" fmla="*/ 4626 w 10013"/>
                <a:gd name="connsiteY17" fmla="*/ 1109 h 10000"/>
                <a:gd name="connsiteX18" fmla="*/ 4797 w 10013"/>
                <a:gd name="connsiteY18" fmla="*/ 922 h 10000"/>
                <a:gd name="connsiteX19" fmla="*/ 4969 w 10013"/>
                <a:gd name="connsiteY19" fmla="*/ 758 h 10000"/>
                <a:gd name="connsiteX20" fmla="*/ 5155 w 10013"/>
                <a:gd name="connsiteY20" fmla="*/ 634 h 10000"/>
                <a:gd name="connsiteX21" fmla="*/ 5325 w 10013"/>
                <a:gd name="connsiteY21" fmla="*/ 512 h 10000"/>
                <a:gd name="connsiteX22" fmla="*/ 5511 w 10013"/>
                <a:gd name="connsiteY22" fmla="*/ 450 h 10000"/>
                <a:gd name="connsiteX23" fmla="*/ 5711 w 10013"/>
                <a:gd name="connsiteY23" fmla="*/ 388 h 10000"/>
                <a:gd name="connsiteX24" fmla="*/ 5914 w 10013"/>
                <a:gd name="connsiteY24" fmla="*/ 388 h 10000"/>
                <a:gd name="connsiteX25" fmla="*/ 6163 w 10013"/>
                <a:gd name="connsiteY25" fmla="*/ 410 h 10000"/>
                <a:gd name="connsiteX26" fmla="*/ 6410 w 10013"/>
                <a:gd name="connsiteY26" fmla="*/ 492 h 10000"/>
                <a:gd name="connsiteX27" fmla="*/ 6629 w 10013"/>
                <a:gd name="connsiteY27" fmla="*/ 634 h 10000"/>
                <a:gd name="connsiteX28" fmla="*/ 6863 w 10013"/>
                <a:gd name="connsiteY28" fmla="*/ 780 h 10000"/>
                <a:gd name="connsiteX29" fmla="*/ 7063 w 10013"/>
                <a:gd name="connsiteY29" fmla="*/ 985 h 10000"/>
                <a:gd name="connsiteX30" fmla="*/ 7281 w 10013"/>
                <a:gd name="connsiteY30" fmla="*/ 1250 h 10000"/>
                <a:gd name="connsiteX31" fmla="*/ 7467 w 10013"/>
                <a:gd name="connsiteY31" fmla="*/ 1536 h 10000"/>
                <a:gd name="connsiteX32" fmla="*/ 7685 w 10013"/>
                <a:gd name="connsiteY32" fmla="*/ 1864 h 10000"/>
                <a:gd name="connsiteX33" fmla="*/ 7858 w 10013"/>
                <a:gd name="connsiteY33" fmla="*/ 2213 h 10000"/>
                <a:gd name="connsiteX34" fmla="*/ 8042 w 10013"/>
                <a:gd name="connsiteY34" fmla="*/ 2602 h 10000"/>
                <a:gd name="connsiteX35" fmla="*/ 8213 w 10013"/>
                <a:gd name="connsiteY35" fmla="*/ 2990 h 10000"/>
                <a:gd name="connsiteX36" fmla="*/ 8413 w 10013"/>
                <a:gd name="connsiteY36" fmla="*/ 3424 h 10000"/>
                <a:gd name="connsiteX37" fmla="*/ 8756 w 10013"/>
                <a:gd name="connsiteY37" fmla="*/ 4344 h 10000"/>
                <a:gd name="connsiteX38" fmla="*/ 10000 w 10013"/>
                <a:gd name="connsiteY38" fmla="*/ 3730 h 10000"/>
                <a:gd name="connsiteX39" fmla="*/ 9406 w 10013"/>
                <a:gd name="connsiteY39" fmla="*/ 2602 h 10000"/>
                <a:gd name="connsiteX40" fmla="*/ 9192 w 10013"/>
                <a:gd name="connsiteY40" fmla="*/ 2252 h 10000"/>
                <a:gd name="connsiteX41" fmla="*/ 8974 w 10013"/>
                <a:gd name="connsiteY41" fmla="*/ 1925 h 10000"/>
                <a:gd name="connsiteX42" fmla="*/ 8741 w 10013"/>
                <a:gd name="connsiteY42" fmla="*/ 1641 h 10000"/>
                <a:gd name="connsiteX43" fmla="*/ 8492 w 10013"/>
                <a:gd name="connsiteY43" fmla="*/ 1334 h 10000"/>
                <a:gd name="connsiteX44" fmla="*/ 8260 w 10013"/>
                <a:gd name="connsiteY44" fmla="*/ 1086 h 10000"/>
                <a:gd name="connsiteX45" fmla="*/ 7996 w 10013"/>
                <a:gd name="connsiteY45" fmla="*/ 863 h 10000"/>
                <a:gd name="connsiteX46" fmla="*/ 7731 w 10013"/>
                <a:gd name="connsiteY46" fmla="*/ 656 h 10000"/>
                <a:gd name="connsiteX47" fmla="*/ 7451 w 10013"/>
                <a:gd name="connsiteY47" fmla="*/ 470 h 10000"/>
                <a:gd name="connsiteX48" fmla="*/ 7173 w 10013"/>
                <a:gd name="connsiteY48" fmla="*/ 307 h 10000"/>
                <a:gd name="connsiteX49" fmla="*/ 6878 w 10013"/>
                <a:gd name="connsiteY49" fmla="*/ 184 h 10000"/>
                <a:gd name="connsiteX50" fmla="*/ 6565 w 10013"/>
                <a:gd name="connsiteY50" fmla="*/ 101 h 10000"/>
                <a:gd name="connsiteX51" fmla="*/ 6241 w 10013"/>
                <a:gd name="connsiteY51" fmla="*/ 21 h 10000"/>
                <a:gd name="connsiteX52" fmla="*/ 5914 w 10013"/>
                <a:gd name="connsiteY52" fmla="*/ 0 h 10000"/>
                <a:gd name="connsiteX53" fmla="*/ 5635 w 10013"/>
                <a:gd name="connsiteY53" fmla="*/ 21 h 10000"/>
                <a:gd name="connsiteX54" fmla="*/ 5373 w 10013"/>
                <a:gd name="connsiteY54" fmla="*/ 61 h 10000"/>
                <a:gd name="connsiteX55" fmla="*/ 5109 w 10013"/>
                <a:gd name="connsiteY55" fmla="*/ 124 h 10000"/>
                <a:gd name="connsiteX56" fmla="*/ 4876 w 10013"/>
                <a:gd name="connsiteY56" fmla="*/ 184 h 10000"/>
                <a:gd name="connsiteX57" fmla="*/ 4626 w 10013"/>
                <a:gd name="connsiteY57" fmla="*/ 285 h 10000"/>
                <a:gd name="connsiteX58" fmla="*/ 4378 w 10013"/>
                <a:gd name="connsiteY58" fmla="*/ 388 h 10000"/>
                <a:gd name="connsiteX59" fmla="*/ 4161 w 10013"/>
                <a:gd name="connsiteY59" fmla="*/ 532 h 10000"/>
                <a:gd name="connsiteX60" fmla="*/ 3927 w 10013"/>
                <a:gd name="connsiteY60" fmla="*/ 698 h 10000"/>
                <a:gd name="connsiteX61" fmla="*/ 3727 w 10013"/>
                <a:gd name="connsiteY61" fmla="*/ 881 h 10000"/>
                <a:gd name="connsiteX62" fmla="*/ 3510 w 10013"/>
                <a:gd name="connsiteY62" fmla="*/ 1065 h 10000"/>
                <a:gd name="connsiteX63" fmla="*/ 3308 w 10013"/>
                <a:gd name="connsiteY63" fmla="*/ 1271 h 10000"/>
                <a:gd name="connsiteX64" fmla="*/ 3106 w 10013"/>
                <a:gd name="connsiteY64" fmla="*/ 1497 h 10000"/>
                <a:gd name="connsiteX65" fmla="*/ 2920 w 10013"/>
                <a:gd name="connsiteY65" fmla="*/ 1720 h 10000"/>
                <a:gd name="connsiteX66" fmla="*/ 2717 w 10013"/>
                <a:gd name="connsiteY66" fmla="*/ 1989 h 10000"/>
                <a:gd name="connsiteX67" fmla="*/ 2360 w 10013"/>
                <a:gd name="connsiteY67" fmla="*/ 2540 h 10000"/>
                <a:gd name="connsiteX68" fmla="*/ 2019 w 10013"/>
                <a:gd name="connsiteY68" fmla="*/ 3116 h 10000"/>
                <a:gd name="connsiteX69" fmla="*/ 1694 w 10013"/>
                <a:gd name="connsiteY69" fmla="*/ 3730 h 10000"/>
                <a:gd name="connsiteX70" fmla="*/ 1382 w 10013"/>
                <a:gd name="connsiteY70" fmla="*/ 4386 h 10000"/>
                <a:gd name="connsiteX71" fmla="*/ 1087 w 10013"/>
                <a:gd name="connsiteY71" fmla="*/ 5062 h 10000"/>
                <a:gd name="connsiteX72" fmla="*/ 807 w 10013"/>
                <a:gd name="connsiteY72" fmla="*/ 5737 h 10000"/>
                <a:gd name="connsiteX73" fmla="*/ 530 w 10013"/>
                <a:gd name="connsiteY73" fmla="*/ 6455 h 10000"/>
                <a:gd name="connsiteX74" fmla="*/ 0 w 10013"/>
                <a:gd name="connsiteY74" fmla="*/ 7890 h 10000"/>
                <a:gd name="connsiteX0" fmla="*/ 0 w 9406"/>
                <a:gd name="connsiteY0" fmla="*/ 7890 h 10000"/>
                <a:gd name="connsiteX1" fmla="*/ 0 w 9406"/>
                <a:gd name="connsiteY1" fmla="*/ 7890 h 10000"/>
                <a:gd name="connsiteX2" fmla="*/ 388 w 9406"/>
                <a:gd name="connsiteY2" fmla="*/ 8955 h 10000"/>
                <a:gd name="connsiteX3" fmla="*/ 745 w 9406"/>
                <a:gd name="connsiteY3" fmla="*/ 10000 h 10000"/>
                <a:gd name="connsiteX4" fmla="*/ 1103 w 9406"/>
                <a:gd name="connsiteY4" fmla="*/ 9222 h 10000"/>
                <a:gd name="connsiteX5" fmla="*/ 1428 w 9406"/>
                <a:gd name="connsiteY5" fmla="*/ 8403 h 10000"/>
                <a:gd name="connsiteX6" fmla="*/ 1770 w 9406"/>
                <a:gd name="connsiteY6" fmla="*/ 7602 h 10000"/>
                <a:gd name="connsiteX7" fmla="*/ 2064 w 9406"/>
                <a:gd name="connsiteY7" fmla="*/ 6782 h 10000"/>
                <a:gd name="connsiteX8" fmla="*/ 2655 w 9406"/>
                <a:gd name="connsiteY8" fmla="*/ 5165 h 10000"/>
                <a:gd name="connsiteX9" fmla="*/ 2952 w 9406"/>
                <a:gd name="connsiteY9" fmla="*/ 4386 h 10000"/>
                <a:gd name="connsiteX10" fmla="*/ 3230 w 9406"/>
                <a:gd name="connsiteY10" fmla="*/ 3647 h 10000"/>
                <a:gd name="connsiteX11" fmla="*/ 3523 w 9406"/>
                <a:gd name="connsiteY11" fmla="*/ 2972 h 10000"/>
                <a:gd name="connsiteX12" fmla="*/ 3818 w 9406"/>
                <a:gd name="connsiteY12" fmla="*/ 2357 h 10000"/>
                <a:gd name="connsiteX13" fmla="*/ 3974 w 9406"/>
                <a:gd name="connsiteY13" fmla="*/ 2048 h 10000"/>
                <a:gd name="connsiteX14" fmla="*/ 4130 w 9406"/>
                <a:gd name="connsiteY14" fmla="*/ 1803 h 10000"/>
                <a:gd name="connsiteX15" fmla="*/ 4300 w 9406"/>
                <a:gd name="connsiteY15" fmla="*/ 1536 h 10000"/>
                <a:gd name="connsiteX16" fmla="*/ 4456 w 9406"/>
                <a:gd name="connsiteY16" fmla="*/ 1312 h 10000"/>
                <a:gd name="connsiteX17" fmla="*/ 4626 w 9406"/>
                <a:gd name="connsiteY17" fmla="*/ 1109 h 10000"/>
                <a:gd name="connsiteX18" fmla="*/ 4797 w 9406"/>
                <a:gd name="connsiteY18" fmla="*/ 922 h 10000"/>
                <a:gd name="connsiteX19" fmla="*/ 4969 w 9406"/>
                <a:gd name="connsiteY19" fmla="*/ 758 h 10000"/>
                <a:gd name="connsiteX20" fmla="*/ 5155 w 9406"/>
                <a:gd name="connsiteY20" fmla="*/ 634 h 10000"/>
                <a:gd name="connsiteX21" fmla="*/ 5325 w 9406"/>
                <a:gd name="connsiteY21" fmla="*/ 512 h 10000"/>
                <a:gd name="connsiteX22" fmla="*/ 5511 w 9406"/>
                <a:gd name="connsiteY22" fmla="*/ 450 h 10000"/>
                <a:gd name="connsiteX23" fmla="*/ 5711 w 9406"/>
                <a:gd name="connsiteY23" fmla="*/ 388 h 10000"/>
                <a:gd name="connsiteX24" fmla="*/ 5914 w 9406"/>
                <a:gd name="connsiteY24" fmla="*/ 388 h 10000"/>
                <a:gd name="connsiteX25" fmla="*/ 6163 w 9406"/>
                <a:gd name="connsiteY25" fmla="*/ 410 h 10000"/>
                <a:gd name="connsiteX26" fmla="*/ 6410 w 9406"/>
                <a:gd name="connsiteY26" fmla="*/ 492 h 10000"/>
                <a:gd name="connsiteX27" fmla="*/ 6629 w 9406"/>
                <a:gd name="connsiteY27" fmla="*/ 634 h 10000"/>
                <a:gd name="connsiteX28" fmla="*/ 6863 w 9406"/>
                <a:gd name="connsiteY28" fmla="*/ 780 h 10000"/>
                <a:gd name="connsiteX29" fmla="*/ 7063 w 9406"/>
                <a:gd name="connsiteY29" fmla="*/ 985 h 10000"/>
                <a:gd name="connsiteX30" fmla="*/ 7281 w 9406"/>
                <a:gd name="connsiteY30" fmla="*/ 1250 h 10000"/>
                <a:gd name="connsiteX31" fmla="*/ 7467 w 9406"/>
                <a:gd name="connsiteY31" fmla="*/ 1536 h 10000"/>
                <a:gd name="connsiteX32" fmla="*/ 7685 w 9406"/>
                <a:gd name="connsiteY32" fmla="*/ 1864 h 10000"/>
                <a:gd name="connsiteX33" fmla="*/ 7858 w 9406"/>
                <a:gd name="connsiteY33" fmla="*/ 2213 h 10000"/>
                <a:gd name="connsiteX34" fmla="*/ 8042 w 9406"/>
                <a:gd name="connsiteY34" fmla="*/ 2602 h 10000"/>
                <a:gd name="connsiteX35" fmla="*/ 8213 w 9406"/>
                <a:gd name="connsiteY35" fmla="*/ 2990 h 10000"/>
                <a:gd name="connsiteX36" fmla="*/ 8413 w 9406"/>
                <a:gd name="connsiteY36" fmla="*/ 3424 h 10000"/>
                <a:gd name="connsiteX37" fmla="*/ 8756 w 9406"/>
                <a:gd name="connsiteY37" fmla="*/ 4344 h 10000"/>
                <a:gd name="connsiteX38" fmla="*/ 9406 w 9406"/>
                <a:gd name="connsiteY38" fmla="*/ 2602 h 10000"/>
                <a:gd name="connsiteX39" fmla="*/ 9192 w 9406"/>
                <a:gd name="connsiteY39" fmla="*/ 2252 h 10000"/>
                <a:gd name="connsiteX40" fmla="*/ 8974 w 9406"/>
                <a:gd name="connsiteY40" fmla="*/ 1925 h 10000"/>
                <a:gd name="connsiteX41" fmla="*/ 8741 w 9406"/>
                <a:gd name="connsiteY41" fmla="*/ 1641 h 10000"/>
                <a:gd name="connsiteX42" fmla="*/ 8492 w 9406"/>
                <a:gd name="connsiteY42" fmla="*/ 1334 h 10000"/>
                <a:gd name="connsiteX43" fmla="*/ 8260 w 9406"/>
                <a:gd name="connsiteY43" fmla="*/ 1086 h 10000"/>
                <a:gd name="connsiteX44" fmla="*/ 7996 w 9406"/>
                <a:gd name="connsiteY44" fmla="*/ 863 h 10000"/>
                <a:gd name="connsiteX45" fmla="*/ 7731 w 9406"/>
                <a:gd name="connsiteY45" fmla="*/ 656 h 10000"/>
                <a:gd name="connsiteX46" fmla="*/ 7451 w 9406"/>
                <a:gd name="connsiteY46" fmla="*/ 470 h 10000"/>
                <a:gd name="connsiteX47" fmla="*/ 7173 w 9406"/>
                <a:gd name="connsiteY47" fmla="*/ 307 h 10000"/>
                <a:gd name="connsiteX48" fmla="*/ 6878 w 9406"/>
                <a:gd name="connsiteY48" fmla="*/ 184 h 10000"/>
                <a:gd name="connsiteX49" fmla="*/ 6565 w 9406"/>
                <a:gd name="connsiteY49" fmla="*/ 101 h 10000"/>
                <a:gd name="connsiteX50" fmla="*/ 6241 w 9406"/>
                <a:gd name="connsiteY50" fmla="*/ 21 h 10000"/>
                <a:gd name="connsiteX51" fmla="*/ 5914 w 9406"/>
                <a:gd name="connsiteY51" fmla="*/ 0 h 10000"/>
                <a:gd name="connsiteX52" fmla="*/ 5635 w 9406"/>
                <a:gd name="connsiteY52" fmla="*/ 21 h 10000"/>
                <a:gd name="connsiteX53" fmla="*/ 5373 w 9406"/>
                <a:gd name="connsiteY53" fmla="*/ 61 h 10000"/>
                <a:gd name="connsiteX54" fmla="*/ 5109 w 9406"/>
                <a:gd name="connsiteY54" fmla="*/ 124 h 10000"/>
                <a:gd name="connsiteX55" fmla="*/ 4876 w 9406"/>
                <a:gd name="connsiteY55" fmla="*/ 184 h 10000"/>
                <a:gd name="connsiteX56" fmla="*/ 4626 w 9406"/>
                <a:gd name="connsiteY56" fmla="*/ 285 h 10000"/>
                <a:gd name="connsiteX57" fmla="*/ 4378 w 9406"/>
                <a:gd name="connsiteY57" fmla="*/ 388 h 10000"/>
                <a:gd name="connsiteX58" fmla="*/ 4161 w 9406"/>
                <a:gd name="connsiteY58" fmla="*/ 532 h 10000"/>
                <a:gd name="connsiteX59" fmla="*/ 3927 w 9406"/>
                <a:gd name="connsiteY59" fmla="*/ 698 h 10000"/>
                <a:gd name="connsiteX60" fmla="*/ 3727 w 9406"/>
                <a:gd name="connsiteY60" fmla="*/ 881 h 10000"/>
                <a:gd name="connsiteX61" fmla="*/ 3510 w 9406"/>
                <a:gd name="connsiteY61" fmla="*/ 1065 h 10000"/>
                <a:gd name="connsiteX62" fmla="*/ 3308 w 9406"/>
                <a:gd name="connsiteY62" fmla="*/ 1271 h 10000"/>
                <a:gd name="connsiteX63" fmla="*/ 3106 w 9406"/>
                <a:gd name="connsiteY63" fmla="*/ 1497 h 10000"/>
                <a:gd name="connsiteX64" fmla="*/ 2920 w 9406"/>
                <a:gd name="connsiteY64" fmla="*/ 1720 h 10000"/>
                <a:gd name="connsiteX65" fmla="*/ 2717 w 9406"/>
                <a:gd name="connsiteY65" fmla="*/ 1989 h 10000"/>
                <a:gd name="connsiteX66" fmla="*/ 2360 w 9406"/>
                <a:gd name="connsiteY66" fmla="*/ 2540 h 10000"/>
                <a:gd name="connsiteX67" fmla="*/ 2019 w 9406"/>
                <a:gd name="connsiteY67" fmla="*/ 3116 h 10000"/>
                <a:gd name="connsiteX68" fmla="*/ 1694 w 9406"/>
                <a:gd name="connsiteY68" fmla="*/ 3730 h 10000"/>
                <a:gd name="connsiteX69" fmla="*/ 1382 w 9406"/>
                <a:gd name="connsiteY69" fmla="*/ 4386 h 10000"/>
                <a:gd name="connsiteX70" fmla="*/ 1087 w 9406"/>
                <a:gd name="connsiteY70" fmla="*/ 5062 h 10000"/>
                <a:gd name="connsiteX71" fmla="*/ 807 w 9406"/>
                <a:gd name="connsiteY71" fmla="*/ 5737 h 10000"/>
                <a:gd name="connsiteX72" fmla="*/ 530 w 9406"/>
                <a:gd name="connsiteY72" fmla="*/ 6455 h 10000"/>
                <a:gd name="connsiteX73" fmla="*/ 0 w 9406"/>
                <a:gd name="connsiteY7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13 w 10000"/>
                <a:gd name="connsiteY2" fmla="*/ 8955 h 10000"/>
                <a:gd name="connsiteX3" fmla="*/ 792 w 10000"/>
                <a:gd name="connsiteY3" fmla="*/ 10000 h 10000"/>
                <a:gd name="connsiteX4" fmla="*/ 1173 w 10000"/>
                <a:gd name="connsiteY4" fmla="*/ 9222 h 10000"/>
                <a:gd name="connsiteX5" fmla="*/ 1518 w 10000"/>
                <a:gd name="connsiteY5" fmla="*/ 8403 h 10000"/>
                <a:gd name="connsiteX6" fmla="*/ 1882 w 10000"/>
                <a:gd name="connsiteY6" fmla="*/ 7602 h 10000"/>
                <a:gd name="connsiteX7" fmla="*/ 2194 w 10000"/>
                <a:gd name="connsiteY7" fmla="*/ 6782 h 10000"/>
                <a:gd name="connsiteX8" fmla="*/ 2823 w 10000"/>
                <a:gd name="connsiteY8" fmla="*/ 5165 h 10000"/>
                <a:gd name="connsiteX9" fmla="*/ 3138 w 10000"/>
                <a:gd name="connsiteY9" fmla="*/ 4386 h 10000"/>
                <a:gd name="connsiteX10" fmla="*/ 3434 w 10000"/>
                <a:gd name="connsiteY10" fmla="*/ 3647 h 10000"/>
                <a:gd name="connsiteX11" fmla="*/ 3745 w 10000"/>
                <a:gd name="connsiteY11" fmla="*/ 2972 h 10000"/>
                <a:gd name="connsiteX12" fmla="*/ 4059 w 10000"/>
                <a:gd name="connsiteY12" fmla="*/ 2357 h 10000"/>
                <a:gd name="connsiteX13" fmla="*/ 4225 w 10000"/>
                <a:gd name="connsiteY13" fmla="*/ 2048 h 10000"/>
                <a:gd name="connsiteX14" fmla="*/ 4391 w 10000"/>
                <a:gd name="connsiteY14" fmla="*/ 1803 h 10000"/>
                <a:gd name="connsiteX15" fmla="*/ 4572 w 10000"/>
                <a:gd name="connsiteY15" fmla="*/ 1536 h 10000"/>
                <a:gd name="connsiteX16" fmla="*/ 4737 w 10000"/>
                <a:gd name="connsiteY16" fmla="*/ 1312 h 10000"/>
                <a:gd name="connsiteX17" fmla="*/ 4918 w 10000"/>
                <a:gd name="connsiteY17" fmla="*/ 1109 h 10000"/>
                <a:gd name="connsiteX18" fmla="*/ 5100 w 10000"/>
                <a:gd name="connsiteY18" fmla="*/ 922 h 10000"/>
                <a:gd name="connsiteX19" fmla="*/ 5283 w 10000"/>
                <a:gd name="connsiteY19" fmla="*/ 758 h 10000"/>
                <a:gd name="connsiteX20" fmla="*/ 5481 w 10000"/>
                <a:gd name="connsiteY20" fmla="*/ 634 h 10000"/>
                <a:gd name="connsiteX21" fmla="*/ 5661 w 10000"/>
                <a:gd name="connsiteY21" fmla="*/ 512 h 10000"/>
                <a:gd name="connsiteX22" fmla="*/ 5859 w 10000"/>
                <a:gd name="connsiteY22" fmla="*/ 450 h 10000"/>
                <a:gd name="connsiteX23" fmla="*/ 6072 w 10000"/>
                <a:gd name="connsiteY23" fmla="*/ 388 h 10000"/>
                <a:gd name="connsiteX24" fmla="*/ 6287 w 10000"/>
                <a:gd name="connsiteY24" fmla="*/ 388 h 10000"/>
                <a:gd name="connsiteX25" fmla="*/ 6552 w 10000"/>
                <a:gd name="connsiteY25" fmla="*/ 410 h 10000"/>
                <a:gd name="connsiteX26" fmla="*/ 6815 w 10000"/>
                <a:gd name="connsiteY26" fmla="*/ 492 h 10000"/>
                <a:gd name="connsiteX27" fmla="*/ 7048 w 10000"/>
                <a:gd name="connsiteY27" fmla="*/ 634 h 10000"/>
                <a:gd name="connsiteX28" fmla="*/ 7296 w 10000"/>
                <a:gd name="connsiteY28" fmla="*/ 780 h 10000"/>
                <a:gd name="connsiteX29" fmla="*/ 7509 w 10000"/>
                <a:gd name="connsiteY29" fmla="*/ 985 h 10000"/>
                <a:gd name="connsiteX30" fmla="*/ 7741 w 10000"/>
                <a:gd name="connsiteY30" fmla="*/ 1250 h 10000"/>
                <a:gd name="connsiteX31" fmla="*/ 7939 w 10000"/>
                <a:gd name="connsiteY31" fmla="*/ 1536 h 10000"/>
                <a:gd name="connsiteX32" fmla="*/ 8170 w 10000"/>
                <a:gd name="connsiteY32" fmla="*/ 1864 h 10000"/>
                <a:gd name="connsiteX33" fmla="*/ 8354 w 10000"/>
                <a:gd name="connsiteY33" fmla="*/ 2213 h 10000"/>
                <a:gd name="connsiteX34" fmla="*/ 8550 w 10000"/>
                <a:gd name="connsiteY34" fmla="*/ 2602 h 10000"/>
                <a:gd name="connsiteX35" fmla="*/ 8732 w 10000"/>
                <a:gd name="connsiteY35" fmla="*/ 2990 h 10000"/>
                <a:gd name="connsiteX36" fmla="*/ 8944 w 10000"/>
                <a:gd name="connsiteY36" fmla="*/ 3424 h 10000"/>
                <a:gd name="connsiteX37" fmla="*/ 10000 w 10000"/>
                <a:gd name="connsiteY37" fmla="*/ 2602 h 10000"/>
                <a:gd name="connsiteX38" fmla="*/ 9772 w 10000"/>
                <a:gd name="connsiteY38" fmla="*/ 2252 h 10000"/>
                <a:gd name="connsiteX39" fmla="*/ 9541 w 10000"/>
                <a:gd name="connsiteY39" fmla="*/ 1925 h 10000"/>
                <a:gd name="connsiteX40" fmla="*/ 9293 w 10000"/>
                <a:gd name="connsiteY40" fmla="*/ 1641 h 10000"/>
                <a:gd name="connsiteX41" fmla="*/ 9028 w 10000"/>
                <a:gd name="connsiteY41" fmla="*/ 1334 h 10000"/>
                <a:gd name="connsiteX42" fmla="*/ 8782 w 10000"/>
                <a:gd name="connsiteY42" fmla="*/ 1086 h 10000"/>
                <a:gd name="connsiteX43" fmla="*/ 8501 w 10000"/>
                <a:gd name="connsiteY43" fmla="*/ 863 h 10000"/>
                <a:gd name="connsiteX44" fmla="*/ 8219 w 10000"/>
                <a:gd name="connsiteY44" fmla="*/ 656 h 10000"/>
                <a:gd name="connsiteX45" fmla="*/ 7922 w 10000"/>
                <a:gd name="connsiteY45" fmla="*/ 470 h 10000"/>
                <a:gd name="connsiteX46" fmla="*/ 7626 w 10000"/>
                <a:gd name="connsiteY46" fmla="*/ 307 h 10000"/>
                <a:gd name="connsiteX47" fmla="*/ 7312 w 10000"/>
                <a:gd name="connsiteY47" fmla="*/ 184 h 10000"/>
                <a:gd name="connsiteX48" fmla="*/ 6980 w 10000"/>
                <a:gd name="connsiteY48" fmla="*/ 101 h 10000"/>
                <a:gd name="connsiteX49" fmla="*/ 6635 w 10000"/>
                <a:gd name="connsiteY49" fmla="*/ 21 h 10000"/>
                <a:gd name="connsiteX50" fmla="*/ 6287 w 10000"/>
                <a:gd name="connsiteY50" fmla="*/ 0 h 10000"/>
                <a:gd name="connsiteX51" fmla="*/ 5991 w 10000"/>
                <a:gd name="connsiteY51" fmla="*/ 21 h 10000"/>
                <a:gd name="connsiteX52" fmla="*/ 5712 w 10000"/>
                <a:gd name="connsiteY52" fmla="*/ 61 h 10000"/>
                <a:gd name="connsiteX53" fmla="*/ 5432 w 10000"/>
                <a:gd name="connsiteY53" fmla="*/ 124 h 10000"/>
                <a:gd name="connsiteX54" fmla="*/ 5184 w 10000"/>
                <a:gd name="connsiteY54" fmla="*/ 184 h 10000"/>
                <a:gd name="connsiteX55" fmla="*/ 4918 w 10000"/>
                <a:gd name="connsiteY55" fmla="*/ 285 h 10000"/>
                <a:gd name="connsiteX56" fmla="*/ 4654 w 10000"/>
                <a:gd name="connsiteY56" fmla="*/ 388 h 10000"/>
                <a:gd name="connsiteX57" fmla="*/ 4424 w 10000"/>
                <a:gd name="connsiteY57" fmla="*/ 532 h 10000"/>
                <a:gd name="connsiteX58" fmla="*/ 4175 w 10000"/>
                <a:gd name="connsiteY58" fmla="*/ 698 h 10000"/>
                <a:gd name="connsiteX59" fmla="*/ 3962 w 10000"/>
                <a:gd name="connsiteY59" fmla="*/ 881 h 10000"/>
                <a:gd name="connsiteX60" fmla="*/ 3732 w 10000"/>
                <a:gd name="connsiteY60" fmla="*/ 1065 h 10000"/>
                <a:gd name="connsiteX61" fmla="*/ 3517 w 10000"/>
                <a:gd name="connsiteY61" fmla="*/ 1271 h 10000"/>
                <a:gd name="connsiteX62" fmla="*/ 3302 w 10000"/>
                <a:gd name="connsiteY62" fmla="*/ 1497 h 10000"/>
                <a:gd name="connsiteX63" fmla="*/ 3104 w 10000"/>
                <a:gd name="connsiteY63" fmla="*/ 1720 h 10000"/>
                <a:gd name="connsiteX64" fmla="*/ 2889 w 10000"/>
                <a:gd name="connsiteY64" fmla="*/ 1989 h 10000"/>
                <a:gd name="connsiteX65" fmla="*/ 2509 w 10000"/>
                <a:gd name="connsiteY65" fmla="*/ 2540 h 10000"/>
                <a:gd name="connsiteX66" fmla="*/ 2147 w 10000"/>
                <a:gd name="connsiteY66" fmla="*/ 3116 h 10000"/>
                <a:gd name="connsiteX67" fmla="*/ 1801 w 10000"/>
                <a:gd name="connsiteY67" fmla="*/ 3730 h 10000"/>
                <a:gd name="connsiteX68" fmla="*/ 1469 w 10000"/>
                <a:gd name="connsiteY68" fmla="*/ 4386 h 10000"/>
                <a:gd name="connsiteX69" fmla="*/ 1156 w 10000"/>
                <a:gd name="connsiteY69" fmla="*/ 5062 h 10000"/>
                <a:gd name="connsiteX70" fmla="*/ 858 w 10000"/>
                <a:gd name="connsiteY70" fmla="*/ 5737 h 10000"/>
                <a:gd name="connsiteX71" fmla="*/ 563 w 10000"/>
                <a:gd name="connsiteY71" fmla="*/ 6455 h 10000"/>
                <a:gd name="connsiteX72" fmla="*/ 0 w 10000"/>
                <a:gd name="connsiteY72" fmla="*/ 7890 h 10000"/>
                <a:gd name="connsiteX0" fmla="*/ 0 w 9772"/>
                <a:gd name="connsiteY0" fmla="*/ 7890 h 10000"/>
                <a:gd name="connsiteX1" fmla="*/ 0 w 9772"/>
                <a:gd name="connsiteY1" fmla="*/ 7890 h 10000"/>
                <a:gd name="connsiteX2" fmla="*/ 413 w 9772"/>
                <a:gd name="connsiteY2" fmla="*/ 8955 h 10000"/>
                <a:gd name="connsiteX3" fmla="*/ 792 w 9772"/>
                <a:gd name="connsiteY3" fmla="*/ 10000 h 10000"/>
                <a:gd name="connsiteX4" fmla="*/ 1173 w 9772"/>
                <a:gd name="connsiteY4" fmla="*/ 9222 h 10000"/>
                <a:gd name="connsiteX5" fmla="*/ 1518 w 9772"/>
                <a:gd name="connsiteY5" fmla="*/ 8403 h 10000"/>
                <a:gd name="connsiteX6" fmla="*/ 1882 w 9772"/>
                <a:gd name="connsiteY6" fmla="*/ 7602 h 10000"/>
                <a:gd name="connsiteX7" fmla="*/ 2194 w 9772"/>
                <a:gd name="connsiteY7" fmla="*/ 6782 h 10000"/>
                <a:gd name="connsiteX8" fmla="*/ 2823 w 9772"/>
                <a:gd name="connsiteY8" fmla="*/ 5165 h 10000"/>
                <a:gd name="connsiteX9" fmla="*/ 3138 w 9772"/>
                <a:gd name="connsiteY9" fmla="*/ 4386 h 10000"/>
                <a:gd name="connsiteX10" fmla="*/ 3434 w 9772"/>
                <a:gd name="connsiteY10" fmla="*/ 3647 h 10000"/>
                <a:gd name="connsiteX11" fmla="*/ 3745 w 9772"/>
                <a:gd name="connsiteY11" fmla="*/ 2972 h 10000"/>
                <a:gd name="connsiteX12" fmla="*/ 4059 w 9772"/>
                <a:gd name="connsiteY12" fmla="*/ 2357 h 10000"/>
                <a:gd name="connsiteX13" fmla="*/ 4225 w 9772"/>
                <a:gd name="connsiteY13" fmla="*/ 2048 h 10000"/>
                <a:gd name="connsiteX14" fmla="*/ 4391 w 9772"/>
                <a:gd name="connsiteY14" fmla="*/ 1803 h 10000"/>
                <a:gd name="connsiteX15" fmla="*/ 4572 w 9772"/>
                <a:gd name="connsiteY15" fmla="*/ 1536 h 10000"/>
                <a:gd name="connsiteX16" fmla="*/ 4737 w 9772"/>
                <a:gd name="connsiteY16" fmla="*/ 1312 h 10000"/>
                <a:gd name="connsiteX17" fmla="*/ 4918 w 9772"/>
                <a:gd name="connsiteY17" fmla="*/ 1109 h 10000"/>
                <a:gd name="connsiteX18" fmla="*/ 5100 w 9772"/>
                <a:gd name="connsiteY18" fmla="*/ 922 h 10000"/>
                <a:gd name="connsiteX19" fmla="*/ 5283 w 9772"/>
                <a:gd name="connsiteY19" fmla="*/ 758 h 10000"/>
                <a:gd name="connsiteX20" fmla="*/ 5481 w 9772"/>
                <a:gd name="connsiteY20" fmla="*/ 634 h 10000"/>
                <a:gd name="connsiteX21" fmla="*/ 5661 w 9772"/>
                <a:gd name="connsiteY21" fmla="*/ 512 h 10000"/>
                <a:gd name="connsiteX22" fmla="*/ 5859 w 9772"/>
                <a:gd name="connsiteY22" fmla="*/ 450 h 10000"/>
                <a:gd name="connsiteX23" fmla="*/ 6072 w 9772"/>
                <a:gd name="connsiteY23" fmla="*/ 388 h 10000"/>
                <a:gd name="connsiteX24" fmla="*/ 6287 w 9772"/>
                <a:gd name="connsiteY24" fmla="*/ 388 h 10000"/>
                <a:gd name="connsiteX25" fmla="*/ 6552 w 9772"/>
                <a:gd name="connsiteY25" fmla="*/ 410 h 10000"/>
                <a:gd name="connsiteX26" fmla="*/ 6815 w 9772"/>
                <a:gd name="connsiteY26" fmla="*/ 492 h 10000"/>
                <a:gd name="connsiteX27" fmla="*/ 7048 w 9772"/>
                <a:gd name="connsiteY27" fmla="*/ 634 h 10000"/>
                <a:gd name="connsiteX28" fmla="*/ 7296 w 9772"/>
                <a:gd name="connsiteY28" fmla="*/ 780 h 10000"/>
                <a:gd name="connsiteX29" fmla="*/ 7509 w 9772"/>
                <a:gd name="connsiteY29" fmla="*/ 985 h 10000"/>
                <a:gd name="connsiteX30" fmla="*/ 7741 w 9772"/>
                <a:gd name="connsiteY30" fmla="*/ 1250 h 10000"/>
                <a:gd name="connsiteX31" fmla="*/ 7939 w 9772"/>
                <a:gd name="connsiteY31" fmla="*/ 1536 h 10000"/>
                <a:gd name="connsiteX32" fmla="*/ 8170 w 9772"/>
                <a:gd name="connsiteY32" fmla="*/ 1864 h 10000"/>
                <a:gd name="connsiteX33" fmla="*/ 8354 w 9772"/>
                <a:gd name="connsiteY33" fmla="*/ 2213 h 10000"/>
                <a:gd name="connsiteX34" fmla="*/ 8550 w 9772"/>
                <a:gd name="connsiteY34" fmla="*/ 2602 h 10000"/>
                <a:gd name="connsiteX35" fmla="*/ 8732 w 9772"/>
                <a:gd name="connsiteY35" fmla="*/ 2990 h 10000"/>
                <a:gd name="connsiteX36" fmla="*/ 8944 w 9772"/>
                <a:gd name="connsiteY36" fmla="*/ 3424 h 10000"/>
                <a:gd name="connsiteX37" fmla="*/ 9772 w 9772"/>
                <a:gd name="connsiteY37" fmla="*/ 2252 h 10000"/>
                <a:gd name="connsiteX38" fmla="*/ 9541 w 9772"/>
                <a:gd name="connsiteY38" fmla="*/ 1925 h 10000"/>
                <a:gd name="connsiteX39" fmla="*/ 9293 w 9772"/>
                <a:gd name="connsiteY39" fmla="*/ 1641 h 10000"/>
                <a:gd name="connsiteX40" fmla="*/ 9028 w 9772"/>
                <a:gd name="connsiteY40" fmla="*/ 1334 h 10000"/>
                <a:gd name="connsiteX41" fmla="*/ 8782 w 9772"/>
                <a:gd name="connsiteY41" fmla="*/ 1086 h 10000"/>
                <a:gd name="connsiteX42" fmla="*/ 8501 w 9772"/>
                <a:gd name="connsiteY42" fmla="*/ 863 h 10000"/>
                <a:gd name="connsiteX43" fmla="*/ 8219 w 9772"/>
                <a:gd name="connsiteY43" fmla="*/ 656 h 10000"/>
                <a:gd name="connsiteX44" fmla="*/ 7922 w 9772"/>
                <a:gd name="connsiteY44" fmla="*/ 470 h 10000"/>
                <a:gd name="connsiteX45" fmla="*/ 7626 w 9772"/>
                <a:gd name="connsiteY45" fmla="*/ 307 h 10000"/>
                <a:gd name="connsiteX46" fmla="*/ 7312 w 9772"/>
                <a:gd name="connsiteY46" fmla="*/ 184 h 10000"/>
                <a:gd name="connsiteX47" fmla="*/ 6980 w 9772"/>
                <a:gd name="connsiteY47" fmla="*/ 101 h 10000"/>
                <a:gd name="connsiteX48" fmla="*/ 6635 w 9772"/>
                <a:gd name="connsiteY48" fmla="*/ 21 h 10000"/>
                <a:gd name="connsiteX49" fmla="*/ 6287 w 9772"/>
                <a:gd name="connsiteY49" fmla="*/ 0 h 10000"/>
                <a:gd name="connsiteX50" fmla="*/ 5991 w 9772"/>
                <a:gd name="connsiteY50" fmla="*/ 21 h 10000"/>
                <a:gd name="connsiteX51" fmla="*/ 5712 w 9772"/>
                <a:gd name="connsiteY51" fmla="*/ 61 h 10000"/>
                <a:gd name="connsiteX52" fmla="*/ 5432 w 9772"/>
                <a:gd name="connsiteY52" fmla="*/ 124 h 10000"/>
                <a:gd name="connsiteX53" fmla="*/ 5184 w 9772"/>
                <a:gd name="connsiteY53" fmla="*/ 184 h 10000"/>
                <a:gd name="connsiteX54" fmla="*/ 4918 w 9772"/>
                <a:gd name="connsiteY54" fmla="*/ 285 h 10000"/>
                <a:gd name="connsiteX55" fmla="*/ 4654 w 9772"/>
                <a:gd name="connsiteY55" fmla="*/ 388 h 10000"/>
                <a:gd name="connsiteX56" fmla="*/ 4424 w 9772"/>
                <a:gd name="connsiteY56" fmla="*/ 532 h 10000"/>
                <a:gd name="connsiteX57" fmla="*/ 4175 w 9772"/>
                <a:gd name="connsiteY57" fmla="*/ 698 h 10000"/>
                <a:gd name="connsiteX58" fmla="*/ 3962 w 9772"/>
                <a:gd name="connsiteY58" fmla="*/ 881 h 10000"/>
                <a:gd name="connsiteX59" fmla="*/ 3732 w 9772"/>
                <a:gd name="connsiteY59" fmla="*/ 1065 h 10000"/>
                <a:gd name="connsiteX60" fmla="*/ 3517 w 9772"/>
                <a:gd name="connsiteY60" fmla="*/ 1271 h 10000"/>
                <a:gd name="connsiteX61" fmla="*/ 3302 w 9772"/>
                <a:gd name="connsiteY61" fmla="*/ 1497 h 10000"/>
                <a:gd name="connsiteX62" fmla="*/ 3104 w 9772"/>
                <a:gd name="connsiteY62" fmla="*/ 1720 h 10000"/>
                <a:gd name="connsiteX63" fmla="*/ 2889 w 9772"/>
                <a:gd name="connsiteY63" fmla="*/ 1989 h 10000"/>
                <a:gd name="connsiteX64" fmla="*/ 2509 w 9772"/>
                <a:gd name="connsiteY64" fmla="*/ 2540 h 10000"/>
                <a:gd name="connsiteX65" fmla="*/ 2147 w 9772"/>
                <a:gd name="connsiteY65" fmla="*/ 3116 h 10000"/>
                <a:gd name="connsiteX66" fmla="*/ 1801 w 9772"/>
                <a:gd name="connsiteY66" fmla="*/ 3730 h 10000"/>
                <a:gd name="connsiteX67" fmla="*/ 1469 w 9772"/>
                <a:gd name="connsiteY67" fmla="*/ 4386 h 10000"/>
                <a:gd name="connsiteX68" fmla="*/ 1156 w 9772"/>
                <a:gd name="connsiteY68" fmla="*/ 5062 h 10000"/>
                <a:gd name="connsiteX69" fmla="*/ 858 w 9772"/>
                <a:gd name="connsiteY69" fmla="*/ 5737 h 10000"/>
                <a:gd name="connsiteX70" fmla="*/ 563 w 9772"/>
                <a:gd name="connsiteY70" fmla="*/ 6455 h 10000"/>
                <a:gd name="connsiteX71" fmla="*/ 0 w 9772"/>
                <a:gd name="connsiteY7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23 w 10000"/>
                <a:gd name="connsiteY2" fmla="*/ 8955 h 10000"/>
                <a:gd name="connsiteX3" fmla="*/ 810 w 10000"/>
                <a:gd name="connsiteY3" fmla="*/ 10000 h 10000"/>
                <a:gd name="connsiteX4" fmla="*/ 1200 w 10000"/>
                <a:gd name="connsiteY4" fmla="*/ 9222 h 10000"/>
                <a:gd name="connsiteX5" fmla="*/ 1553 w 10000"/>
                <a:gd name="connsiteY5" fmla="*/ 8403 h 10000"/>
                <a:gd name="connsiteX6" fmla="*/ 1926 w 10000"/>
                <a:gd name="connsiteY6" fmla="*/ 7602 h 10000"/>
                <a:gd name="connsiteX7" fmla="*/ 2245 w 10000"/>
                <a:gd name="connsiteY7" fmla="*/ 6782 h 10000"/>
                <a:gd name="connsiteX8" fmla="*/ 2889 w 10000"/>
                <a:gd name="connsiteY8" fmla="*/ 5165 h 10000"/>
                <a:gd name="connsiteX9" fmla="*/ 3211 w 10000"/>
                <a:gd name="connsiteY9" fmla="*/ 4386 h 10000"/>
                <a:gd name="connsiteX10" fmla="*/ 3514 w 10000"/>
                <a:gd name="connsiteY10" fmla="*/ 3647 h 10000"/>
                <a:gd name="connsiteX11" fmla="*/ 3832 w 10000"/>
                <a:gd name="connsiteY11" fmla="*/ 2972 h 10000"/>
                <a:gd name="connsiteX12" fmla="*/ 4154 w 10000"/>
                <a:gd name="connsiteY12" fmla="*/ 2357 h 10000"/>
                <a:gd name="connsiteX13" fmla="*/ 4324 w 10000"/>
                <a:gd name="connsiteY13" fmla="*/ 2048 h 10000"/>
                <a:gd name="connsiteX14" fmla="*/ 4493 w 10000"/>
                <a:gd name="connsiteY14" fmla="*/ 1803 h 10000"/>
                <a:gd name="connsiteX15" fmla="*/ 4679 w 10000"/>
                <a:gd name="connsiteY15" fmla="*/ 1536 h 10000"/>
                <a:gd name="connsiteX16" fmla="*/ 4848 w 10000"/>
                <a:gd name="connsiteY16" fmla="*/ 1312 h 10000"/>
                <a:gd name="connsiteX17" fmla="*/ 5033 w 10000"/>
                <a:gd name="connsiteY17" fmla="*/ 1109 h 10000"/>
                <a:gd name="connsiteX18" fmla="*/ 5219 w 10000"/>
                <a:gd name="connsiteY18" fmla="*/ 922 h 10000"/>
                <a:gd name="connsiteX19" fmla="*/ 5406 w 10000"/>
                <a:gd name="connsiteY19" fmla="*/ 758 h 10000"/>
                <a:gd name="connsiteX20" fmla="*/ 5609 w 10000"/>
                <a:gd name="connsiteY20" fmla="*/ 634 h 10000"/>
                <a:gd name="connsiteX21" fmla="*/ 5793 w 10000"/>
                <a:gd name="connsiteY21" fmla="*/ 512 h 10000"/>
                <a:gd name="connsiteX22" fmla="*/ 5996 w 10000"/>
                <a:gd name="connsiteY22" fmla="*/ 450 h 10000"/>
                <a:gd name="connsiteX23" fmla="*/ 6214 w 10000"/>
                <a:gd name="connsiteY23" fmla="*/ 388 h 10000"/>
                <a:gd name="connsiteX24" fmla="*/ 6434 w 10000"/>
                <a:gd name="connsiteY24" fmla="*/ 388 h 10000"/>
                <a:gd name="connsiteX25" fmla="*/ 6705 w 10000"/>
                <a:gd name="connsiteY25" fmla="*/ 410 h 10000"/>
                <a:gd name="connsiteX26" fmla="*/ 6974 w 10000"/>
                <a:gd name="connsiteY26" fmla="*/ 492 h 10000"/>
                <a:gd name="connsiteX27" fmla="*/ 7212 w 10000"/>
                <a:gd name="connsiteY27" fmla="*/ 634 h 10000"/>
                <a:gd name="connsiteX28" fmla="*/ 7466 w 10000"/>
                <a:gd name="connsiteY28" fmla="*/ 780 h 10000"/>
                <a:gd name="connsiteX29" fmla="*/ 7684 w 10000"/>
                <a:gd name="connsiteY29" fmla="*/ 985 h 10000"/>
                <a:gd name="connsiteX30" fmla="*/ 7922 w 10000"/>
                <a:gd name="connsiteY30" fmla="*/ 1250 h 10000"/>
                <a:gd name="connsiteX31" fmla="*/ 8124 w 10000"/>
                <a:gd name="connsiteY31" fmla="*/ 1536 h 10000"/>
                <a:gd name="connsiteX32" fmla="*/ 8361 w 10000"/>
                <a:gd name="connsiteY32" fmla="*/ 1864 h 10000"/>
                <a:gd name="connsiteX33" fmla="*/ 8549 w 10000"/>
                <a:gd name="connsiteY33" fmla="*/ 2213 h 10000"/>
                <a:gd name="connsiteX34" fmla="*/ 8749 w 10000"/>
                <a:gd name="connsiteY34" fmla="*/ 2602 h 10000"/>
                <a:gd name="connsiteX35" fmla="*/ 8936 w 10000"/>
                <a:gd name="connsiteY35" fmla="*/ 2990 h 10000"/>
                <a:gd name="connsiteX36" fmla="*/ 10000 w 10000"/>
                <a:gd name="connsiteY36" fmla="*/ 2252 h 10000"/>
                <a:gd name="connsiteX37" fmla="*/ 9764 w 10000"/>
                <a:gd name="connsiteY37" fmla="*/ 1925 h 10000"/>
                <a:gd name="connsiteX38" fmla="*/ 9510 w 10000"/>
                <a:gd name="connsiteY38" fmla="*/ 1641 h 10000"/>
                <a:gd name="connsiteX39" fmla="*/ 9239 w 10000"/>
                <a:gd name="connsiteY39" fmla="*/ 1334 h 10000"/>
                <a:gd name="connsiteX40" fmla="*/ 8987 w 10000"/>
                <a:gd name="connsiteY40" fmla="*/ 1086 h 10000"/>
                <a:gd name="connsiteX41" fmla="*/ 8699 w 10000"/>
                <a:gd name="connsiteY41" fmla="*/ 863 h 10000"/>
                <a:gd name="connsiteX42" fmla="*/ 8411 w 10000"/>
                <a:gd name="connsiteY42" fmla="*/ 656 h 10000"/>
                <a:gd name="connsiteX43" fmla="*/ 8107 w 10000"/>
                <a:gd name="connsiteY43" fmla="*/ 470 h 10000"/>
                <a:gd name="connsiteX44" fmla="*/ 7804 w 10000"/>
                <a:gd name="connsiteY44" fmla="*/ 307 h 10000"/>
                <a:gd name="connsiteX45" fmla="*/ 7483 w 10000"/>
                <a:gd name="connsiteY45" fmla="*/ 184 h 10000"/>
                <a:gd name="connsiteX46" fmla="*/ 7143 w 10000"/>
                <a:gd name="connsiteY46" fmla="*/ 101 h 10000"/>
                <a:gd name="connsiteX47" fmla="*/ 6790 w 10000"/>
                <a:gd name="connsiteY47" fmla="*/ 21 h 10000"/>
                <a:gd name="connsiteX48" fmla="*/ 6434 w 10000"/>
                <a:gd name="connsiteY48" fmla="*/ 0 h 10000"/>
                <a:gd name="connsiteX49" fmla="*/ 6131 w 10000"/>
                <a:gd name="connsiteY49" fmla="*/ 21 h 10000"/>
                <a:gd name="connsiteX50" fmla="*/ 5845 w 10000"/>
                <a:gd name="connsiteY50" fmla="*/ 61 h 10000"/>
                <a:gd name="connsiteX51" fmla="*/ 5559 w 10000"/>
                <a:gd name="connsiteY51" fmla="*/ 124 h 10000"/>
                <a:gd name="connsiteX52" fmla="*/ 5305 w 10000"/>
                <a:gd name="connsiteY52" fmla="*/ 184 h 10000"/>
                <a:gd name="connsiteX53" fmla="*/ 5033 w 10000"/>
                <a:gd name="connsiteY53" fmla="*/ 285 h 10000"/>
                <a:gd name="connsiteX54" fmla="*/ 4763 w 10000"/>
                <a:gd name="connsiteY54" fmla="*/ 388 h 10000"/>
                <a:gd name="connsiteX55" fmla="*/ 4527 w 10000"/>
                <a:gd name="connsiteY55" fmla="*/ 532 h 10000"/>
                <a:gd name="connsiteX56" fmla="*/ 4272 w 10000"/>
                <a:gd name="connsiteY56" fmla="*/ 698 h 10000"/>
                <a:gd name="connsiteX57" fmla="*/ 4054 w 10000"/>
                <a:gd name="connsiteY57" fmla="*/ 881 h 10000"/>
                <a:gd name="connsiteX58" fmla="*/ 3819 w 10000"/>
                <a:gd name="connsiteY58" fmla="*/ 1065 h 10000"/>
                <a:gd name="connsiteX59" fmla="*/ 3599 w 10000"/>
                <a:gd name="connsiteY59" fmla="*/ 1271 h 10000"/>
                <a:gd name="connsiteX60" fmla="*/ 3379 w 10000"/>
                <a:gd name="connsiteY60" fmla="*/ 1497 h 10000"/>
                <a:gd name="connsiteX61" fmla="*/ 3176 w 10000"/>
                <a:gd name="connsiteY61" fmla="*/ 1720 h 10000"/>
                <a:gd name="connsiteX62" fmla="*/ 2956 w 10000"/>
                <a:gd name="connsiteY62" fmla="*/ 1989 h 10000"/>
                <a:gd name="connsiteX63" fmla="*/ 2568 w 10000"/>
                <a:gd name="connsiteY63" fmla="*/ 2540 h 10000"/>
                <a:gd name="connsiteX64" fmla="*/ 2197 w 10000"/>
                <a:gd name="connsiteY64" fmla="*/ 3116 h 10000"/>
                <a:gd name="connsiteX65" fmla="*/ 1843 w 10000"/>
                <a:gd name="connsiteY65" fmla="*/ 3730 h 10000"/>
                <a:gd name="connsiteX66" fmla="*/ 1503 w 10000"/>
                <a:gd name="connsiteY66" fmla="*/ 4386 h 10000"/>
                <a:gd name="connsiteX67" fmla="*/ 1183 w 10000"/>
                <a:gd name="connsiteY67" fmla="*/ 5062 h 10000"/>
                <a:gd name="connsiteX68" fmla="*/ 878 w 10000"/>
                <a:gd name="connsiteY68" fmla="*/ 5737 h 10000"/>
                <a:gd name="connsiteX69" fmla="*/ 576 w 10000"/>
                <a:gd name="connsiteY69" fmla="*/ 6455 h 10000"/>
                <a:gd name="connsiteX70" fmla="*/ 0 w 10000"/>
                <a:gd name="connsiteY70" fmla="*/ 7890 h 10000"/>
                <a:gd name="connsiteX0" fmla="*/ 0 w 10013"/>
                <a:gd name="connsiteY0" fmla="*/ 7890 h 10000"/>
                <a:gd name="connsiteX1" fmla="*/ 0 w 10013"/>
                <a:gd name="connsiteY1" fmla="*/ 7890 h 10000"/>
                <a:gd name="connsiteX2" fmla="*/ 423 w 10013"/>
                <a:gd name="connsiteY2" fmla="*/ 8955 h 10000"/>
                <a:gd name="connsiteX3" fmla="*/ 810 w 10013"/>
                <a:gd name="connsiteY3" fmla="*/ 10000 h 10000"/>
                <a:gd name="connsiteX4" fmla="*/ 1200 w 10013"/>
                <a:gd name="connsiteY4" fmla="*/ 9222 h 10000"/>
                <a:gd name="connsiteX5" fmla="*/ 1553 w 10013"/>
                <a:gd name="connsiteY5" fmla="*/ 8403 h 10000"/>
                <a:gd name="connsiteX6" fmla="*/ 1926 w 10013"/>
                <a:gd name="connsiteY6" fmla="*/ 7602 h 10000"/>
                <a:gd name="connsiteX7" fmla="*/ 2245 w 10013"/>
                <a:gd name="connsiteY7" fmla="*/ 6782 h 10000"/>
                <a:gd name="connsiteX8" fmla="*/ 2889 w 10013"/>
                <a:gd name="connsiteY8" fmla="*/ 5165 h 10000"/>
                <a:gd name="connsiteX9" fmla="*/ 3211 w 10013"/>
                <a:gd name="connsiteY9" fmla="*/ 4386 h 10000"/>
                <a:gd name="connsiteX10" fmla="*/ 3514 w 10013"/>
                <a:gd name="connsiteY10" fmla="*/ 3647 h 10000"/>
                <a:gd name="connsiteX11" fmla="*/ 3832 w 10013"/>
                <a:gd name="connsiteY11" fmla="*/ 2972 h 10000"/>
                <a:gd name="connsiteX12" fmla="*/ 4154 w 10013"/>
                <a:gd name="connsiteY12" fmla="*/ 2357 h 10000"/>
                <a:gd name="connsiteX13" fmla="*/ 4324 w 10013"/>
                <a:gd name="connsiteY13" fmla="*/ 2048 h 10000"/>
                <a:gd name="connsiteX14" fmla="*/ 4493 w 10013"/>
                <a:gd name="connsiteY14" fmla="*/ 1803 h 10000"/>
                <a:gd name="connsiteX15" fmla="*/ 4679 w 10013"/>
                <a:gd name="connsiteY15" fmla="*/ 1536 h 10000"/>
                <a:gd name="connsiteX16" fmla="*/ 4848 w 10013"/>
                <a:gd name="connsiteY16" fmla="*/ 1312 h 10000"/>
                <a:gd name="connsiteX17" fmla="*/ 5033 w 10013"/>
                <a:gd name="connsiteY17" fmla="*/ 1109 h 10000"/>
                <a:gd name="connsiteX18" fmla="*/ 5219 w 10013"/>
                <a:gd name="connsiteY18" fmla="*/ 922 h 10000"/>
                <a:gd name="connsiteX19" fmla="*/ 5406 w 10013"/>
                <a:gd name="connsiteY19" fmla="*/ 758 h 10000"/>
                <a:gd name="connsiteX20" fmla="*/ 5609 w 10013"/>
                <a:gd name="connsiteY20" fmla="*/ 634 h 10000"/>
                <a:gd name="connsiteX21" fmla="*/ 5793 w 10013"/>
                <a:gd name="connsiteY21" fmla="*/ 512 h 10000"/>
                <a:gd name="connsiteX22" fmla="*/ 5996 w 10013"/>
                <a:gd name="connsiteY22" fmla="*/ 450 h 10000"/>
                <a:gd name="connsiteX23" fmla="*/ 6214 w 10013"/>
                <a:gd name="connsiteY23" fmla="*/ 388 h 10000"/>
                <a:gd name="connsiteX24" fmla="*/ 6434 w 10013"/>
                <a:gd name="connsiteY24" fmla="*/ 388 h 10000"/>
                <a:gd name="connsiteX25" fmla="*/ 6705 w 10013"/>
                <a:gd name="connsiteY25" fmla="*/ 410 h 10000"/>
                <a:gd name="connsiteX26" fmla="*/ 6974 w 10013"/>
                <a:gd name="connsiteY26" fmla="*/ 492 h 10000"/>
                <a:gd name="connsiteX27" fmla="*/ 7212 w 10013"/>
                <a:gd name="connsiteY27" fmla="*/ 634 h 10000"/>
                <a:gd name="connsiteX28" fmla="*/ 7466 w 10013"/>
                <a:gd name="connsiteY28" fmla="*/ 780 h 10000"/>
                <a:gd name="connsiteX29" fmla="*/ 7684 w 10013"/>
                <a:gd name="connsiteY29" fmla="*/ 985 h 10000"/>
                <a:gd name="connsiteX30" fmla="*/ 7922 w 10013"/>
                <a:gd name="connsiteY30" fmla="*/ 1250 h 10000"/>
                <a:gd name="connsiteX31" fmla="*/ 8124 w 10013"/>
                <a:gd name="connsiteY31" fmla="*/ 1536 h 10000"/>
                <a:gd name="connsiteX32" fmla="*/ 8361 w 10013"/>
                <a:gd name="connsiteY32" fmla="*/ 1864 h 10000"/>
                <a:gd name="connsiteX33" fmla="*/ 8549 w 10013"/>
                <a:gd name="connsiteY33" fmla="*/ 2213 h 10000"/>
                <a:gd name="connsiteX34" fmla="*/ 8749 w 10013"/>
                <a:gd name="connsiteY34" fmla="*/ 2602 h 10000"/>
                <a:gd name="connsiteX35" fmla="*/ 8936 w 10013"/>
                <a:gd name="connsiteY35" fmla="*/ 2990 h 10000"/>
                <a:gd name="connsiteX36" fmla="*/ 10000 w 10013"/>
                <a:gd name="connsiteY36" fmla="*/ 2252 h 10000"/>
                <a:gd name="connsiteX37" fmla="*/ 9510 w 10013"/>
                <a:gd name="connsiteY37" fmla="*/ 1641 h 10000"/>
                <a:gd name="connsiteX38" fmla="*/ 9239 w 10013"/>
                <a:gd name="connsiteY38" fmla="*/ 1334 h 10000"/>
                <a:gd name="connsiteX39" fmla="*/ 8987 w 10013"/>
                <a:gd name="connsiteY39" fmla="*/ 1086 h 10000"/>
                <a:gd name="connsiteX40" fmla="*/ 8699 w 10013"/>
                <a:gd name="connsiteY40" fmla="*/ 863 h 10000"/>
                <a:gd name="connsiteX41" fmla="*/ 8411 w 10013"/>
                <a:gd name="connsiteY41" fmla="*/ 656 h 10000"/>
                <a:gd name="connsiteX42" fmla="*/ 8107 w 10013"/>
                <a:gd name="connsiteY42" fmla="*/ 470 h 10000"/>
                <a:gd name="connsiteX43" fmla="*/ 7804 w 10013"/>
                <a:gd name="connsiteY43" fmla="*/ 307 h 10000"/>
                <a:gd name="connsiteX44" fmla="*/ 7483 w 10013"/>
                <a:gd name="connsiteY44" fmla="*/ 184 h 10000"/>
                <a:gd name="connsiteX45" fmla="*/ 7143 w 10013"/>
                <a:gd name="connsiteY45" fmla="*/ 101 h 10000"/>
                <a:gd name="connsiteX46" fmla="*/ 6790 w 10013"/>
                <a:gd name="connsiteY46" fmla="*/ 21 h 10000"/>
                <a:gd name="connsiteX47" fmla="*/ 6434 w 10013"/>
                <a:gd name="connsiteY47" fmla="*/ 0 h 10000"/>
                <a:gd name="connsiteX48" fmla="*/ 6131 w 10013"/>
                <a:gd name="connsiteY48" fmla="*/ 21 h 10000"/>
                <a:gd name="connsiteX49" fmla="*/ 5845 w 10013"/>
                <a:gd name="connsiteY49" fmla="*/ 61 h 10000"/>
                <a:gd name="connsiteX50" fmla="*/ 5559 w 10013"/>
                <a:gd name="connsiteY50" fmla="*/ 124 h 10000"/>
                <a:gd name="connsiteX51" fmla="*/ 5305 w 10013"/>
                <a:gd name="connsiteY51" fmla="*/ 184 h 10000"/>
                <a:gd name="connsiteX52" fmla="*/ 5033 w 10013"/>
                <a:gd name="connsiteY52" fmla="*/ 285 h 10000"/>
                <a:gd name="connsiteX53" fmla="*/ 4763 w 10013"/>
                <a:gd name="connsiteY53" fmla="*/ 388 h 10000"/>
                <a:gd name="connsiteX54" fmla="*/ 4527 w 10013"/>
                <a:gd name="connsiteY54" fmla="*/ 532 h 10000"/>
                <a:gd name="connsiteX55" fmla="*/ 4272 w 10013"/>
                <a:gd name="connsiteY55" fmla="*/ 698 h 10000"/>
                <a:gd name="connsiteX56" fmla="*/ 4054 w 10013"/>
                <a:gd name="connsiteY56" fmla="*/ 881 h 10000"/>
                <a:gd name="connsiteX57" fmla="*/ 3819 w 10013"/>
                <a:gd name="connsiteY57" fmla="*/ 1065 h 10000"/>
                <a:gd name="connsiteX58" fmla="*/ 3599 w 10013"/>
                <a:gd name="connsiteY58" fmla="*/ 1271 h 10000"/>
                <a:gd name="connsiteX59" fmla="*/ 3379 w 10013"/>
                <a:gd name="connsiteY59" fmla="*/ 1497 h 10000"/>
                <a:gd name="connsiteX60" fmla="*/ 3176 w 10013"/>
                <a:gd name="connsiteY60" fmla="*/ 1720 h 10000"/>
                <a:gd name="connsiteX61" fmla="*/ 2956 w 10013"/>
                <a:gd name="connsiteY61" fmla="*/ 1989 h 10000"/>
                <a:gd name="connsiteX62" fmla="*/ 2568 w 10013"/>
                <a:gd name="connsiteY62" fmla="*/ 2540 h 10000"/>
                <a:gd name="connsiteX63" fmla="*/ 2197 w 10013"/>
                <a:gd name="connsiteY63" fmla="*/ 3116 h 10000"/>
                <a:gd name="connsiteX64" fmla="*/ 1843 w 10013"/>
                <a:gd name="connsiteY64" fmla="*/ 3730 h 10000"/>
                <a:gd name="connsiteX65" fmla="*/ 1503 w 10013"/>
                <a:gd name="connsiteY65" fmla="*/ 4386 h 10000"/>
                <a:gd name="connsiteX66" fmla="*/ 1183 w 10013"/>
                <a:gd name="connsiteY66" fmla="*/ 5062 h 10000"/>
                <a:gd name="connsiteX67" fmla="*/ 878 w 10013"/>
                <a:gd name="connsiteY67" fmla="*/ 5737 h 10000"/>
                <a:gd name="connsiteX68" fmla="*/ 576 w 10013"/>
                <a:gd name="connsiteY68" fmla="*/ 6455 h 10000"/>
                <a:gd name="connsiteX69" fmla="*/ 0 w 10013"/>
                <a:gd name="connsiteY69" fmla="*/ 7890 h 10000"/>
                <a:gd name="connsiteX0" fmla="*/ 0 w 9510"/>
                <a:gd name="connsiteY0" fmla="*/ 7890 h 10000"/>
                <a:gd name="connsiteX1" fmla="*/ 0 w 9510"/>
                <a:gd name="connsiteY1" fmla="*/ 7890 h 10000"/>
                <a:gd name="connsiteX2" fmla="*/ 423 w 9510"/>
                <a:gd name="connsiteY2" fmla="*/ 8955 h 10000"/>
                <a:gd name="connsiteX3" fmla="*/ 810 w 9510"/>
                <a:gd name="connsiteY3" fmla="*/ 10000 h 10000"/>
                <a:gd name="connsiteX4" fmla="*/ 1200 w 9510"/>
                <a:gd name="connsiteY4" fmla="*/ 9222 h 10000"/>
                <a:gd name="connsiteX5" fmla="*/ 1553 w 9510"/>
                <a:gd name="connsiteY5" fmla="*/ 8403 h 10000"/>
                <a:gd name="connsiteX6" fmla="*/ 1926 w 9510"/>
                <a:gd name="connsiteY6" fmla="*/ 7602 h 10000"/>
                <a:gd name="connsiteX7" fmla="*/ 2245 w 9510"/>
                <a:gd name="connsiteY7" fmla="*/ 6782 h 10000"/>
                <a:gd name="connsiteX8" fmla="*/ 2889 w 9510"/>
                <a:gd name="connsiteY8" fmla="*/ 5165 h 10000"/>
                <a:gd name="connsiteX9" fmla="*/ 3211 w 9510"/>
                <a:gd name="connsiteY9" fmla="*/ 4386 h 10000"/>
                <a:gd name="connsiteX10" fmla="*/ 3514 w 9510"/>
                <a:gd name="connsiteY10" fmla="*/ 3647 h 10000"/>
                <a:gd name="connsiteX11" fmla="*/ 3832 w 9510"/>
                <a:gd name="connsiteY11" fmla="*/ 2972 h 10000"/>
                <a:gd name="connsiteX12" fmla="*/ 4154 w 9510"/>
                <a:gd name="connsiteY12" fmla="*/ 2357 h 10000"/>
                <a:gd name="connsiteX13" fmla="*/ 4324 w 9510"/>
                <a:gd name="connsiteY13" fmla="*/ 2048 h 10000"/>
                <a:gd name="connsiteX14" fmla="*/ 4493 w 9510"/>
                <a:gd name="connsiteY14" fmla="*/ 1803 h 10000"/>
                <a:gd name="connsiteX15" fmla="*/ 4679 w 9510"/>
                <a:gd name="connsiteY15" fmla="*/ 1536 h 10000"/>
                <a:gd name="connsiteX16" fmla="*/ 4848 w 9510"/>
                <a:gd name="connsiteY16" fmla="*/ 1312 h 10000"/>
                <a:gd name="connsiteX17" fmla="*/ 5033 w 9510"/>
                <a:gd name="connsiteY17" fmla="*/ 1109 h 10000"/>
                <a:gd name="connsiteX18" fmla="*/ 5219 w 9510"/>
                <a:gd name="connsiteY18" fmla="*/ 922 h 10000"/>
                <a:gd name="connsiteX19" fmla="*/ 5406 w 9510"/>
                <a:gd name="connsiteY19" fmla="*/ 758 h 10000"/>
                <a:gd name="connsiteX20" fmla="*/ 5609 w 9510"/>
                <a:gd name="connsiteY20" fmla="*/ 634 h 10000"/>
                <a:gd name="connsiteX21" fmla="*/ 5793 w 9510"/>
                <a:gd name="connsiteY21" fmla="*/ 512 h 10000"/>
                <a:gd name="connsiteX22" fmla="*/ 5996 w 9510"/>
                <a:gd name="connsiteY22" fmla="*/ 450 h 10000"/>
                <a:gd name="connsiteX23" fmla="*/ 6214 w 9510"/>
                <a:gd name="connsiteY23" fmla="*/ 388 h 10000"/>
                <a:gd name="connsiteX24" fmla="*/ 6434 w 9510"/>
                <a:gd name="connsiteY24" fmla="*/ 388 h 10000"/>
                <a:gd name="connsiteX25" fmla="*/ 6705 w 9510"/>
                <a:gd name="connsiteY25" fmla="*/ 410 h 10000"/>
                <a:gd name="connsiteX26" fmla="*/ 6974 w 9510"/>
                <a:gd name="connsiteY26" fmla="*/ 492 h 10000"/>
                <a:gd name="connsiteX27" fmla="*/ 7212 w 9510"/>
                <a:gd name="connsiteY27" fmla="*/ 634 h 10000"/>
                <a:gd name="connsiteX28" fmla="*/ 7466 w 9510"/>
                <a:gd name="connsiteY28" fmla="*/ 780 h 10000"/>
                <a:gd name="connsiteX29" fmla="*/ 7684 w 9510"/>
                <a:gd name="connsiteY29" fmla="*/ 985 h 10000"/>
                <a:gd name="connsiteX30" fmla="*/ 7922 w 9510"/>
                <a:gd name="connsiteY30" fmla="*/ 1250 h 10000"/>
                <a:gd name="connsiteX31" fmla="*/ 8124 w 9510"/>
                <a:gd name="connsiteY31" fmla="*/ 1536 h 10000"/>
                <a:gd name="connsiteX32" fmla="*/ 8361 w 9510"/>
                <a:gd name="connsiteY32" fmla="*/ 1864 h 10000"/>
                <a:gd name="connsiteX33" fmla="*/ 8549 w 9510"/>
                <a:gd name="connsiteY33" fmla="*/ 2213 h 10000"/>
                <a:gd name="connsiteX34" fmla="*/ 8749 w 9510"/>
                <a:gd name="connsiteY34" fmla="*/ 2602 h 10000"/>
                <a:gd name="connsiteX35" fmla="*/ 8936 w 9510"/>
                <a:gd name="connsiteY35" fmla="*/ 2990 h 10000"/>
                <a:gd name="connsiteX36" fmla="*/ 9510 w 9510"/>
                <a:gd name="connsiteY36" fmla="*/ 1641 h 10000"/>
                <a:gd name="connsiteX37" fmla="*/ 9239 w 9510"/>
                <a:gd name="connsiteY37" fmla="*/ 1334 h 10000"/>
                <a:gd name="connsiteX38" fmla="*/ 8987 w 9510"/>
                <a:gd name="connsiteY38" fmla="*/ 1086 h 10000"/>
                <a:gd name="connsiteX39" fmla="*/ 8699 w 9510"/>
                <a:gd name="connsiteY39" fmla="*/ 863 h 10000"/>
                <a:gd name="connsiteX40" fmla="*/ 8411 w 9510"/>
                <a:gd name="connsiteY40" fmla="*/ 656 h 10000"/>
                <a:gd name="connsiteX41" fmla="*/ 8107 w 9510"/>
                <a:gd name="connsiteY41" fmla="*/ 470 h 10000"/>
                <a:gd name="connsiteX42" fmla="*/ 7804 w 9510"/>
                <a:gd name="connsiteY42" fmla="*/ 307 h 10000"/>
                <a:gd name="connsiteX43" fmla="*/ 7483 w 9510"/>
                <a:gd name="connsiteY43" fmla="*/ 184 h 10000"/>
                <a:gd name="connsiteX44" fmla="*/ 7143 w 9510"/>
                <a:gd name="connsiteY44" fmla="*/ 101 h 10000"/>
                <a:gd name="connsiteX45" fmla="*/ 6790 w 9510"/>
                <a:gd name="connsiteY45" fmla="*/ 21 h 10000"/>
                <a:gd name="connsiteX46" fmla="*/ 6434 w 9510"/>
                <a:gd name="connsiteY46" fmla="*/ 0 h 10000"/>
                <a:gd name="connsiteX47" fmla="*/ 6131 w 9510"/>
                <a:gd name="connsiteY47" fmla="*/ 21 h 10000"/>
                <a:gd name="connsiteX48" fmla="*/ 5845 w 9510"/>
                <a:gd name="connsiteY48" fmla="*/ 61 h 10000"/>
                <a:gd name="connsiteX49" fmla="*/ 5559 w 9510"/>
                <a:gd name="connsiteY49" fmla="*/ 124 h 10000"/>
                <a:gd name="connsiteX50" fmla="*/ 5305 w 9510"/>
                <a:gd name="connsiteY50" fmla="*/ 184 h 10000"/>
                <a:gd name="connsiteX51" fmla="*/ 5033 w 9510"/>
                <a:gd name="connsiteY51" fmla="*/ 285 h 10000"/>
                <a:gd name="connsiteX52" fmla="*/ 4763 w 9510"/>
                <a:gd name="connsiteY52" fmla="*/ 388 h 10000"/>
                <a:gd name="connsiteX53" fmla="*/ 4527 w 9510"/>
                <a:gd name="connsiteY53" fmla="*/ 532 h 10000"/>
                <a:gd name="connsiteX54" fmla="*/ 4272 w 9510"/>
                <a:gd name="connsiteY54" fmla="*/ 698 h 10000"/>
                <a:gd name="connsiteX55" fmla="*/ 4054 w 9510"/>
                <a:gd name="connsiteY55" fmla="*/ 881 h 10000"/>
                <a:gd name="connsiteX56" fmla="*/ 3819 w 9510"/>
                <a:gd name="connsiteY56" fmla="*/ 1065 h 10000"/>
                <a:gd name="connsiteX57" fmla="*/ 3599 w 9510"/>
                <a:gd name="connsiteY57" fmla="*/ 1271 h 10000"/>
                <a:gd name="connsiteX58" fmla="*/ 3379 w 9510"/>
                <a:gd name="connsiteY58" fmla="*/ 1497 h 10000"/>
                <a:gd name="connsiteX59" fmla="*/ 3176 w 9510"/>
                <a:gd name="connsiteY59" fmla="*/ 1720 h 10000"/>
                <a:gd name="connsiteX60" fmla="*/ 2956 w 9510"/>
                <a:gd name="connsiteY60" fmla="*/ 1989 h 10000"/>
                <a:gd name="connsiteX61" fmla="*/ 2568 w 9510"/>
                <a:gd name="connsiteY61" fmla="*/ 2540 h 10000"/>
                <a:gd name="connsiteX62" fmla="*/ 2197 w 9510"/>
                <a:gd name="connsiteY62" fmla="*/ 3116 h 10000"/>
                <a:gd name="connsiteX63" fmla="*/ 1843 w 9510"/>
                <a:gd name="connsiteY63" fmla="*/ 3730 h 10000"/>
                <a:gd name="connsiteX64" fmla="*/ 1503 w 9510"/>
                <a:gd name="connsiteY64" fmla="*/ 4386 h 10000"/>
                <a:gd name="connsiteX65" fmla="*/ 1183 w 9510"/>
                <a:gd name="connsiteY65" fmla="*/ 5062 h 10000"/>
                <a:gd name="connsiteX66" fmla="*/ 878 w 9510"/>
                <a:gd name="connsiteY66" fmla="*/ 5737 h 10000"/>
                <a:gd name="connsiteX67" fmla="*/ 576 w 9510"/>
                <a:gd name="connsiteY67" fmla="*/ 6455 h 10000"/>
                <a:gd name="connsiteX68" fmla="*/ 0 w 9510"/>
                <a:gd name="connsiteY6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45 w 10000"/>
                <a:gd name="connsiteY2" fmla="*/ 8955 h 10000"/>
                <a:gd name="connsiteX3" fmla="*/ 852 w 10000"/>
                <a:gd name="connsiteY3" fmla="*/ 10000 h 10000"/>
                <a:gd name="connsiteX4" fmla="*/ 1262 w 10000"/>
                <a:gd name="connsiteY4" fmla="*/ 9222 h 10000"/>
                <a:gd name="connsiteX5" fmla="*/ 1633 w 10000"/>
                <a:gd name="connsiteY5" fmla="*/ 8403 h 10000"/>
                <a:gd name="connsiteX6" fmla="*/ 2025 w 10000"/>
                <a:gd name="connsiteY6" fmla="*/ 7602 h 10000"/>
                <a:gd name="connsiteX7" fmla="*/ 2361 w 10000"/>
                <a:gd name="connsiteY7" fmla="*/ 6782 h 10000"/>
                <a:gd name="connsiteX8" fmla="*/ 3038 w 10000"/>
                <a:gd name="connsiteY8" fmla="*/ 5165 h 10000"/>
                <a:gd name="connsiteX9" fmla="*/ 3376 w 10000"/>
                <a:gd name="connsiteY9" fmla="*/ 4386 h 10000"/>
                <a:gd name="connsiteX10" fmla="*/ 3695 w 10000"/>
                <a:gd name="connsiteY10" fmla="*/ 3647 h 10000"/>
                <a:gd name="connsiteX11" fmla="*/ 4029 w 10000"/>
                <a:gd name="connsiteY11" fmla="*/ 2972 h 10000"/>
                <a:gd name="connsiteX12" fmla="*/ 4368 w 10000"/>
                <a:gd name="connsiteY12" fmla="*/ 2357 h 10000"/>
                <a:gd name="connsiteX13" fmla="*/ 4547 w 10000"/>
                <a:gd name="connsiteY13" fmla="*/ 2048 h 10000"/>
                <a:gd name="connsiteX14" fmla="*/ 4725 w 10000"/>
                <a:gd name="connsiteY14" fmla="*/ 1803 h 10000"/>
                <a:gd name="connsiteX15" fmla="*/ 4920 w 10000"/>
                <a:gd name="connsiteY15" fmla="*/ 1536 h 10000"/>
                <a:gd name="connsiteX16" fmla="*/ 5098 w 10000"/>
                <a:gd name="connsiteY16" fmla="*/ 1312 h 10000"/>
                <a:gd name="connsiteX17" fmla="*/ 5292 w 10000"/>
                <a:gd name="connsiteY17" fmla="*/ 1109 h 10000"/>
                <a:gd name="connsiteX18" fmla="*/ 5488 w 10000"/>
                <a:gd name="connsiteY18" fmla="*/ 922 h 10000"/>
                <a:gd name="connsiteX19" fmla="*/ 5685 w 10000"/>
                <a:gd name="connsiteY19" fmla="*/ 758 h 10000"/>
                <a:gd name="connsiteX20" fmla="*/ 5898 w 10000"/>
                <a:gd name="connsiteY20" fmla="*/ 634 h 10000"/>
                <a:gd name="connsiteX21" fmla="*/ 6091 w 10000"/>
                <a:gd name="connsiteY21" fmla="*/ 512 h 10000"/>
                <a:gd name="connsiteX22" fmla="*/ 6305 w 10000"/>
                <a:gd name="connsiteY22" fmla="*/ 450 h 10000"/>
                <a:gd name="connsiteX23" fmla="*/ 6534 w 10000"/>
                <a:gd name="connsiteY23" fmla="*/ 388 h 10000"/>
                <a:gd name="connsiteX24" fmla="*/ 6766 w 10000"/>
                <a:gd name="connsiteY24" fmla="*/ 388 h 10000"/>
                <a:gd name="connsiteX25" fmla="*/ 7050 w 10000"/>
                <a:gd name="connsiteY25" fmla="*/ 410 h 10000"/>
                <a:gd name="connsiteX26" fmla="*/ 7333 w 10000"/>
                <a:gd name="connsiteY26" fmla="*/ 492 h 10000"/>
                <a:gd name="connsiteX27" fmla="*/ 7584 w 10000"/>
                <a:gd name="connsiteY27" fmla="*/ 634 h 10000"/>
                <a:gd name="connsiteX28" fmla="*/ 7851 w 10000"/>
                <a:gd name="connsiteY28" fmla="*/ 780 h 10000"/>
                <a:gd name="connsiteX29" fmla="*/ 8080 w 10000"/>
                <a:gd name="connsiteY29" fmla="*/ 985 h 10000"/>
                <a:gd name="connsiteX30" fmla="*/ 8330 w 10000"/>
                <a:gd name="connsiteY30" fmla="*/ 1250 h 10000"/>
                <a:gd name="connsiteX31" fmla="*/ 8543 w 10000"/>
                <a:gd name="connsiteY31" fmla="*/ 1536 h 10000"/>
                <a:gd name="connsiteX32" fmla="*/ 8792 w 10000"/>
                <a:gd name="connsiteY32" fmla="*/ 1864 h 10000"/>
                <a:gd name="connsiteX33" fmla="*/ 8989 w 10000"/>
                <a:gd name="connsiteY33" fmla="*/ 2213 h 10000"/>
                <a:gd name="connsiteX34" fmla="*/ 9200 w 10000"/>
                <a:gd name="connsiteY34" fmla="*/ 2602 h 10000"/>
                <a:gd name="connsiteX35" fmla="*/ 10000 w 10000"/>
                <a:gd name="connsiteY35" fmla="*/ 1641 h 10000"/>
                <a:gd name="connsiteX36" fmla="*/ 9715 w 10000"/>
                <a:gd name="connsiteY36" fmla="*/ 1334 h 10000"/>
                <a:gd name="connsiteX37" fmla="*/ 9450 w 10000"/>
                <a:gd name="connsiteY37" fmla="*/ 1086 h 10000"/>
                <a:gd name="connsiteX38" fmla="*/ 9147 w 10000"/>
                <a:gd name="connsiteY38" fmla="*/ 863 h 10000"/>
                <a:gd name="connsiteX39" fmla="*/ 8844 w 10000"/>
                <a:gd name="connsiteY39" fmla="*/ 656 h 10000"/>
                <a:gd name="connsiteX40" fmla="*/ 8525 w 10000"/>
                <a:gd name="connsiteY40" fmla="*/ 470 h 10000"/>
                <a:gd name="connsiteX41" fmla="*/ 8206 w 10000"/>
                <a:gd name="connsiteY41" fmla="*/ 307 h 10000"/>
                <a:gd name="connsiteX42" fmla="*/ 7869 w 10000"/>
                <a:gd name="connsiteY42" fmla="*/ 184 h 10000"/>
                <a:gd name="connsiteX43" fmla="*/ 7511 w 10000"/>
                <a:gd name="connsiteY43" fmla="*/ 101 h 10000"/>
                <a:gd name="connsiteX44" fmla="*/ 7140 w 10000"/>
                <a:gd name="connsiteY44" fmla="*/ 21 h 10000"/>
                <a:gd name="connsiteX45" fmla="*/ 6766 w 10000"/>
                <a:gd name="connsiteY45" fmla="*/ 0 h 10000"/>
                <a:gd name="connsiteX46" fmla="*/ 6447 w 10000"/>
                <a:gd name="connsiteY46" fmla="*/ 21 h 10000"/>
                <a:gd name="connsiteX47" fmla="*/ 6146 w 10000"/>
                <a:gd name="connsiteY47" fmla="*/ 61 h 10000"/>
                <a:gd name="connsiteX48" fmla="*/ 5845 w 10000"/>
                <a:gd name="connsiteY48" fmla="*/ 124 h 10000"/>
                <a:gd name="connsiteX49" fmla="*/ 5578 w 10000"/>
                <a:gd name="connsiteY49" fmla="*/ 184 h 10000"/>
                <a:gd name="connsiteX50" fmla="*/ 5292 w 10000"/>
                <a:gd name="connsiteY50" fmla="*/ 285 h 10000"/>
                <a:gd name="connsiteX51" fmla="*/ 5008 w 10000"/>
                <a:gd name="connsiteY51" fmla="*/ 388 h 10000"/>
                <a:gd name="connsiteX52" fmla="*/ 4760 w 10000"/>
                <a:gd name="connsiteY52" fmla="*/ 532 h 10000"/>
                <a:gd name="connsiteX53" fmla="*/ 4492 w 10000"/>
                <a:gd name="connsiteY53" fmla="*/ 698 h 10000"/>
                <a:gd name="connsiteX54" fmla="*/ 4263 w 10000"/>
                <a:gd name="connsiteY54" fmla="*/ 881 h 10000"/>
                <a:gd name="connsiteX55" fmla="*/ 4016 w 10000"/>
                <a:gd name="connsiteY55" fmla="*/ 1065 h 10000"/>
                <a:gd name="connsiteX56" fmla="*/ 3784 w 10000"/>
                <a:gd name="connsiteY56" fmla="*/ 1271 h 10000"/>
                <a:gd name="connsiteX57" fmla="*/ 3553 w 10000"/>
                <a:gd name="connsiteY57" fmla="*/ 1497 h 10000"/>
                <a:gd name="connsiteX58" fmla="*/ 3340 w 10000"/>
                <a:gd name="connsiteY58" fmla="*/ 1720 h 10000"/>
                <a:gd name="connsiteX59" fmla="*/ 3108 w 10000"/>
                <a:gd name="connsiteY59" fmla="*/ 1989 h 10000"/>
                <a:gd name="connsiteX60" fmla="*/ 2700 w 10000"/>
                <a:gd name="connsiteY60" fmla="*/ 2540 h 10000"/>
                <a:gd name="connsiteX61" fmla="*/ 2310 w 10000"/>
                <a:gd name="connsiteY61" fmla="*/ 3116 h 10000"/>
                <a:gd name="connsiteX62" fmla="*/ 1938 w 10000"/>
                <a:gd name="connsiteY62" fmla="*/ 3730 h 10000"/>
                <a:gd name="connsiteX63" fmla="*/ 1580 w 10000"/>
                <a:gd name="connsiteY63" fmla="*/ 4386 h 10000"/>
                <a:gd name="connsiteX64" fmla="*/ 1244 w 10000"/>
                <a:gd name="connsiteY64" fmla="*/ 5062 h 10000"/>
                <a:gd name="connsiteX65" fmla="*/ 923 w 10000"/>
                <a:gd name="connsiteY65" fmla="*/ 5737 h 10000"/>
                <a:gd name="connsiteX66" fmla="*/ 606 w 10000"/>
                <a:gd name="connsiteY66" fmla="*/ 6455 h 10000"/>
                <a:gd name="connsiteX67" fmla="*/ 0 w 10000"/>
                <a:gd name="connsiteY67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9147 w 10002"/>
                <a:gd name="connsiteY37" fmla="*/ 863 h 10000"/>
                <a:gd name="connsiteX38" fmla="*/ 8844 w 10002"/>
                <a:gd name="connsiteY38" fmla="*/ 656 h 10000"/>
                <a:gd name="connsiteX39" fmla="*/ 8525 w 10002"/>
                <a:gd name="connsiteY39" fmla="*/ 470 h 10000"/>
                <a:gd name="connsiteX40" fmla="*/ 8206 w 10002"/>
                <a:gd name="connsiteY40" fmla="*/ 307 h 10000"/>
                <a:gd name="connsiteX41" fmla="*/ 7869 w 10002"/>
                <a:gd name="connsiteY41" fmla="*/ 184 h 10000"/>
                <a:gd name="connsiteX42" fmla="*/ 7511 w 10002"/>
                <a:gd name="connsiteY42" fmla="*/ 101 h 10000"/>
                <a:gd name="connsiteX43" fmla="*/ 7140 w 10002"/>
                <a:gd name="connsiteY43" fmla="*/ 21 h 10000"/>
                <a:gd name="connsiteX44" fmla="*/ 6766 w 10002"/>
                <a:gd name="connsiteY44" fmla="*/ 0 h 10000"/>
                <a:gd name="connsiteX45" fmla="*/ 6447 w 10002"/>
                <a:gd name="connsiteY45" fmla="*/ 21 h 10000"/>
                <a:gd name="connsiteX46" fmla="*/ 6146 w 10002"/>
                <a:gd name="connsiteY46" fmla="*/ 61 h 10000"/>
                <a:gd name="connsiteX47" fmla="*/ 5845 w 10002"/>
                <a:gd name="connsiteY47" fmla="*/ 124 h 10000"/>
                <a:gd name="connsiteX48" fmla="*/ 5578 w 10002"/>
                <a:gd name="connsiteY48" fmla="*/ 184 h 10000"/>
                <a:gd name="connsiteX49" fmla="*/ 5292 w 10002"/>
                <a:gd name="connsiteY49" fmla="*/ 285 h 10000"/>
                <a:gd name="connsiteX50" fmla="*/ 5008 w 10002"/>
                <a:gd name="connsiteY50" fmla="*/ 388 h 10000"/>
                <a:gd name="connsiteX51" fmla="*/ 4760 w 10002"/>
                <a:gd name="connsiteY51" fmla="*/ 532 h 10000"/>
                <a:gd name="connsiteX52" fmla="*/ 4492 w 10002"/>
                <a:gd name="connsiteY52" fmla="*/ 698 h 10000"/>
                <a:gd name="connsiteX53" fmla="*/ 4263 w 10002"/>
                <a:gd name="connsiteY53" fmla="*/ 881 h 10000"/>
                <a:gd name="connsiteX54" fmla="*/ 4016 w 10002"/>
                <a:gd name="connsiteY54" fmla="*/ 1065 h 10000"/>
                <a:gd name="connsiteX55" fmla="*/ 3784 w 10002"/>
                <a:gd name="connsiteY55" fmla="*/ 1271 h 10000"/>
                <a:gd name="connsiteX56" fmla="*/ 3553 w 10002"/>
                <a:gd name="connsiteY56" fmla="*/ 1497 h 10000"/>
                <a:gd name="connsiteX57" fmla="*/ 3340 w 10002"/>
                <a:gd name="connsiteY57" fmla="*/ 1720 h 10000"/>
                <a:gd name="connsiteX58" fmla="*/ 3108 w 10002"/>
                <a:gd name="connsiteY58" fmla="*/ 1989 h 10000"/>
                <a:gd name="connsiteX59" fmla="*/ 2700 w 10002"/>
                <a:gd name="connsiteY59" fmla="*/ 2540 h 10000"/>
                <a:gd name="connsiteX60" fmla="*/ 2310 w 10002"/>
                <a:gd name="connsiteY60" fmla="*/ 3116 h 10000"/>
                <a:gd name="connsiteX61" fmla="*/ 1938 w 10002"/>
                <a:gd name="connsiteY61" fmla="*/ 3730 h 10000"/>
                <a:gd name="connsiteX62" fmla="*/ 1580 w 10002"/>
                <a:gd name="connsiteY62" fmla="*/ 4386 h 10000"/>
                <a:gd name="connsiteX63" fmla="*/ 1244 w 10002"/>
                <a:gd name="connsiteY63" fmla="*/ 5062 h 10000"/>
                <a:gd name="connsiteX64" fmla="*/ 923 w 10002"/>
                <a:gd name="connsiteY64" fmla="*/ 5737 h 10000"/>
                <a:gd name="connsiteX65" fmla="*/ 606 w 10002"/>
                <a:gd name="connsiteY65" fmla="*/ 6455 h 10000"/>
                <a:gd name="connsiteX66" fmla="*/ 0 w 10002"/>
                <a:gd name="connsiteY66" fmla="*/ 7890 h 10000"/>
                <a:gd name="connsiteX0" fmla="*/ 0 w 10002"/>
                <a:gd name="connsiteY0" fmla="*/ 7890 h 10000"/>
                <a:gd name="connsiteX1" fmla="*/ 0 w 10002"/>
                <a:gd name="connsiteY1" fmla="*/ 7890 h 10000"/>
                <a:gd name="connsiteX2" fmla="*/ 445 w 10002"/>
                <a:gd name="connsiteY2" fmla="*/ 8955 h 10000"/>
                <a:gd name="connsiteX3" fmla="*/ 852 w 10002"/>
                <a:gd name="connsiteY3" fmla="*/ 10000 h 10000"/>
                <a:gd name="connsiteX4" fmla="*/ 1262 w 10002"/>
                <a:gd name="connsiteY4" fmla="*/ 9222 h 10000"/>
                <a:gd name="connsiteX5" fmla="*/ 1633 w 10002"/>
                <a:gd name="connsiteY5" fmla="*/ 8403 h 10000"/>
                <a:gd name="connsiteX6" fmla="*/ 2025 w 10002"/>
                <a:gd name="connsiteY6" fmla="*/ 7602 h 10000"/>
                <a:gd name="connsiteX7" fmla="*/ 2361 w 10002"/>
                <a:gd name="connsiteY7" fmla="*/ 6782 h 10000"/>
                <a:gd name="connsiteX8" fmla="*/ 3038 w 10002"/>
                <a:gd name="connsiteY8" fmla="*/ 5165 h 10000"/>
                <a:gd name="connsiteX9" fmla="*/ 3376 w 10002"/>
                <a:gd name="connsiteY9" fmla="*/ 4386 h 10000"/>
                <a:gd name="connsiteX10" fmla="*/ 3695 w 10002"/>
                <a:gd name="connsiteY10" fmla="*/ 3647 h 10000"/>
                <a:gd name="connsiteX11" fmla="*/ 4029 w 10002"/>
                <a:gd name="connsiteY11" fmla="*/ 2972 h 10000"/>
                <a:gd name="connsiteX12" fmla="*/ 4368 w 10002"/>
                <a:gd name="connsiteY12" fmla="*/ 2357 h 10000"/>
                <a:gd name="connsiteX13" fmla="*/ 4547 w 10002"/>
                <a:gd name="connsiteY13" fmla="*/ 2048 h 10000"/>
                <a:gd name="connsiteX14" fmla="*/ 4725 w 10002"/>
                <a:gd name="connsiteY14" fmla="*/ 1803 h 10000"/>
                <a:gd name="connsiteX15" fmla="*/ 4920 w 10002"/>
                <a:gd name="connsiteY15" fmla="*/ 1536 h 10000"/>
                <a:gd name="connsiteX16" fmla="*/ 5098 w 10002"/>
                <a:gd name="connsiteY16" fmla="*/ 1312 h 10000"/>
                <a:gd name="connsiteX17" fmla="*/ 5292 w 10002"/>
                <a:gd name="connsiteY17" fmla="*/ 1109 h 10000"/>
                <a:gd name="connsiteX18" fmla="*/ 5488 w 10002"/>
                <a:gd name="connsiteY18" fmla="*/ 922 h 10000"/>
                <a:gd name="connsiteX19" fmla="*/ 5685 w 10002"/>
                <a:gd name="connsiteY19" fmla="*/ 758 h 10000"/>
                <a:gd name="connsiteX20" fmla="*/ 5898 w 10002"/>
                <a:gd name="connsiteY20" fmla="*/ 634 h 10000"/>
                <a:gd name="connsiteX21" fmla="*/ 6091 w 10002"/>
                <a:gd name="connsiteY21" fmla="*/ 512 h 10000"/>
                <a:gd name="connsiteX22" fmla="*/ 6305 w 10002"/>
                <a:gd name="connsiteY22" fmla="*/ 450 h 10000"/>
                <a:gd name="connsiteX23" fmla="*/ 6534 w 10002"/>
                <a:gd name="connsiteY23" fmla="*/ 388 h 10000"/>
                <a:gd name="connsiteX24" fmla="*/ 6766 w 10002"/>
                <a:gd name="connsiteY24" fmla="*/ 388 h 10000"/>
                <a:gd name="connsiteX25" fmla="*/ 7050 w 10002"/>
                <a:gd name="connsiteY25" fmla="*/ 410 h 10000"/>
                <a:gd name="connsiteX26" fmla="*/ 7333 w 10002"/>
                <a:gd name="connsiteY26" fmla="*/ 492 h 10000"/>
                <a:gd name="connsiteX27" fmla="*/ 7584 w 10002"/>
                <a:gd name="connsiteY27" fmla="*/ 634 h 10000"/>
                <a:gd name="connsiteX28" fmla="*/ 7851 w 10002"/>
                <a:gd name="connsiteY28" fmla="*/ 780 h 10000"/>
                <a:gd name="connsiteX29" fmla="*/ 8080 w 10002"/>
                <a:gd name="connsiteY29" fmla="*/ 985 h 10000"/>
                <a:gd name="connsiteX30" fmla="*/ 8330 w 10002"/>
                <a:gd name="connsiteY30" fmla="*/ 1250 h 10000"/>
                <a:gd name="connsiteX31" fmla="*/ 8543 w 10002"/>
                <a:gd name="connsiteY31" fmla="*/ 1536 h 10000"/>
                <a:gd name="connsiteX32" fmla="*/ 8792 w 10002"/>
                <a:gd name="connsiteY32" fmla="*/ 1864 h 10000"/>
                <a:gd name="connsiteX33" fmla="*/ 8989 w 10002"/>
                <a:gd name="connsiteY33" fmla="*/ 2213 h 10000"/>
                <a:gd name="connsiteX34" fmla="*/ 9200 w 10002"/>
                <a:gd name="connsiteY34" fmla="*/ 2602 h 10000"/>
                <a:gd name="connsiteX35" fmla="*/ 10000 w 10002"/>
                <a:gd name="connsiteY35" fmla="*/ 1641 h 10000"/>
                <a:gd name="connsiteX36" fmla="*/ 9450 w 10002"/>
                <a:gd name="connsiteY36" fmla="*/ 1086 h 10000"/>
                <a:gd name="connsiteX37" fmla="*/ 8844 w 10002"/>
                <a:gd name="connsiteY37" fmla="*/ 656 h 10000"/>
                <a:gd name="connsiteX38" fmla="*/ 8525 w 10002"/>
                <a:gd name="connsiteY38" fmla="*/ 470 h 10000"/>
                <a:gd name="connsiteX39" fmla="*/ 8206 w 10002"/>
                <a:gd name="connsiteY39" fmla="*/ 307 h 10000"/>
                <a:gd name="connsiteX40" fmla="*/ 7869 w 10002"/>
                <a:gd name="connsiteY40" fmla="*/ 184 h 10000"/>
                <a:gd name="connsiteX41" fmla="*/ 7511 w 10002"/>
                <a:gd name="connsiteY41" fmla="*/ 101 h 10000"/>
                <a:gd name="connsiteX42" fmla="*/ 7140 w 10002"/>
                <a:gd name="connsiteY42" fmla="*/ 21 h 10000"/>
                <a:gd name="connsiteX43" fmla="*/ 6766 w 10002"/>
                <a:gd name="connsiteY43" fmla="*/ 0 h 10000"/>
                <a:gd name="connsiteX44" fmla="*/ 6447 w 10002"/>
                <a:gd name="connsiteY44" fmla="*/ 21 h 10000"/>
                <a:gd name="connsiteX45" fmla="*/ 6146 w 10002"/>
                <a:gd name="connsiteY45" fmla="*/ 61 h 10000"/>
                <a:gd name="connsiteX46" fmla="*/ 5845 w 10002"/>
                <a:gd name="connsiteY46" fmla="*/ 124 h 10000"/>
                <a:gd name="connsiteX47" fmla="*/ 5578 w 10002"/>
                <a:gd name="connsiteY47" fmla="*/ 184 h 10000"/>
                <a:gd name="connsiteX48" fmla="*/ 5292 w 10002"/>
                <a:gd name="connsiteY48" fmla="*/ 285 h 10000"/>
                <a:gd name="connsiteX49" fmla="*/ 5008 w 10002"/>
                <a:gd name="connsiteY49" fmla="*/ 388 h 10000"/>
                <a:gd name="connsiteX50" fmla="*/ 4760 w 10002"/>
                <a:gd name="connsiteY50" fmla="*/ 532 h 10000"/>
                <a:gd name="connsiteX51" fmla="*/ 4492 w 10002"/>
                <a:gd name="connsiteY51" fmla="*/ 698 h 10000"/>
                <a:gd name="connsiteX52" fmla="*/ 4263 w 10002"/>
                <a:gd name="connsiteY52" fmla="*/ 881 h 10000"/>
                <a:gd name="connsiteX53" fmla="*/ 4016 w 10002"/>
                <a:gd name="connsiteY53" fmla="*/ 1065 h 10000"/>
                <a:gd name="connsiteX54" fmla="*/ 3784 w 10002"/>
                <a:gd name="connsiteY54" fmla="*/ 1271 h 10000"/>
                <a:gd name="connsiteX55" fmla="*/ 3553 w 10002"/>
                <a:gd name="connsiteY55" fmla="*/ 1497 h 10000"/>
                <a:gd name="connsiteX56" fmla="*/ 3340 w 10002"/>
                <a:gd name="connsiteY56" fmla="*/ 1720 h 10000"/>
                <a:gd name="connsiteX57" fmla="*/ 3108 w 10002"/>
                <a:gd name="connsiteY57" fmla="*/ 1989 h 10000"/>
                <a:gd name="connsiteX58" fmla="*/ 2700 w 10002"/>
                <a:gd name="connsiteY58" fmla="*/ 2540 h 10000"/>
                <a:gd name="connsiteX59" fmla="*/ 2310 w 10002"/>
                <a:gd name="connsiteY59" fmla="*/ 3116 h 10000"/>
                <a:gd name="connsiteX60" fmla="*/ 1938 w 10002"/>
                <a:gd name="connsiteY60" fmla="*/ 3730 h 10000"/>
                <a:gd name="connsiteX61" fmla="*/ 1580 w 10002"/>
                <a:gd name="connsiteY61" fmla="*/ 4386 h 10000"/>
                <a:gd name="connsiteX62" fmla="*/ 1244 w 10002"/>
                <a:gd name="connsiteY62" fmla="*/ 5062 h 10000"/>
                <a:gd name="connsiteX63" fmla="*/ 923 w 10002"/>
                <a:gd name="connsiteY63" fmla="*/ 5737 h 10000"/>
                <a:gd name="connsiteX64" fmla="*/ 606 w 10002"/>
                <a:gd name="connsiteY64" fmla="*/ 6455 h 10000"/>
                <a:gd name="connsiteX65" fmla="*/ 0 w 10002"/>
                <a:gd name="connsiteY65" fmla="*/ 7890 h 10000"/>
                <a:gd name="connsiteX0" fmla="*/ 0 w 9459"/>
                <a:gd name="connsiteY0" fmla="*/ 7890 h 10000"/>
                <a:gd name="connsiteX1" fmla="*/ 0 w 9459"/>
                <a:gd name="connsiteY1" fmla="*/ 7890 h 10000"/>
                <a:gd name="connsiteX2" fmla="*/ 445 w 9459"/>
                <a:gd name="connsiteY2" fmla="*/ 8955 h 10000"/>
                <a:gd name="connsiteX3" fmla="*/ 852 w 9459"/>
                <a:gd name="connsiteY3" fmla="*/ 10000 h 10000"/>
                <a:gd name="connsiteX4" fmla="*/ 1262 w 9459"/>
                <a:gd name="connsiteY4" fmla="*/ 9222 h 10000"/>
                <a:gd name="connsiteX5" fmla="*/ 1633 w 9459"/>
                <a:gd name="connsiteY5" fmla="*/ 8403 h 10000"/>
                <a:gd name="connsiteX6" fmla="*/ 2025 w 9459"/>
                <a:gd name="connsiteY6" fmla="*/ 7602 h 10000"/>
                <a:gd name="connsiteX7" fmla="*/ 2361 w 9459"/>
                <a:gd name="connsiteY7" fmla="*/ 6782 h 10000"/>
                <a:gd name="connsiteX8" fmla="*/ 3038 w 9459"/>
                <a:gd name="connsiteY8" fmla="*/ 5165 h 10000"/>
                <a:gd name="connsiteX9" fmla="*/ 3376 w 9459"/>
                <a:gd name="connsiteY9" fmla="*/ 4386 h 10000"/>
                <a:gd name="connsiteX10" fmla="*/ 3695 w 9459"/>
                <a:gd name="connsiteY10" fmla="*/ 3647 h 10000"/>
                <a:gd name="connsiteX11" fmla="*/ 4029 w 9459"/>
                <a:gd name="connsiteY11" fmla="*/ 2972 h 10000"/>
                <a:gd name="connsiteX12" fmla="*/ 4368 w 9459"/>
                <a:gd name="connsiteY12" fmla="*/ 2357 h 10000"/>
                <a:gd name="connsiteX13" fmla="*/ 4547 w 9459"/>
                <a:gd name="connsiteY13" fmla="*/ 2048 h 10000"/>
                <a:gd name="connsiteX14" fmla="*/ 4725 w 9459"/>
                <a:gd name="connsiteY14" fmla="*/ 1803 h 10000"/>
                <a:gd name="connsiteX15" fmla="*/ 4920 w 9459"/>
                <a:gd name="connsiteY15" fmla="*/ 1536 h 10000"/>
                <a:gd name="connsiteX16" fmla="*/ 5098 w 9459"/>
                <a:gd name="connsiteY16" fmla="*/ 1312 h 10000"/>
                <a:gd name="connsiteX17" fmla="*/ 5292 w 9459"/>
                <a:gd name="connsiteY17" fmla="*/ 1109 h 10000"/>
                <a:gd name="connsiteX18" fmla="*/ 5488 w 9459"/>
                <a:gd name="connsiteY18" fmla="*/ 922 h 10000"/>
                <a:gd name="connsiteX19" fmla="*/ 5685 w 9459"/>
                <a:gd name="connsiteY19" fmla="*/ 758 h 10000"/>
                <a:gd name="connsiteX20" fmla="*/ 5898 w 9459"/>
                <a:gd name="connsiteY20" fmla="*/ 634 h 10000"/>
                <a:gd name="connsiteX21" fmla="*/ 6091 w 9459"/>
                <a:gd name="connsiteY21" fmla="*/ 512 h 10000"/>
                <a:gd name="connsiteX22" fmla="*/ 6305 w 9459"/>
                <a:gd name="connsiteY22" fmla="*/ 450 h 10000"/>
                <a:gd name="connsiteX23" fmla="*/ 6534 w 9459"/>
                <a:gd name="connsiteY23" fmla="*/ 388 h 10000"/>
                <a:gd name="connsiteX24" fmla="*/ 6766 w 9459"/>
                <a:gd name="connsiteY24" fmla="*/ 388 h 10000"/>
                <a:gd name="connsiteX25" fmla="*/ 7050 w 9459"/>
                <a:gd name="connsiteY25" fmla="*/ 410 h 10000"/>
                <a:gd name="connsiteX26" fmla="*/ 7333 w 9459"/>
                <a:gd name="connsiteY26" fmla="*/ 492 h 10000"/>
                <a:gd name="connsiteX27" fmla="*/ 7584 w 9459"/>
                <a:gd name="connsiteY27" fmla="*/ 634 h 10000"/>
                <a:gd name="connsiteX28" fmla="*/ 7851 w 9459"/>
                <a:gd name="connsiteY28" fmla="*/ 780 h 10000"/>
                <a:gd name="connsiteX29" fmla="*/ 8080 w 9459"/>
                <a:gd name="connsiteY29" fmla="*/ 985 h 10000"/>
                <a:gd name="connsiteX30" fmla="*/ 8330 w 9459"/>
                <a:gd name="connsiteY30" fmla="*/ 1250 h 10000"/>
                <a:gd name="connsiteX31" fmla="*/ 8543 w 9459"/>
                <a:gd name="connsiteY31" fmla="*/ 1536 h 10000"/>
                <a:gd name="connsiteX32" fmla="*/ 8792 w 9459"/>
                <a:gd name="connsiteY32" fmla="*/ 1864 h 10000"/>
                <a:gd name="connsiteX33" fmla="*/ 8989 w 9459"/>
                <a:gd name="connsiteY33" fmla="*/ 2213 h 10000"/>
                <a:gd name="connsiteX34" fmla="*/ 9200 w 9459"/>
                <a:gd name="connsiteY34" fmla="*/ 2602 h 10000"/>
                <a:gd name="connsiteX35" fmla="*/ 9450 w 9459"/>
                <a:gd name="connsiteY35" fmla="*/ 1086 h 10000"/>
                <a:gd name="connsiteX36" fmla="*/ 8844 w 9459"/>
                <a:gd name="connsiteY36" fmla="*/ 656 h 10000"/>
                <a:gd name="connsiteX37" fmla="*/ 8525 w 9459"/>
                <a:gd name="connsiteY37" fmla="*/ 470 h 10000"/>
                <a:gd name="connsiteX38" fmla="*/ 8206 w 9459"/>
                <a:gd name="connsiteY38" fmla="*/ 307 h 10000"/>
                <a:gd name="connsiteX39" fmla="*/ 7869 w 9459"/>
                <a:gd name="connsiteY39" fmla="*/ 184 h 10000"/>
                <a:gd name="connsiteX40" fmla="*/ 7511 w 9459"/>
                <a:gd name="connsiteY40" fmla="*/ 101 h 10000"/>
                <a:gd name="connsiteX41" fmla="*/ 7140 w 9459"/>
                <a:gd name="connsiteY41" fmla="*/ 21 h 10000"/>
                <a:gd name="connsiteX42" fmla="*/ 6766 w 9459"/>
                <a:gd name="connsiteY42" fmla="*/ 0 h 10000"/>
                <a:gd name="connsiteX43" fmla="*/ 6447 w 9459"/>
                <a:gd name="connsiteY43" fmla="*/ 21 h 10000"/>
                <a:gd name="connsiteX44" fmla="*/ 6146 w 9459"/>
                <a:gd name="connsiteY44" fmla="*/ 61 h 10000"/>
                <a:gd name="connsiteX45" fmla="*/ 5845 w 9459"/>
                <a:gd name="connsiteY45" fmla="*/ 124 h 10000"/>
                <a:gd name="connsiteX46" fmla="*/ 5578 w 9459"/>
                <a:gd name="connsiteY46" fmla="*/ 184 h 10000"/>
                <a:gd name="connsiteX47" fmla="*/ 5292 w 9459"/>
                <a:gd name="connsiteY47" fmla="*/ 285 h 10000"/>
                <a:gd name="connsiteX48" fmla="*/ 5008 w 9459"/>
                <a:gd name="connsiteY48" fmla="*/ 388 h 10000"/>
                <a:gd name="connsiteX49" fmla="*/ 4760 w 9459"/>
                <a:gd name="connsiteY49" fmla="*/ 532 h 10000"/>
                <a:gd name="connsiteX50" fmla="*/ 4492 w 9459"/>
                <a:gd name="connsiteY50" fmla="*/ 698 h 10000"/>
                <a:gd name="connsiteX51" fmla="*/ 4263 w 9459"/>
                <a:gd name="connsiteY51" fmla="*/ 881 h 10000"/>
                <a:gd name="connsiteX52" fmla="*/ 4016 w 9459"/>
                <a:gd name="connsiteY52" fmla="*/ 1065 h 10000"/>
                <a:gd name="connsiteX53" fmla="*/ 3784 w 9459"/>
                <a:gd name="connsiteY53" fmla="*/ 1271 h 10000"/>
                <a:gd name="connsiteX54" fmla="*/ 3553 w 9459"/>
                <a:gd name="connsiteY54" fmla="*/ 1497 h 10000"/>
                <a:gd name="connsiteX55" fmla="*/ 3340 w 9459"/>
                <a:gd name="connsiteY55" fmla="*/ 1720 h 10000"/>
                <a:gd name="connsiteX56" fmla="*/ 3108 w 9459"/>
                <a:gd name="connsiteY56" fmla="*/ 1989 h 10000"/>
                <a:gd name="connsiteX57" fmla="*/ 2700 w 9459"/>
                <a:gd name="connsiteY57" fmla="*/ 2540 h 10000"/>
                <a:gd name="connsiteX58" fmla="*/ 2310 w 9459"/>
                <a:gd name="connsiteY58" fmla="*/ 3116 h 10000"/>
                <a:gd name="connsiteX59" fmla="*/ 1938 w 9459"/>
                <a:gd name="connsiteY59" fmla="*/ 3730 h 10000"/>
                <a:gd name="connsiteX60" fmla="*/ 1580 w 9459"/>
                <a:gd name="connsiteY60" fmla="*/ 4386 h 10000"/>
                <a:gd name="connsiteX61" fmla="*/ 1244 w 9459"/>
                <a:gd name="connsiteY61" fmla="*/ 5062 h 10000"/>
                <a:gd name="connsiteX62" fmla="*/ 923 w 9459"/>
                <a:gd name="connsiteY62" fmla="*/ 5737 h 10000"/>
                <a:gd name="connsiteX63" fmla="*/ 606 w 9459"/>
                <a:gd name="connsiteY63" fmla="*/ 6455 h 10000"/>
                <a:gd name="connsiteX64" fmla="*/ 0 w 9459"/>
                <a:gd name="connsiteY64" fmla="*/ 7890 h 10000"/>
                <a:gd name="connsiteX0" fmla="*/ 0 w 9821"/>
                <a:gd name="connsiteY0" fmla="*/ 7890 h 10000"/>
                <a:gd name="connsiteX1" fmla="*/ 0 w 9821"/>
                <a:gd name="connsiteY1" fmla="*/ 7890 h 10000"/>
                <a:gd name="connsiteX2" fmla="*/ 470 w 9821"/>
                <a:gd name="connsiteY2" fmla="*/ 8955 h 10000"/>
                <a:gd name="connsiteX3" fmla="*/ 901 w 9821"/>
                <a:gd name="connsiteY3" fmla="*/ 10000 h 10000"/>
                <a:gd name="connsiteX4" fmla="*/ 1334 w 9821"/>
                <a:gd name="connsiteY4" fmla="*/ 9222 h 10000"/>
                <a:gd name="connsiteX5" fmla="*/ 1726 w 9821"/>
                <a:gd name="connsiteY5" fmla="*/ 8403 h 10000"/>
                <a:gd name="connsiteX6" fmla="*/ 2141 w 9821"/>
                <a:gd name="connsiteY6" fmla="*/ 7602 h 10000"/>
                <a:gd name="connsiteX7" fmla="*/ 2496 w 9821"/>
                <a:gd name="connsiteY7" fmla="*/ 6782 h 10000"/>
                <a:gd name="connsiteX8" fmla="*/ 3212 w 9821"/>
                <a:gd name="connsiteY8" fmla="*/ 5165 h 10000"/>
                <a:gd name="connsiteX9" fmla="*/ 3569 w 9821"/>
                <a:gd name="connsiteY9" fmla="*/ 4386 h 10000"/>
                <a:gd name="connsiteX10" fmla="*/ 3906 w 9821"/>
                <a:gd name="connsiteY10" fmla="*/ 3647 h 10000"/>
                <a:gd name="connsiteX11" fmla="*/ 4259 w 9821"/>
                <a:gd name="connsiteY11" fmla="*/ 2972 h 10000"/>
                <a:gd name="connsiteX12" fmla="*/ 4618 w 9821"/>
                <a:gd name="connsiteY12" fmla="*/ 2357 h 10000"/>
                <a:gd name="connsiteX13" fmla="*/ 4807 w 9821"/>
                <a:gd name="connsiteY13" fmla="*/ 2048 h 10000"/>
                <a:gd name="connsiteX14" fmla="*/ 4995 w 9821"/>
                <a:gd name="connsiteY14" fmla="*/ 1803 h 10000"/>
                <a:gd name="connsiteX15" fmla="*/ 5201 w 9821"/>
                <a:gd name="connsiteY15" fmla="*/ 1536 h 10000"/>
                <a:gd name="connsiteX16" fmla="*/ 5390 w 9821"/>
                <a:gd name="connsiteY16" fmla="*/ 1312 h 10000"/>
                <a:gd name="connsiteX17" fmla="*/ 5595 w 9821"/>
                <a:gd name="connsiteY17" fmla="*/ 1109 h 10000"/>
                <a:gd name="connsiteX18" fmla="*/ 5802 w 9821"/>
                <a:gd name="connsiteY18" fmla="*/ 922 h 10000"/>
                <a:gd name="connsiteX19" fmla="*/ 6010 w 9821"/>
                <a:gd name="connsiteY19" fmla="*/ 758 h 10000"/>
                <a:gd name="connsiteX20" fmla="*/ 6235 w 9821"/>
                <a:gd name="connsiteY20" fmla="*/ 634 h 10000"/>
                <a:gd name="connsiteX21" fmla="*/ 6439 w 9821"/>
                <a:gd name="connsiteY21" fmla="*/ 512 h 10000"/>
                <a:gd name="connsiteX22" fmla="*/ 6666 w 9821"/>
                <a:gd name="connsiteY22" fmla="*/ 450 h 10000"/>
                <a:gd name="connsiteX23" fmla="*/ 6908 w 9821"/>
                <a:gd name="connsiteY23" fmla="*/ 388 h 10000"/>
                <a:gd name="connsiteX24" fmla="*/ 7153 w 9821"/>
                <a:gd name="connsiteY24" fmla="*/ 388 h 10000"/>
                <a:gd name="connsiteX25" fmla="*/ 7453 w 9821"/>
                <a:gd name="connsiteY25" fmla="*/ 410 h 10000"/>
                <a:gd name="connsiteX26" fmla="*/ 7752 w 9821"/>
                <a:gd name="connsiteY26" fmla="*/ 492 h 10000"/>
                <a:gd name="connsiteX27" fmla="*/ 8018 w 9821"/>
                <a:gd name="connsiteY27" fmla="*/ 634 h 10000"/>
                <a:gd name="connsiteX28" fmla="*/ 8300 w 9821"/>
                <a:gd name="connsiteY28" fmla="*/ 780 h 10000"/>
                <a:gd name="connsiteX29" fmla="*/ 8542 w 9821"/>
                <a:gd name="connsiteY29" fmla="*/ 985 h 10000"/>
                <a:gd name="connsiteX30" fmla="*/ 8806 w 9821"/>
                <a:gd name="connsiteY30" fmla="*/ 1250 h 10000"/>
                <a:gd name="connsiteX31" fmla="*/ 9032 w 9821"/>
                <a:gd name="connsiteY31" fmla="*/ 1536 h 10000"/>
                <a:gd name="connsiteX32" fmla="*/ 9295 w 9821"/>
                <a:gd name="connsiteY32" fmla="*/ 1864 h 10000"/>
                <a:gd name="connsiteX33" fmla="*/ 9503 w 9821"/>
                <a:gd name="connsiteY33" fmla="*/ 2213 h 10000"/>
                <a:gd name="connsiteX34" fmla="*/ 9726 w 9821"/>
                <a:gd name="connsiteY34" fmla="*/ 2602 h 10000"/>
                <a:gd name="connsiteX35" fmla="*/ 9792 w 9821"/>
                <a:gd name="connsiteY35" fmla="*/ 1086 h 10000"/>
                <a:gd name="connsiteX36" fmla="*/ 9350 w 9821"/>
                <a:gd name="connsiteY36" fmla="*/ 656 h 10000"/>
                <a:gd name="connsiteX37" fmla="*/ 9013 w 9821"/>
                <a:gd name="connsiteY37" fmla="*/ 470 h 10000"/>
                <a:gd name="connsiteX38" fmla="*/ 8675 w 9821"/>
                <a:gd name="connsiteY38" fmla="*/ 307 h 10000"/>
                <a:gd name="connsiteX39" fmla="*/ 8319 w 9821"/>
                <a:gd name="connsiteY39" fmla="*/ 184 h 10000"/>
                <a:gd name="connsiteX40" fmla="*/ 7941 w 9821"/>
                <a:gd name="connsiteY40" fmla="*/ 101 h 10000"/>
                <a:gd name="connsiteX41" fmla="*/ 7548 w 9821"/>
                <a:gd name="connsiteY41" fmla="*/ 21 h 10000"/>
                <a:gd name="connsiteX42" fmla="*/ 7153 w 9821"/>
                <a:gd name="connsiteY42" fmla="*/ 0 h 10000"/>
                <a:gd name="connsiteX43" fmla="*/ 6816 w 9821"/>
                <a:gd name="connsiteY43" fmla="*/ 21 h 10000"/>
                <a:gd name="connsiteX44" fmla="*/ 6498 w 9821"/>
                <a:gd name="connsiteY44" fmla="*/ 61 h 10000"/>
                <a:gd name="connsiteX45" fmla="*/ 6179 w 9821"/>
                <a:gd name="connsiteY45" fmla="*/ 124 h 10000"/>
                <a:gd name="connsiteX46" fmla="*/ 5897 w 9821"/>
                <a:gd name="connsiteY46" fmla="*/ 184 h 10000"/>
                <a:gd name="connsiteX47" fmla="*/ 5595 w 9821"/>
                <a:gd name="connsiteY47" fmla="*/ 285 h 10000"/>
                <a:gd name="connsiteX48" fmla="*/ 5294 w 9821"/>
                <a:gd name="connsiteY48" fmla="*/ 388 h 10000"/>
                <a:gd name="connsiteX49" fmla="*/ 5032 w 9821"/>
                <a:gd name="connsiteY49" fmla="*/ 532 h 10000"/>
                <a:gd name="connsiteX50" fmla="*/ 4749 w 9821"/>
                <a:gd name="connsiteY50" fmla="*/ 698 h 10000"/>
                <a:gd name="connsiteX51" fmla="*/ 4507 w 9821"/>
                <a:gd name="connsiteY51" fmla="*/ 881 h 10000"/>
                <a:gd name="connsiteX52" fmla="*/ 4246 w 9821"/>
                <a:gd name="connsiteY52" fmla="*/ 1065 h 10000"/>
                <a:gd name="connsiteX53" fmla="*/ 4000 w 9821"/>
                <a:gd name="connsiteY53" fmla="*/ 1271 h 10000"/>
                <a:gd name="connsiteX54" fmla="*/ 3756 w 9821"/>
                <a:gd name="connsiteY54" fmla="*/ 1497 h 10000"/>
                <a:gd name="connsiteX55" fmla="*/ 3531 w 9821"/>
                <a:gd name="connsiteY55" fmla="*/ 1720 h 10000"/>
                <a:gd name="connsiteX56" fmla="*/ 3286 w 9821"/>
                <a:gd name="connsiteY56" fmla="*/ 1989 h 10000"/>
                <a:gd name="connsiteX57" fmla="*/ 2854 w 9821"/>
                <a:gd name="connsiteY57" fmla="*/ 2540 h 10000"/>
                <a:gd name="connsiteX58" fmla="*/ 2442 w 9821"/>
                <a:gd name="connsiteY58" fmla="*/ 3116 h 10000"/>
                <a:gd name="connsiteX59" fmla="*/ 2049 w 9821"/>
                <a:gd name="connsiteY59" fmla="*/ 3730 h 10000"/>
                <a:gd name="connsiteX60" fmla="*/ 1670 w 9821"/>
                <a:gd name="connsiteY60" fmla="*/ 4386 h 10000"/>
                <a:gd name="connsiteX61" fmla="*/ 1315 w 9821"/>
                <a:gd name="connsiteY61" fmla="*/ 5062 h 10000"/>
                <a:gd name="connsiteX62" fmla="*/ 976 w 9821"/>
                <a:gd name="connsiteY62" fmla="*/ 5737 h 10000"/>
                <a:gd name="connsiteX63" fmla="*/ 641 w 9821"/>
                <a:gd name="connsiteY63" fmla="*/ 6455 h 10000"/>
                <a:gd name="connsiteX64" fmla="*/ 0 w 9821"/>
                <a:gd name="connsiteY64" fmla="*/ 7890 h 10000"/>
                <a:gd name="connsiteX0" fmla="*/ 0 w 9903"/>
                <a:gd name="connsiteY0" fmla="*/ 7890 h 10000"/>
                <a:gd name="connsiteX1" fmla="*/ 0 w 9903"/>
                <a:gd name="connsiteY1" fmla="*/ 7890 h 10000"/>
                <a:gd name="connsiteX2" fmla="*/ 479 w 9903"/>
                <a:gd name="connsiteY2" fmla="*/ 8955 h 10000"/>
                <a:gd name="connsiteX3" fmla="*/ 917 w 9903"/>
                <a:gd name="connsiteY3" fmla="*/ 10000 h 10000"/>
                <a:gd name="connsiteX4" fmla="*/ 1358 w 9903"/>
                <a:gd name="connsiteY4" fmla="*/ 9222 h 10000"/>
                <a:gd name="connsiteX5" fmla="*/ 1757 w 9903"/>
                <a:gd name="connsiteY5" fmla="*/ 8403 h 10000"/>
                <a:gd name="connsiteX6" fmla="*/ 2180 w 9903"/>
                <a:gd name="connsiteY6" fmla="*/ 7602 h 10000"/>
                <a:gd name="connsiteX7" fmla="*/ 2541 w 9903"/>
                <a:gd name="connsiteY7" fmla="*/ 6782 h 10000"/>
                <a:gd name="connsiteX8" fmla="*/ 3271 w 9903"/>
                <a:gd name="connsiteY8" fmla="*/ 5165 h 10000"/>
                <a:gd name="connsiteX9" fmla="*/ 3634 w 9903"/>
                <a:gd name="connsiteY9" fmla="*/ 4386 h 10000"/>
                <a:gd name="connsiteX10" fmla="*/ 3977 w 9903"/>
                <a:gd name="connsiteY10" fmla="*/ 3647 h 10000"/>
                <a:gd name="connsiteX11" fmla="*/ 4337 w 9903"/>
                <a:gd name="connsiteY11" fmla="*/ 2972 h 10000"/>
                <a:gd name="connsiteX12" fmla="*/ 4702 w 9903"/>
                <a:gd name="connsiteY12" fmla="*/ 2357 h 10000"/>
                <a:gd name="connsiteX13" fmla="*/ 4895 w 9903"/>
                <a:gd name="connsiteY13" fmla="*/ 2048 h 10000"/>
                <a:gd name="connsiteX14" fmla="*/ 5086 w 9903"/>
                <a:gd name="connsiteY14" fmla="*/ 1803 h 10000"/>
                <a:gd name="connsiteX15" fmla="*/ 5296 w 9903"/>
                <a:gd name="connsiteY15" fmla="*/ 1536 h 10000"/>
                <a:gd name="connsiteX16" fmla="*/ 5488 w 9903"/>
                <a:gd name="connsiteY16" fmla="*/ 1312 h 10000"/>
                <a:gd name="connsiteX17" fmla="*/ 5697 w 9903"/>
                <a:gd name="connsiteY17" fmla="*/ 1109 h 10000"/>
                <a:gd name="connsiteX18" fmla="*/ 5908 w 9903"/>
                <a:gd name="connsiteY18" fmla="*/ 922 h 10000"/>
                <a:gd name="connsiteX19" fmla="*/ 6120 w 9903"/>
                <a:gd name="connsiteY19" fmla="*/ 758 h 10000"/>
                <a:gd name="connsiteX20" fmla="*/ 6349 w 9903"/>
                <a:gd name="connsiteY20" fmla="*/ 634 h 10000"/>
                <a:gd name="connsiteX21" fmla="*/ 6556 w 9903"/>
                <a:gd name="connsiteY21" fmla="*/ 512 h 10000"/>
                <a:gd name="connsiteX22" fmla="*/ 6787 w 9903"/>
                <a:gd name="connsiteY22" fmla="*/ 450 h 10000"/>
                <a:gd name="connsiteX23" fmla="*/ 7034 w 9903"/>
                <a:gd name="connsiteY23" fmla="*/ 388 h 10000"/>
                <a:gd name="connsiteX24" fmla="*/ 7283 w 9903"/>
                <a:gd name="connsiteY24" fmla="*/ 388 h 10000"/>
                <a:gd name="connsiteX25" fmla="*/ 7589 w 9903"/>
                <a:gd name="connsiteY25" fmla="*/ 410 h 10000"/>
                <a:gd name="connsiteX26" fmla="*/ 7893 w 9903"/>
                <a:gd name="connsiteY26" fmla="*/ 492 h 10000"/>
                <a:gd name="connsiteX27" fmla="*/ 8164 w 9903"/>
                <a:gd name="connsiteY27" fmla="*/ 634 h 10000"/>
                <a:gd name="connsiteX28" fmla="*/ 8451 w 9903"/>
                <a:gd name="connsiteY28" fmla="*/ 780 h 10000"/>
                <a:gd name="connsiteX29" fmla="*/ 8698 w 9903"/>
                <a:gd name="connsiteY29" fmla="*/ 985 h 10000"/>
                <a:gd name="connsiteX30" fmla="*/ 8967 w 9903"/>
                <a:gd name="connsiteY30" fmla="*/ 1250 h 10000"/>
                <a:gd name="connsiteX31" fmla="*/ 9197 w 9903"/>
                <a:gd name="connsiteY31" fmla="*/ 1536 h 10000"/>
                <a:gd name="connsiteX32" fmla="*/ 9464 w 9903"/>
                <a:gd name="connsiteY32" fmla="*/ 1864 h 10000"/>
                <a:gd name="connsiteX33" fmla="*/ 9676 w 9903"/>
                <a:gd name="connsiteY33" fmla="*/ 2213 h 10000"/>
                <a:gd name="connsiteX34" fmla="*/ 9903 w 9903"/>
                <a:gd name="connsiteY34" fmla="*/ 2602 h 10000"/>
                <a:gd name="connsiteX35" fmla="*/ 9520 w 9903"/>
                <a:gd name="connsiteY35" fmla="*/ 656 h 10000"/>
                <a:gd name="connsiteX36" fmla="*/ 9177 w 9903"/>
                <a:gd name="connsiteY36" fmla="*/ 470 h 10000"/>
                <a:gd name="connsiteX37" fmla="*/ 8833 w 9903"/>
                <a:gd name="connsiteY37" fmla="*/ 307 h 10000"/>
                <a:gd name="connsiteX38" fmla="*/ 8471 w 9903"/>
                <a:gd name="connsiteY38" fmla="*/ 184 h 10000"/>
                <a:gd name="connsiteX39" fmla="*/ 8086 w 9903"/>
                <a:gd name="connsiteY39" fmla="*/ 101 h 10000"/>
                <a:gd name="connsiteX40" fmla="*/ 7686 w 9903"/>
                <a:gd name="connsiteY40" fmla="*/ 21 h 10000"/>
                <a:gd name="connsiteX41" fmla="*/ 7283 w 9903"/>
                <a:gd name="connsiteY41" fmla="*/ 0 h 10000"/>
                <a:gd name="connsiteX42" fmla="*/ 6940 w 9903"/>
                <a:gd name="connsiteY42" fmla="*/ 21 h 10000"/>
                <a:gd name="connsiteX43" fmla="*/ 6616 w 9903"/>
                <a:gd name="connsiteY43" fmla="*/ 61 h 10000"/>
                <a:gd name="connsiteX44" fmla="*/ 6292 w 9903"/>
                <a:gd name="connsiteY44" fmla="*/ 124 h 10000"/>
                <a:gd name="connsiteX45" fmla="*/ 6004 w 9903"/>
                <a:gd name="connsiteY45" fmla="*/ 184 h 10000"/>
                <a:gd name="connsiteX46" fmla="*/ 5697 w 9903"/>
                <a:gd name="connsiteY46" fmla="*/ 285 h 10000"/>
                <a:gd name="connsiteX47" fmla="*/ 5390 w 9903"/>
                <a:gd name="connsiteY47" fmla="*/ 388 h 10000"/>
                <a:gd name="connsiteX48" fmla="*/ 5124 w 9903"/>
                <a:gd name="connsiteY48" fmla="*/ 532 h 10000"/>
                <a:gd name="connsiteX49" fmla="*/ 4836 w 9903"/>
                <a:gd name="connsiteY49" fmla="*/ 698 h 10000"/>
                <a:gd name="connsiteX50" fmla="*/ 4589 w 9903"/>
                <a:gd name="connsiteY50" fmla="*/ 881 h 10000"/>
                <a:gd name="connsiteX51" fmla="*/ 4323 w 9903"/>
                <a:gd name="connsiteY51" fmla="*/ 1065 h 10000"/>
                <a:gd name="connsiteX52" fmla="*/ 4073 w 9903"/>
                <a:gd name="connsiteY52" fmla="*/ 1271 h 10000"/>
                <a:gd name="connsiteX53" fmla="*/ 3824 w 9903"/>
                <a:gd name="connsiteY53" fmla="*/ 1497 h 10000"/>
                <a:gd name="connsiteX54" fmla="*/ 3595 w 9903"/>
                <a:gd name="connsiteY54" fmla="*/ 1720 h 10000"/>
                <a:gd name="connsiteX55" fmla="*/ 3346 w 9903"/>
                <a:gd name="connsiteY55" fmla="*/ 1989 h 10000"/>
                <a:gd name="connsiteX56" fmla="*/ 2906 w 9903"/>
                <a:gd name="connsiteY56" fmla="*/ 2540 h 10000"/>
                <a:gd name="connsiteX57" fmla="*/ 2487 w 9903"/>
                <a:gd name="connsiteY57" fmla="*/ 3116 h 10000"/>
                <a:gd name="connsiteX58" fmla="*/ 2086 w 9903"/>
                <a:gd name="connsiteY58" fmla="*/ 3730 h 10000"/>
                <a:gd name="connsiteX59" fmla="*/ 1700 w 9903"/>
                <a:gd name="connsiteY59" fmla="*/ 4386 h 10000"/>
                <a:gd name="connsiteX60" fmla="*/ 1339 w 9903"/>
                <a:gd name="connsiteY60" fmla="*/ 5062 h 10000"/>
                <a:gd name="connsiteX61" fmla="*/ 994 w 9903"/>
                <a:gd name="connsiteY61" fmla="*/ 5737 h 10000"/>
                <a:gd name="connsiteX62" fmla="*/ 653 w 9903"/>
                <a:gd name="connsiteY62" fmla="*/ 6455 h 10000"/>
                <a:gd name="connsiteX63" fmla="*/ 0 w 9903"/>
                <a:gd name="connsiteY63" fmla="*/ 7890 h 10000"/>
                <a:gd name="connsiteX0" fmla="*/ 0 w 9771"/>
                <a:gd name="connsiteY0" fmla="*/ 7890 h 10000"/>
                <a:gd name="connsiteX1" fmla="*/ 0 w 9771"/>
                <a:gd name="connsiteY1" fmla="*/ 7890 h 10000"/>
                <a:gd name="connsiteX2" fmla="*/ 484 w 9771"/>
                <a:gd name="connsiteY2" fmla="*/ 8955 h 10000"/>
                <a:gd name="connsiteX3" fmla="*/ 926 w 9771"/>
                <a:gd name="connsiteY3" fmla="*/ 10000 h 10000"/>
                <a:gd name="connsiteX4" fmla="*/ 1371 w 9771"/>
                <a:gd name="connsiteY4" fmla="*/ 9222 h 10000"/>
                <a:gd name="connsiteX5" fmla="*/ 1774 w 9771"/>
                <a:gd name="connsiteY5" fmla="*/ 8403 h 10000"/>
                <a:gd name="connsiteX6" fmla="*/ 2201 w 9771"/>
                <a:gd name="connsiteY6" fmla="*/ 7602 h 10000"/>
                <a:gd name="connsiteX7" fmla="*/ 2566 w 9771"/>
                <a:gd name="connsiteY7" fmla="*/ 6782 h 10000"/>
                <a:gd name="connsiteX8" fmla="*/ 3303 w 9771"/>
                <a:gd name="connsiteY8" fmla="*/ 5165 h 10000"/>
                <a:gd name="connsiteX9" fmla="*/ 3670 w 9771"/>
                <a:gd name="connsiteY9" fmla="*/ 4386 h 10000"/>
                <a:gd name="connsiteX10" fmla="*/ 4016 w 9771"/>
                <a:gd name="connsiteY10" fmla="*/ 3647 h 10000"/>
                <a:gd name="connsiteX11" fmla="*/ 4379 w 9771"/>
                <a:gd name="connsiteY11" fmla="*/ 2972 h 10000"/>
                <a:gd name="connsiteX12" fmla="*/ 4748 w 9771"/>
                <a:gd name="connsiteY12" fmla="*/ 2357 h 10000"/>
                <a:gd name="connsiteX13" fmla="*/ 4943 w 9771"/>
                <a:gd name="connsiteY13" fmla="*/ 2048 h 10000"/>
                <a:gd name="connsiteX14" fmla="*/ 5136 w 9771"/>
                <a:gd name="connsiteY14" fmla="*/ 1803 h 10000"/>
                <a:gd name="connsiteX15" fmla="*/ 5348 w 9771"/>
                <a:gd name="connsiteY15" fmla="*/ 1536 h 10000"/>
                <a:gd name="connsiteX16" fmla="*/ 5542 w 9771"/>
                <a:gd name="connsiteY16" fmla="*/ 1312 h 10000"/>
                <a:gd name="connsiteX17" fmla="*/ 5753 w 9771"/>
                <a:gd name="connsiteY17" fmla="*/ 1109 h 10000"/>
                <a:gd name="connsiteX18" fmla="*/ 5966 w 9771"/>
                <a:gd name="connsiteY18" fmla="*/ 922 h 10000"/>
                <a:gd name="connsiteX19" fmla="*/ 6180 w 9771"/>
                <a:gd name="connsiteY19" fmla="*/ 758 h 10000"/>
                <a:gd name="connsiteX20" fmla="*/ 6411 w 9771"/>
                <a:gd name="connsiteY20" fmla="*/ 634 h 10000"/>
                <a:gd name="connsiteX21" fmla="*/ 6620 w 9771"/>
                <a:gd name="connsiteY21" fmla="*/ 512 h 10000"/>
                <a:gd name="connsiteX22" fmla="*/ 6853 w 9771"/>
                <a:gd name="connsiteY22" fmla="*/ 450 h 10000"/>
                <a:gd name="connsiteX23" fmla="*/ 7103 w 9771"/>
                <a:gd name="connsiteY23" fmla="*/ 388 h 10000"/>
                <a:gd name="connsiteX24" fmla="*/ 7354 w 9771"/>
                <a:gd name="connsiteY24" fmla="*/ 388 h 10000"/>
                <a:gd name="connsiteX25" fmla="*/ 7663 w 9771"/>
                <a:gd name="connsiteY25" fmla="*/ 410 h 10000"/>
                <a:gd name="connsiteX26" fmla="*/ 7970 w 9771"/>
                <a:gd name="connsiteY26" fmla="*/ 492 h 10000"/>
                <a:gd name="connsiteX27" fmla="*/ 8244 w 9771"/>
                <a:gd name="connsiteY27" fmla="*/ 634 h 10000"/>
                <a:gd name="connsiteX28" fmla="*/ 8534 w 9771"/>
                <a:gd name="connsiteY28" fmla="*/ 780 h 10000"/>
                <a:gd name="connsiteX29" fmla="*/ 8783 w 9771"/>
                <a:gd name="connsiteY29" fmla="*/ 985 h 10000"/>
                <a:gd name="connsiteX30" fmla="*/ 9055 w 9771"/>
                <a:gd name="connsiteY30" fmla="*/ 1250 h 10000"/>
                <a:gd name="connsiteX31" fmla="*/ 9287 w 9771"/>
                <a:gd name="connsiteY31" fmla="*/ 1536 h 10000"/>
                <a:gd name="connsiteX32" fmla="*/ 9557 w 9771"/>
                <a:gd name="connsiteY32" fmla="*/ 1864 h 10000"/>
                <a:gd name="connsiteX33" fmla="*/ 9771 w 9771"/>
                <a:gd name="connsiteY33" fmla="*/ 2213 h 10000"/>
                <a:gd name="connsiteX34" fmla="*/ 9613 w 9771"/>
                <a:gd name="connsiteY34" fmla="*/ 656 h 10000"/>
                <a:gd name="connsiteX35" fmla="*/ 9267 w 9771"/>
                <a:gd name="connsiteY35" fmla="*/ 470 h 10000"/>
                <a:gd name="connsiteX36" fmla="*/ 8920 w 9771"/>
                <a:gd name="connsiteY36" fmla="*/ 307 h 10000"/>
                <a:gd name="connsiteX37" fmla="*/ 8554 w 9771"/>
                <a:gd name="connsiteY37" fmla="*/ 184 h 10000"/>
                <a:gd name="connsiteX38" fmla="*/ 8165 w 9771"/>
                <a:gd name="connsiteY38" fmla="*/ 101 h 10000"/>
                <a:gd name="connsiteX39" fmla="*/ 7761 w 9771"/>
                <a:gd name="connsiteY39" fmla="*/ 21 h 10000"/>
                <a:gd name="connsiteX40" fmla="*/ 7354 w 9771"/>
                <a:gd name="connsiteY40" fmla="*/ 0 h 10000"/>
                <a:gd name="connsiteX41" fmla="*/ 7008 w 9771"/>
                <a:gd name="connsiteY41" fmla="*/ 21 h 10000"/>
                <a:gd name="connsiteX42" fmla="*/ 6681 w 9771"/>
                <a:gd name="connsiteY42" fmla="*/ 61 h 10000"/>
                <a:gd name="connsiteX43" fmla="*/ 6354 w 9771"/>
                <a:gd name="connsiteY43" fmla="*/ 124 h 10000"/>
                <a:gd name="connsiteX44" fmla="*/ 6063 w 9771"/>
                <a:gd name="connsiteY44" fmla="*/ 184 h 10000"/>
                <a:gd name="connsiteX45" fmla="*/ 5753 w 9771"/>
                <a:gd name="connsiteY45" fmla="*/ 285 h 10000"/>
                <a:gd name="connsiteX46" fmla="*/ 5443 w 9771"/>
                <a:gd name="connsiteY46" fmla="*/ 388 h 10000"/>
                <a:gd name="connsiteX47" fmla="*/ 5174 w 9771"/>
                <a:gd name="connsiteY47" fmla="*/ 532 h 10000"/>
                <a:gd name="connsiteX48" fmla="*/ 4883 w 9771"/>
                <a:gd name="connsiteY48" fmla="*/ 698 h 10000"/>
                <a:gd name="connsiteX49" fmla="*/ 4634 w 9771"/>
                <a:gd name="connsiteY49" fmla="*/ 881 h 10000"/>
                <a:gd name="connsiteX50" fmla="*/ 4365 w 9771"/>
                <a:gd name="connsiteY50" fmla="*/ 1065 h 10000"/>
                <a:gd name="connsiteX51" fmla="*/ 4113 w 9771"/>
                <a:gd name="connsiteY51" fmla="*/ 1271 h 10000"/>
                <a:gd name="connsiteX52" fmla="*/ 3861 w 9771"/>
                <a:gd name="connsiteY52" fmla="*/ 1497 h 10000"/>
                <a:gd name="connsiteX53" fmla="*/ 3630 w 9771"/>
                <a:gd name="connsiteY53" fmla="*/ 1720 h 10000"/>
                <a:gd name="connsiteX54" fmla="*/ 3379 w 9771"/>
                <a:gd name="connsiteY54" fmla="*/ 1989 h 10000"/>
                <a:gd name="connsiteX55" fmla="*/ 2934 w 9771"/>
                <a:gd name="connsiteY55" fmla="*/ 2540 h 10000"/>
                <a:gd name="connsiteX56" fmla="*/ 2511 w 9771"/>
                <a:gd name="connsiteY56" fmla="*/ 3116 h 10000"/>
                <a:gd name="connsiteX57" fmla="*/ 2106 w 9771"/>
                <a:gd name="connsiteY57" fmla="*/ 3730 h 10000"/>
                <a:gd name="connsiteX58" fmla="*/ 1717 w 9771"/>
                <a:gd name="connsiteY58" fmla="*/ 4386 h 10000"/>
                <a:gd name="connsiteX59" fmla="*/ 1352 w 9771"/>
                <a:gd name="connsiteY59" fmla="*/ 5062 h 10000"/>
                <a:gd name="connsiteX60" fmla="*/ 1004 w 9771"/>
                <a:gd name="connsiteY60" fmla="*/ 5737 h 10000"/>
                <a:gd name="connsiteX61" fmla="*/ 659 w 9771"/>
                <a:gd name="connsiteY61" fmla="*/ 6455 h 10000"/>
                <a:gd name="connsiteX62" fmla="*/ 0 w 9771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110 w 10000"/>
                <a:gd name="connsiteY10" fmla="*/ 3647 h 10000"/>
                <a:gd name="connsiteX11" fmla="*/ 4482 w 10000"/>
                <a:gd name="connsiteY11" fmla="*/ 2972 h 10000"/>
                <a:gd name="connsiteX12" fmla="*/ 4859 w 10000"/>
                <a:gd name="connsiteY12" fmla="*/ 2357 h 10000"/>
                <a:gd name="connsiteX13" fmla="*/ 5059 w 10000"/>
                <a:gd name="connsiteY13" fmla="*/ 2048 h 10000"/>
                <a:gd name="connsiteX14" fmla="*/ 5256 w 10000"/>
                <a:gd name="connsiteY14" fmla="*/ 1803 h 10000"/>
                <a:gd name="connsiteX15" fmla="*/ 5473 w 10000"/>
                <a:gd name="connsiteY15" fmla="*/ 1536 h 10000"/>
                <a:gd name="connsiteX16" fmla="*/ 5672 w 10000"/>
                <a:gd name="connsiteY16" fmla="*/ 1312 h 10000"/>
                <a:gd name="connsiteX17" fmla="*/ 5888 w 10000"/>
                <a:gd name="connsiteY17" fmla="*/ 1109 h 10000"/>
                <a:gd name="connsiteX18" fmla="*/ 6106 w 10000"/>
                <a:gd name="connsiteY18" fmla="*/ 922 h 10000"/>
                <a:gd name="connsiteX19" fmla="*/ 6325 w 10000"/>
                <a:gd name="connsiteY19" fmla="*/ 758 h 10000"/>
                <a:gd name="connsiteX20" fmla="*/ 6561 w 10000"/>
                <a:gd name="connsiteY20" fmla="*/ 634 h 10000"/>
                <a:gd name="connsiteX21" fmla="*/ 6775 w 10000"/>
                <a:gd name="connsiteY21" fmla="*/ 512 h 10000"/>
                <a:gd name="connsiteX22" fmla="*/ 7014 w 10000"/>
                <a:gd name="connsiteY22" fmla="*/ 450 h 10000"/>
                <a:gd name="connsiteX23" fmla="*/ 7269 w 10000"/>
                <a:gd name="connsiteY23" fmla="*/ 388 h 10000"/>
                <a:gd name="connsiteX24" fmla="*/ 7526 w 10000"/>
                <a:gd name="connsiteY24" fmla="*/ 388 h 10000"/>
                <a:gd name="connsiteX25" fmla="*/ 7843 w 10000"/>
                <a:gd name="connsiteY25" fmla="*/ 410 h 10000"/>
                <a:gd name="connsiteX26" fmla="*/ 8157 w 10000"/>
                <a:gd name="connsiteY26" fmla="*/ 492 h 10000"/>
                <a:gd name="connsiteX27" fmla="*/ 8437 w 10000"/>
                <a:gd name="connsiteY27" fmla="*/ 634 h 10000"/>
                <a:gd name="connsiteX28" fmla="*/ 8734 w 10000"/>
                <a:gd name="connsiteY28" fmla="*/ 780 h 10000"/>
                <a:gd name="connsiteX29" fmla="*/ 8989 w 10000"/>
                <a:gd name="connsiteY29" fmla="*/ 985 h 10000"/>
                <a:gd name="connsiteX30" fmla="*/ 9267 w 10000"/>
                <a:gd name="connsiteY30" fmla="*/ 1250 h 10000"/>
                <a:gd name="connsiteX31" fmla="*/ 9505 w 10000"/>
                <a:gd name="connsiteY31" fmla="*/ 1536 h 10000"/>
                <a:gd name="connsiteX32" fmla="*/ 9781 w 10000"/>
                <a:gd name="connsiteY32" fmla="*/ 1864 h 10000"/>
                <a:gd name="connsiteX33" fmla="*/ 10000 w 10000"/>
                <a:gd name="connsiteY33" fmla="*/ 2213 h 10000"/>
                <a:gd name="connsiteX34" fmla="*/ 9838 w 10000"/>
                <a:gd name="connsiteY34" fmla="*/ 656 h 10000"/>
                <a:gd name="connsiteX35" fmla="*/ 9484 w 10000"/>
                <a:gd name="connsiteY35" fmla="*/ 470 h 10000"/>
                <a:gd name="connsiteX36" fmla="*/ 9129 w 10000"/>
                <a:gd name="connsiteY36" fmla="*/ 307 h 10000"/>
                <a:gd name="connsiteX37" fmla="*/ 8754 w 10000"/>
                <a:gd name="connsiteY37" fmla="*/ 184 h 10000"/>
                <a:gd name="connsiteX38" fmla="*/ 8356 w 10000"/>
                <a:gd name="connsiteY38" fmla="*/ 101 h 10000"/>
                <a:gd name="connsiteX39" fmla="*/ 7943 w 10000"/>
                <a:gd name="connsiteY39" fmla="*/ 21 h 10000"/>
                <a:gd name="connsiteX40" fmla="*/ 7526 w 10000"/>
                <a:gd name="connsiteY40" fmla="*/ 0 h 10000"/>
                <a:gd name="connsiteX41" fmla="*/ 7172 w 10000"/>
                <a:gd name="connsiteY41" fmla="*/ 21 h 10000"/>
                <a:gd name="connsiteX42" fmla="*/ 6838 w 10000"/>
                <a:gd name="connsiteY42" fmla="*/ 61 h 10000"/>
                <a:gd name="connsiteX43" fmla="*/ 6503 w 10000"/>
                <a:gd name="connsiteY43" fmla="*/ 124 h 10000"/>
                <a:gd name="connsiteX44" fmla="*/ 6205 w 10000"/>
                <a:gd name="connsiteY44" fmla="*/ 184 h 10000"/>
                <a:gd name="connsiteX45" fmla="*/ 5888 w 10000"/>
                <a:gd name="connsiteY45" fmla="*/ 285 h 10000"/>
                <a:gd name="connsiteX46" fmla="*/ 5571 w 10000"/>
                <a:gd name="connsiteY46" fmla="*/ 388 h 10000"/>
                <a:gd name="connsiteX47" fmla="*/ 5295 w 10000"/>
                <a:gd name="connsiteY47" fmla="*/ 532 h 10000"/>
                <a:gd name="connsiteX48" fmla="*/ 4997 w 10000"/>
                <a:gd name="connsiteY48" fmla="*/ 698 h 10000"/>
                <a:gd name="connsiteX49" fmla="*/ 4743 w 10000"/>
                <a:gd name="connsiteY49" fmla="*/ 881 h 10000"/>
                <a:gd name="connsiteX50" fmla="*/ 4467 w 10000"/>
                <a:gd name="connsiteY50" fmla="*/ 1065 h 10000"/>
                <a:gd name="connsiteX51" fmla="*/ 4209 w 10000"/>
                <a:gd name="connsiteY51" fmla="*/ 1271 h 10000"/>
                <a:gd name="connsiteX52" fmla="*/ 3951 w 10000"/>
                <a:gd name="connsiteY52" fmla="*/ 1497 h 10000"/>
                <a:gd name="connsiteX53" fmla="*/ 3715 w 10000"/>
                <a:gd name="connsiteY53" fmla="*/ 1720 h 10000"/>
                <a:gd name="connsiteX54" fmla="*/ 3458 w 10000"/>
                <a:gd name="connsiteY54" fmla="*/ 1989 h 10000"/>
                <a:gd name="connsiteX55" fmla="*/ 3003 w 10000"/>
                <a:gd name="connsiteY55" fmla="*/ 2540 h 10000"/>
                <a:gd name="connsiteX56" fmla="*/ 2570 w 10000"/>
                <a:gd name="connsiteY56" fmla="*/ 3116 h 10000"/>
                <a:gd name="connsiteX57" fmla="*/ 2155 w 10000"/>
                <a:gd name="connsiteY57" fmla="*/ 3730 h 10000"/>
                <a:gd name="connsiteX58" fmla="*/ 1757 w 10000"/>
                <a:gd name="connsiteY58" fmla="*/ 4386 h 10000"/>
                <a:gd name="connsiteX59" fmla="*/ 1384 w 10000"/>
                <a:gd name="connsiteY59" fmla="*/ 5062 h 10000"/>
                <a:gd name="connsiteX60" fmla="*/ 1028 w 10000"/>
                <a:gd name="connsiteY60" fmla="*/ 5737 h 10000"/>
                <a:gd name="connsiteX61" fmla="*/ 674 w 10000"/>
                <a:gd name="connsiteY61" fmla="*/ 6455 h 10000"/>
                <a:gd name="connsiteX62" fmla="*/ 0 w 10000"/>
                <a:gd name="connsiteY6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482 w 10000"/>
                <a:gd name="connsiteY10" fmla="*/ 2972 h 10000"/>
                <a:gd name="connsiteX11" fmla="*/ 4859 w 10000"/>
                <a:gd name="connsiteY11" fmla="*/ 2357 h 10000"/>
                <a:gd name="connsiteX12" fmla="*/ 5059 w 10000"/>
                <a:gd name="connsiteY12" fmla="*/ 2048 h 10000"/>
                <a:gd name="connsiteX13" fmla="*/ 5256 w 10000"/>
                <a:gd name="connsiteY13" fmla="*/ 1803 h 10000"/>
                <a:gd name="connsiteX14" fmla="*/ 5473 w 10000"/>
                <a:gd name="connsiteY14" fmla="*/ 1536 h 10000"/>
                <a:gd name="connsiteX15" fmla="*/ 5672 w 10000"/>
                <a:gd name="connsiteY15" fmla="*/ 1312 h 10000"/>
                <a:gd name="connsiteX16" fmla="*/ 5888 w 10000"/>
                <a:gd name="connsiteY16" fmla="*/ 1109 h 10000"/>
                <a:gd name="connsiteX17" fmla="*/ 6106 w 10000"/>
                <a:gd name="connsiteY17" fmla="*/ 922 h 10000"/>
                <a:gd name="connsiteX18" fmla="*/ 6325 w 10000"/>
                <a:gd name="connsiteY18" fmla="*/ 758 h 10000"/>
                <a:gd name="connsiteX19" fmla="*/ 6561 w 10000"/>
                <a:gd name="connsiteY19" fmla="*/ 634 h 10000"/>
                <a:gd name="connsiteX20" fmla="*/ 6775 w 10000"/>
                <a:gd name="connsiteY20" fmla="*/ 512 h 10000"/>
                <a:gd name="connsiteX21" fmla="*/ 7014 w 10000"/>
                <a:gd name="connsiteY21" fmla="*/ 450 h 10000"/>
                <a:gd name="connsiteX22" fmla="*/ 7269 w 10000"/>
                <a:gd name="connsiteY22" fmla="*/ 388 h 10000"/>
                <a:gd name="connsiteX23" fmla="*/ 7526 w 10000"/>
                <a:gd name="connsiteY23" fmla="*/ 388 h 10000"/>
                <a:gd name="connsiteX24" fmla="*/ 7843 w 10000"/>
                <a:gd name="connsiteY24" fmla="*/ 410 h 10000"/>
                <a:gd name="connsiteX25" fmla="*/ 8157 w 10000"/>
                <a:gd name="connsiteY25" fmla="*/ 492 h 10000"/>
                <a:gd name="connsiteX26" fmla="*/ 8437 w 10000"/>
                <a:gd name="connsiteY26" fmla="*/ 634 h 10000"/>
                <a:gd name="connsiteX27" fmla="*/ 8734 w 10000"/>
                <a:gd name="connsiteY27" fmla="*/ 780 h 10000"/>
                <a:gd name="connsiteX28" fmla="*/ 8989 w 10000"/>
                <a:gd name="connsiteY28" fmla="*/ 985 h 10000"/>
                <a:gd name="connsiteX29" fmla="*/ 9267 w 10000"/>
                <a:gd name="connsiteY29" fmla="*/ 1250 h 10000"/>
                <a:gd name="connsiteX30" fmla="*/ 9505 w 10000"/>
                <a:gd name="connsiteY30" fmla="*/ 1536 h 10000"/>
                <a:gd name="connsiteX31" fmla="*/ 9781 w 10000"/>
                <a:gd name="connsiteY31" fmla="*/ 1864 h 10000"/>
                <a:gd name="connsiteX32" fmla="*/ 10000 w 10000"/>
                <a:gd name="connsiteY32" fmla="*/ 2213 h 10000"/>
                <a:gd name="connsiteX33" fmla="*/ 9838 w 10000"/>
                <a:gd name="connsiteY33" fmla="*/ 656 h 10000"/>
                <a:gd name="connsiteX34" fmla="*/ 9484 w 10000"/>
                <a:gd name="connsiteY34" fmla="*/ 470 h 10000"/>
                <a:gd name="connsiteX35" fmla="*/ 9129 w 10000"/>
                <a:gd name="connsiteY35" fmla="*/ 307 h 10000"/>
                <a:gd name="connsiteX36" fmla="*/ 8754 w 10000"/>
                <a:gd name="connsiteY36" fmla="*/ 184 h 10000"/>
                <a:gd name="connsiteX37" fmla="*/ 8356 w 10000"/>
                <a:gd name="connsiteY37" fmla="*/ 101 h 10000"/>
                <a:gd name="connsiteX38" fmla="*/ 7943 w 10000"/>
                <a:gd name="connsiteY38" fmla="*/ 21 h 10000"/>
                <a:gd name="connsiteX39" fmla="*/ 7526 w 10000"/>
                <a:gd name="connsiteY39" fmla="*/ 0 h 10000"/>
                <a:gd name="connsiteX40" fmla="*/ 7172 w 10000"/>
                <a:gd name="connsiteY40" fmla="*/ 21 h 10000"/>
                <a:gd name="connsiteX41" fmla="*/ 6838 w 10000"/>
                <a:gd name="connsiteY41" fmla="*/ 61 h 10000"/>
                <a:gd name="connsiteX42" fmla="*/ 6503 w 10000"/>
                <a:gd name="connsiteY42" fmla="*/ 124 h 10000"/>
                <a:gd name="connsiteX43" fmla="*/ 6205 w 10000"/>
                <a:gd name="connsiteY43" fmla="*/ 184 h 10000"/>
                <a:gd name="connsiteX44" fmla="*/ 5888 w 10000"/>
                <a:gd name="connsiteY44" fmla="*/ 285 h 10000"/>
                <a:gd name="connsiteX45" fmla="*/ 5571 w 10000"/>
                <a:gd name="connsiteY45" fmla="*/ 388 h 10000"/>
                <a:gd name="connsiteX46" fmla="*/ 5295 w 10000"/>
                <a:gd name="connsiteY46" fmla="*/ 532 h 10000"/>
                <a:gd name="connsiteX47" fmla="*/ 4997 w 10000"/>
                <a:gd name="connsiteY47" fmla="*/ 698 h 10000"/>
                <a:gd name="connsiteX48" fmla="*/ 4743 w 10000"/>
                <a:gd name="connsiteY48" fmla="*/ 881 h 10000"/>
                <a:gd name="connsiteX49" fmla="*/ 4467 w 10000"/>
                <a:gd name="connsiteY49" fmla="*/ 1065 h 10000"/>
                <a:gd name="connsiteX50" fmla="*/ 4209 w 10000"/>
                <a:gd name="connsiteY50" fmla="*/ 1271 h 10000"/>
                <a:gd name="connsiteX51" fmla="*/ 3951 w 10000"/>
                <a:gd name="connsiteY51" fmla="*/ 1497 h 10000"/>
                <a:gd name="connsiteX52" fmla="*/ 3715 w 10000"/>
                <a:gd name="connsiteY52" fmla="*/ 1720 h 10000"/>
                <a:gd name="connsiteX53" fmla="*/ 3458 w 10000"/>
                <a:gd name="connsiteY53" fmla="*/ 1989 h 10000"/>
                <a:gd name="connsiteX54" fmla="*/ 3003 w 10000"/>
                <a:gd name="connsiteY54" fmla="*/ 2540 h 10000"/>
                <a:gd name="connsiteX55" fmla="*/ 2570 w 10000"/>
                <a:gd name="connsiteY55" fmla="*/ 3116 h 10000"/>
                <a:gd name="connsiteX56" fmla="*/ 2155 w 10000"/>
                <a:gd name="connsiteY56" fmla="*/ 3730 h 10000"/>
                <a:gd name="connsiteX57" fmla="*/ 1757 w 10000"/>
                <a:gd name="connsiteY57" fmla="*/ 4386 h 10000"/>
                <a:gd name="connsiteX58" fmla="*/ 1384 w 10000"/>
                <a:gd name="connsiteY58" fmla="*/ 5062 h 10000"/>
                <a:gd name="connsiteX59" fmla="*/ 1028 w 10000"/>
                <a:gd name="connsiteY59" fmla="*/ 5737 h 10000"/>
                <a:gd name="connsiteX60" fmla="*/ 674 w 10000"/>
                <a:gd name="connsiteY60" fmla="*/ 6455 h 10000"/>
                <a:gd name="connsiteX61" fmla="*/ 0 w 10000"/>
                <a:gd name="connsiteY6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256 w 10000"/>
                <a:gd name="connsiteY12" fmla="*/ 1803 h 10000"/>
                <a:gd name="connsiteX13" fmla="*/ 5473 w 10000"/>
                <a:gd name="connsiteY13" fmla="*/ 1536 h 10000"/>
                <a:gd name="connsiteX14" fmla="*/ 5672 w 10000"/>
                <a:gd name="connsiteY14" fmla="*/ 1312 h 10000"/>
                <a:gd name="connsiteX15" fmla="*/ 5888 w 10000"/>
                <a:gd name="connsiteY15" fmla="*/ 1109 h 10000"/>
                <a:gd name="connsiteX16" fmla="*/ 6106 w 10000"/>
                <a:gd name="connsiteY16" fmla="*/ 922 h 10000"/>
                <a:gd name="connsiteX17" fmla="*/ 6325 w 10000"/>
                <a:gd name="connsiteY17" fmla="*/ 758 h 10000"/>
                <a:gd name="connsiteX18" fmla="*/ 6561 w 10000"/>
                <a:gd name="connsiteY18" fmla="*/ 634 h 10000"/>
                <a:gd name="connsiteX19" fmla="*/ 6775 w 10000"/>
                <a:gd name="connsiteY19" fmla="*/ 512 h 10000"/>
                <a:gd name="connsiteX20" fmla="*/ 7014 w 10000"/>
                <a:gd name="connsiteY20" fmla="*/ 450 h 10000"/>
                <a:gd name="connsiteX21" fmla="*/ 7269 w 10000"/>
                <a:gd name="connsiteY21" fmla="*/ 388 h 10000"/>
                <a:gd name="connsiteX22" fmla="*/ 7526 w 10000"/>
                <a:gd name="connsiteY22" fmla="*/ 388 h 10000"/>
                <a:gd name="connsiteX23" fmla="*/ 7843 w 10000"/>
                <a:gd name="connsiteY23" fmla="*/ 410 h 10000"/>
                <a:gd name="connsiteX24" fmla="*/ 8157 w 10000"/>
                <a:gd name="connsiteY24" fmla="*/ 492 h 10000"/>
                <a:gd name="connsiteX25" fmla="*/ 8437 w 10000"/>
                <a:gd name="connsiteY25" fmla="*/ 634 h 10000"/>
                <a:gd name="connsiteX26" fmla="*/ 8734 w 10000"/>
                <a:gd name="connsiteY26" fmla="*/ 780 h 10000"/>
                <a:gd name="connsiteX27" fmla="*/ 8989 w 10000"/>
                <a:gd name="connsiteY27" fmla="*/ 985 h 10000"/>
                <a:gd name="connsiteX28" fmla="*/ 9267 w 10000"/>
                <a:gd name="connsiteY28" fmla="*/ 1250 h 10000"/>
                <a:gd name="connsiteX29" fmla="*/ 9505 w 10000"/>
                <a:gd name="connsiteY29" fmla="*/ 1536 h 10000"/>
                <a:gd name="connsiteX30" fmla="*/ 9781 w 10000"/>
                <a:gd name="connsiteY30" fmla="*/ 1864 h 10000"/>
                <a:gd name="connsiteX31" fmla="*/ 10000 w 10000"/>
                <a:gd name="connsiteY31" fmla="*/ 2213 h 10000"/>
                <a:gd name="connsiteX32" fmla="*/ 9838 w 10000"/>
                <a:gd name="connsiteY32" fmla="*/ 656 h 10000"/>
                <a:gd name="connsiteX33" fmla="*/ 9484 w 10000"/>
                <a:gd name="connsiteY33" fmla="*/ 470 h 10000"/>
                <a:gd name="connsiteX34" fmla="*/ 9129 w 10000"/>
                <a:gd name="connsiteY34" fmla="*/ 307 h 10000"/>
                <a:gd name="connsiteX35" fmla="*/ 8754 w 10000"/>
                <a:gd name="connsiteY35" fmla="*/ 184 h 10000"/>
                <a:gd name="connsiteX36" fmla="*/ 8356 w 10000"/>
                <a:gd name="connsiteY36" fmla="*/ 101 h 10000"/>
                <a:gd name="connsiteX37" fmla="*/ 7943 w 10000"/>
                <a:gd name="connsiteY37" fmla="*/ 21 h 10000"/>
                <a:gd name="connsiteX38" fmla="*/ 7526 w 10000"/>
                <a:gd name="connsiteY38" fmla="*/ 0 h 10000"/>
                <a:gd name="connsiteX39" fmla="*/ 7172 w 10000"/>
                <a:gd name="connsiteY39" fmla="*/ 21 h 10000"/>
                <a:gd name="connsiteX40" fmla="*/ 6838 w 10000"/>
                <a:gd name="connsiteY40" fmla="*/ 61 h 10000"/>
                <a:gd name="connsiteX41" fmla="*/ 6503 w 10000"/>
                <a:gd name="connsiteY41" fmla="*/ 124 h 10000"/>
                <a:gd name="connsiteX42" fmla="*/ 6205 w 10000"/>
                <a:gd name="connsiteY42" fmla="*/ 184 h 10000"/>
                <a:gd name="connsiteX43" fmla="*/ 5888 w 10000"/>
                <a:gd name="connsiteY43" fmla="*/ 285 h 10000"/>
                <a:gd name="connsiteX44" fmla="*/ 5571 w 10000"/>
                <a:gd name="connsiteY44" fmla="*/ 388 h 10000"/>
                <a:gd name="connsiteX45" fmla="*/ 5295 w 10000"/>
                <a:gd name="connsiteY45" fmla="*/ 532 h 10000"/>
                <a:gd name="connsiteX46" fmla="*/ 4997 w 10000"/>
                <a:gd name="connsiteY46" fmla="*/ 698 h 10000"/>
                <a:gd name="connsiteX47" fmla="*/ 4743 w 10000"/>
                <a:gd name="connsiteY47" fmla="*/ 881 h 10000"/>
                <a:gd name="connsiteX48" fmla="*/ 4467 w 10000"/>
                <a:gd name="connsiteY48" fmla="*/ 1065 h 10000"/>
                <a:gd name="connsiteX49" fmla="*/ 4209 w 10000"/>
                <a:gd name="connsiteY49" fmla="*/ 1271 h 10000"/>
                <a:gd name="connsiteX50" fmla="*/ 3951 w 10000"/>
                <a:gd name="connsiteY50" fmla="*/ 1497 h 10000"/>
                <a:gd name="connsiteX51" fmla="*/ 3715 w 10000"/>
                <a:gd name="connsiteY51" fmla="*/ 1720 h 10000"/>
                <a:gd name="connsiteX52" fmla="*/ 3458 w 10000"/>
                <a:gd name="connsiteY52" fmla="*/ 1989 h 10000"/>
                <a:gd name="connsiteX53" fmla="*/ 3003 w 10000"/>
                <a:gd name="connsiteY53" fmla="*/ 2540 h 10000"/>
                <a:gd name="connsiteX54" fmla="*/ 2570 w 10000"/>
                <a:gd name="connsiteY54" fmla="*/ 3116 h 10000"/>
                <a:gd name="connsiteX55" fmla="*/ 2155 w 10000"/>
                <a:gd name="connsiteY55" fmla="*/ 3730 h 10000"/>
                <a:gd name="connsiteX56" fmla="*/ 1757 w 10000"/>
                <a:gd name="connsiteY56" fmla="*/ 4386 h 10000"/>
                <a:gd name="connsiteX57" fmla="*/ 1384 w 10000"/>
                <a:gd name="connsiteY57" fmla="*/ 5062 h 10000"/>
                <a:gd name="connsiteX58" fmla="*/ 1028 w 10000"/>
                <a:gd name="connsiteY58" fmla="*/ 5737 h 10000"/>
                <a:gd name="connsiteX59" fmla="*/ 674 w 10000"/>
                <a:gd name="connsiteY59" fmla="*/ 6455 h 10000"/>
                <a:gd name="connsiteX60" fmla="*/ 0 w 10000"/>
                <a:gd name="connsiteY6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5888 w 10000"/>
                <a:gd name="connsiteY14" fmla="*/ 1109 h 10000"/>
                <a:gd name="connsiteX15" fmla="*/ 6106 w 10000"/>
                <a:gd name="connsiteY15" fmla="*/ 922 h 10000"/>
                <a:gd name="connsiteX16" fmla="*/ 6325 w 10000"/>
                <a:gd name="connsiteY16" fmla="*/ 758 h 10000"/>
                <a:gd name="connsiteX17" fmla="*/ 6561 w 10000"/>
                <a:gd name="connsiteY17" fmla="*/ 634 h 10000"/>
                <a:gd name="connsiteX18" fmla="*/ 6775 w 10000"/>
                <a:gd name="connsiteY18" fmla="*/ 512 h 10000"/>
                <a:gd name="connsiteX19" fmla="*/ 7014 w 10000"/>
                <a:gd name="connsiteY19" fmla="*/ 450 h 10000"/>
                <a:gd name="connsiteX20" fmla="*/ 7269 w 10000"/>
                <a:gd name="connsiteY20" fmla="*/ 388 h 10000"/>
                <a:gd name="connsiteX21" fmla="*/ 7526 w 10000"/>
                <a:gd name="connsiteY21" fmla="*/ 388 h 10000"/>
                <a:gd name="connsiteX22" fmla="*/ 7843 w 10000"/>
                <a:gd name="connsiteY22" fmla="*/ 410 h 10000"/>
                <a:gd name="connsiteX23" fmla="*/ 8157 w 10000"/>
                <a:gd name="connsiteY23" fmla="*/ 492 h 10000"/>
                <a:gd name="connsiteX24" fmla="*/ 8437 w 10000"/>
                <a:gd name="connsiteY24" fmla="*/ 634 h 10000"/>
                <a:gd name="connsiteX25" fmla="*/ 8734 w 10000"/>
                <a:gd name="connsiteY25" fmla="*/ 780 h 10000"/>
                <a:gd name="connsiteX26" fmla="*/ 8989 w 10000"/>
                <a:gd name="connsiteY26" fmla="*/ 985 h 10000"/>
                <a:gd name="connsiteX27" fmla="*/ 9267 w 10000"/>
                <a:gd name="connsiteY27" fmla="*/ 1250 h 10000"/>
                <a:gd name="connsiteX28" fmla="*/ 9505 w 10000"/>
                <a:gd name="connsiteY28" fmla="*/ 1536 h 10000"/>
                <a:gd name="connsiteX29" fmla="*/ 9781 w 10000"/>
                <a:gd name="connsiteY29" fmla="*/ 1864 h 10000"/>
                <a:gd name="connsiteX30" fmla="*/ 10000 w 10000"/>
                <a:gd name="connsiteY30" fmla="*/ 2213 h 10000"/>
                <a:gd name="connsiteX31" fmla="*/ 9838 w 10000"/>
                <a:gd name="connsiteY31" fmla="*/ 656 h 10000"/>
                <a:gd name="connsiteX32" fmla="*/ 9484 w 10000"/>
                <a:gd name="connsiteY32" fmla="*/ 470 h 10000"/>
                <a:gd name="connsiteX33" fmla="*/ 9129 w 10000"/>
                <a:gd name="connsiteY33" fmla="*/ 307 h 10000"/>
                <a:gd name="connsiteX34" fmla="*/ 8754 w 10000"/>
                <a:gd name="connsiteY34" fmla="*/ 184 h 10000"/>
                <a:gd name="connsiteX35" fmla="*/ 8356 w 10000"/>
                <a:gd name="connsiteY35" fmla="*/ 101 h 10000"/>
                <a:gd name="connsiteX36" fmla="*/ 7943 w 10000"/>
                <a:gd name="connsiteY36" fmla="*/ 21 h 10000"/>
                <a:gd name="connsiteX37" fmla="*/ 7526 w 10000"/>
                <a:gd name="connsiteY37" fmla="*/ 0 h 10000"/>
                <a:gd name="connsiteX38" fmla="*/ 7172 w 10000"/>
                <a:gd name="connsiteY38" fmla="*/ 21 h 10000"/>
                <a:gd name="connsiteX39" fmla="*/ 6838 w 10000"/>
                <a:gd name="connsiteY39" fmla="*/ 61 h 10000"/>
                <a:gd name="connsiteX40" fmla="*/ 6503 w 10000"/>
                <a:gd name="connsiteY40" fmla="*/ 124 h 10000"/>
                <a:gd name="connsiteX41" fmla="*/ 6205 w 10000"/>
                <a:gd name="connsiteY41" fmla="*/ 184 h 10000"/>
                <a:gd name="connsiteX42" fmla="*/ 5888 w 10000"/>
                <a:gd name="connsiteY42" fmla="*/ 285 h 10000"/>
                <a:gd name="connsiteX43" fmla="*/ 5571 w 10000"/>
                <a:gd name="connsiteY43" fmla="*/ 388 h 10000"/>
                <a:gd name="connsiteX44" fmla="*/ 5295 w 10000"/>
                <a:gd name="connsiteY44" fmla="*/ 532 h 10000"/>
                <a:gd name="connsiteX45" fmla="*/ 4997 w 10000"/>
                <a:gd name="connsiteY45" fmla="*/ 698 h 10000"/>
                <a:gd name="connsiteX46" fmla="*/ 4743 w 10000"/>
                <a:gd name="connsiteY46" fmla="*/ 881 h 10000"/>
                <a:gd name="connsiteX47" fmla="*/ 4467 w 10000"/>
                <a:gd name="connsiteY47" fmla="*/ 1065 h 10000"/>
                <a:gd name="connsiteX48" fmla="*/ 4209 w 10000"/>
                <a:gd name="connsiteY48" fmla="*/ 1271 h 10000"/>
                <a:gd name="connsiteX49" fmla="*/ 3951 w 10000"/>
                <a:gd name="connsiteY49" fmla="*/ 1497 h 10000"/>
                <a:gd name="connsiteX50" fmla="*/ 3715 w 10000"/>
                <a:gd name="connsiteY50" fmla="*/ 1720 h 10000"/>
                <a:gd name="connsiteX51" fmla="*/ 3458 w 10000"/>
                <a:gd name="connsiteY51" fmla="*/ 1989 h 10000"/>
                <a:gd name="connsiteX52" fmla="*/ 3003 w 10000"/>
                <a:gd name="connsiteY52" fmla="*/ 2540 h 10000"/>
                <a:gd name="connsiteX53" fmla="*/ 2570 w 10000"/>
                <a:gd name="connsiteY53" fmla="*/ 3116 h 10000"/>
                <a:gd name="connsiteX54" fmla="*/ 2155 w 10000"/>
                <a:gd name="connsiteY54" fmla="*/ 3730 h 10000"/>
                <a:gd name="connsiteX55" fmla="*/ 1757 w 10000"/>
                <a:gd name="connsiteY55" fmla="*/ 4386 h 10000"/>
                <a:gd name="connsiteX56" fmla="*/ 1384 w 10000"/>
                <a:gd name="connsiteY56" fmla="*/ 5062 h 10000"/>
                <a:gd name="connsiteX57" fmla="*/ 1028 w 10000"/>
                <a:gd name="connsiteY57" fmla="*/ 5737 h 10000"/>
                <a:gd name="connsiteX58" fmla="*/ 674 w 10000"/>
                <a:gd name="connsiteY58" fmla="*/ 6455 h 10000"/>
                <a:gd name="connsiteX59" fmla="*/ 0 w 10000"/>
                <a:gd name="connsiteY5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059 w 10000"/>
                <a:gd name="connsiteY11" fmla="*/ 2048 h 10000"/>
                <a:gd name="connsiteX12" fmla="*/ 5473 w 10000"/>
                <a:gd name="connsiteY12" fmla="*/ 1536 h 10000"/>
                <a:gd name="connsiteX13" fmla="*/ 5672 w 10000"/>
                <a:gd name="connsiteY13" fmla="*/ 1312 h 10000"/>
                <a:gd name="connsiteX14" fmla="*/ 6106 w 10000"/>
                <a:gd name="connsiteY14" fmla="*/ 922 h 10000"/>
                <a:gd name="connsiteX15" fmla="*/ 6325 w 10000"/>
                <a:gd name="connsiteY15" fmla="*/ 758 h 10000"/>
                <a:gd name="connsiteX16" fmla="*/ 6561 w 10000"/>
                <a:gd name="connsiteY16" fmla="*/ 634 h 10000"/>
                <a:gd name="connsiteX17" fmla="*/ 6775 w 10000"/>
                <a:gd name="connsiteY17" fmla="*/ 512 h 10000"/>
                <a:gd name="connsiteX18" fmla="*/ 7014 w 10000"/>
                <a:gd name="connsiteY18" fmla="*/ 450 h 10000"/>
                <a:gd name="connsiteX19" fmla="*/ 7269 w 10000"/>
                <a:gd name="connsiteY19" fmla="*/ 388 h 10000"/>
                <a:gd name="connsiteX20" fmla="*/ 7526 w 10000"/>
                <a:gd name="connsiteY20" fmla="*/ 388 h 10000"/>
                <a:gd name="connsiteX21" fmla="*/ 7843 w 10000"/>
                <a:gd name="connsiteY21" fmla="*/ 410 h 10000"/>
                <a:gd name="connsiteX22" fmla="*/ 8157 w 10000"/>
                <a:gd name="connsiteY22" fmla="*/ 492 h 10000"/>
                <a:gd name="connsiteX23" fmla="*/ 8437 w 10000"/>
                <a:gd name="connsiteY23" fmla="*/ 634 h 10000"/>
                <a:gd name="connsiteX24" fmla="*/ 8734 w 10000"/>
                <a:gd name="connsiteY24" fmla="*/ 780 h 10000"/>
                <a:gd name="connsiteX25" fmla="*/ 8989 w 10000"/>
                <a:gd name="connsiteY25" fmla="*/ 985 h 10000"/>
                <a:gd name="connsiteX26" fmla="*/ 9267 w 10000"/>
                <a:gd name="connsiteY26" fmla="*/ 1250 h 10000"/>
                <a:gd name="connsiteX27" fmla="*/ 9505 w 10000"/>
                <a:gd name="connsiteY27" fmla="*/ 1536 h 10000"/>
                <a:gd name="connsiteX28" fmla="*/ 9781 w 10000"/>
                <a:gd name="connsiteY28" fmla="*/ 1864 h 10000"/>
                <a:gd name="connsiteX29" fmla="*/ 10000 w 10000"/>
                <a:gd name="connsiteY29" fmla="*/ 2213 h 10000"/>
                <a:gd name="connsiteX30" fmla="*/ 9838 w 10000"/>
                <a:gd name="connsiteY30" fmla="*/ 656 h 10000"/>
                <a:gd name="connsiteX31" fmla="*/ 9484 w 10000"/>
                <a:gd name="connsiteY31" fmla="*/ 470 h 10000"/>
                <a:gd name="connsiteX32" fmla="*/ 9129 w 10000"/>
                <a:gd name="connsiteY32" fmla="*/ 307 h 10000"/>
                <a:gd name="connsiteX33" fmla="*/ 8754 w 10000"/>
                <a:gd name="connsiteY33" fmla="*/ 184 h 10000"/>
                <a:gd name="connsiteX34" fmla="*/ 8356 w 10000"/>
                <a:gd name="connsiteY34" fmla="*/ 101 h 10000"/>
                <a:gd name="connsiteX35" fmla="*/ 7943 w 10000"/>
                <a:gd name="connsiteY35" fmla="*/ 21 h 10000"/>
                <a:gd name="connsiteX36" fmla="*/ 7526 w 10000"/>
                <a:gd name="connsiteY36" fmla="*/ 0 h 10000"/>
                <a:gd name="connsiteX37" fmla="*/ 7172 w 10000"/>
                <a:gd name="connsiteY37" fmla="*/ 21 h 10000"/>
                <a:gd name="connsiteX38" fmla="*/ 6838 w 10000"/>
                <a:gd name="connsiteY38" fmla="*/ 61 h 10000"/>
                <a:gd name="connsiteX39" fmla="*/ 6503 w 10000"/>
                <a:gd name="connsiteY39" fmla="*/ 124 h 10000"/>
                <a:gd name="connsiteX40" fmla="*/ 6205 w 10000"/>
                <a:gd name="connsiteY40" fmla="*/ 184 h 10000"/>
                <a:gd name="connsiteX41" fmla="*/ 5888 w 10000"/>
                <a:gd name="connsiteY41" fmla="*/ 285 h 10000"/>
                <a:gd name="connsiteX42" fmla="*/ 5571 w 10000"/>
                <a:gd name="connsiteY42" fmla="*/ 388 h 10000"/>
                <a:gd name="connsiteX43" fmla="*/ 5295 w 10000"/>
                <a:gd name="connsiteY43" fmla="*/ 532 h 10000"/>
                <a:gd name="connsiteX44" fmla="*/ 4997 w 10000"/>
                <a:gd name="connsiteY44" fmla="*/ 698 h 10000"/>
                <a:gd name="connsiteX45" fmla="*/ 4743 w 10000"/>
                <a:gd name="connsiteY45" fmla="*/ 881 h 10000"/>
                <a:gd name="connsiteX46" fmla="*/ 4467 w 10000"/>
                <a:gd name="connsiteY46" fmla="*/ 1065 h 10000"/>
                <a:gd name="connsiteX47" fmla="*/ 4209 w 10000"/>
                <a:gd name="connsiteY47" fmla="*/ 1271 h 10000"/>
                <a:gd name="connsiteX48" fmla="*/ 3951 w 10000"/>
                <a:gd name="connsiteY48" fmla="*/ 1497 h 10000"/>
                <a:gd name="connsiteX49" fmla="*/ 3715 w 10000"/>
                <a:gd name="connsiteY49" fmla="*/ 1720 h 10000"/>
                <a:gd name="connsiteX50" fmla="*/ 3458 w 10000"/>
                <a:gd name="connsiteY50" fmla="*/ 1989 h 10000"/>
                <a:gd name="connsiteX51" fmla="*/ 3003 w 10000"/>
                <a:gd name="connsiteY51" fmla="*/ 2540 h 10000"/>
                <a:gd name="connsiteX52" fmla="*/ 2570 w 10000"/>
                <a:gd name="connsiteY52" fmla="*/ 3116 h 10000"/>
                <a:gd name="connsiteX53" fmla="*/ 2155 w 10000"/>
                <a:gd name="connsiteY53" fmla="*/ 3730 h 10000"/>
                <a:gd name="connsiteX54" fmla="*/ 1757 w 10000"/>
                <a:gd name="connsiteY54" fmla="*/ 4386 h 10000"/>
                <a:gd name="connsiteX55" fmla="*/ 1384 w 10000"/>
                <a:gd name="connsiteY55" fmla="*/ 5062 h 10000"/>
                <a:gd name="connsiteX56" fmla="*/ 1028 w 10000"/>
                <a:gd name="connsiteY56" fmla="*/ 5737 h 10000"/>
                <a:gd name="connsiteX57" fmla="*/ 674 w 10000"/>
                <a:gd name="connsiteY57" fmla="*/ 6455 h 10000"/>
                <a:gd name="connsiteX58" fmla="*/ 0 w 10000"/>
                <a:gd name="connsiteY5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715 w 10000"/>
                <a:gd name="connsiteY48" fmla="*/ 1720 h 10000"/>
                <a:gd name="connsiteX49" fmla="*/ 3458 w 10000"/>
                <a:gd name="connsiteY49" fmla="*/ 1989 h 10000"/>
                <a:gd name="connsiteX50" fmla="*/ 3003 w 10000"/>
                <a:gd name="connsiteY50" fmla="*/ 2540 h 10000"/>
                <a:gd name="connsiteX51" fmla="*/ 2570 w 10000"/>
                <a:gd name="connsiteY51" fmla="*/ 3116 h 10000"/>
                <a:gd name="connsiteX52" fmla="*/ 2155 w 10000"/>
                <a:gd name="connsiteY52" fmla="*/ 3730 h 10000"/>
                <a:gd name="connsiteX53" fmla="*/ 1757 w 10000"/>
                <a:gd name="connsiteY53" fmla="*/ 4386 h 10000"/>
                <a:gd name="connsiteX54" fmla="*/ 1384 w 10000"/>
                <a:gd name="connsiteY54" fmla="*/ 5062 h 10000"/>
                <a:gd name="connsiteX55" fmla="*/ 1028 w 10000"/>
                <a:gd name="connsiteY55" fmla="*/ 5737 h 10000"/>
                <a:gd name="connsiteX56" fmla="*/ 674 w 10000"/>
                <a:gd name="connsiteY56" fmla="*/ 6455 h 10000"/>
                <a:gd name="connsiteX57" fmla="*/ 0 w 10000"/>
                <a:gd name="connsiteY5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951 w 10000"/>
                <a:gd name="connsiteY47" fmla="*/ 1497 h 10000"/>
                <a:gd name="connsiteX48" fmla="*/ 3458 w 10000"/>
                <a:gd name="connsiteY48" fmla="*/ 1989 h 10000"/>
                <a:gd name="connsiteX49" fmla="*/ 3003 w 10000"/>
                <a:gd name="connsiteY49" fmla="*/ 2540 h 10000"/>
                <a:gd name="connsiteX50" fmla="*/ 2570 w 10000"/>
                <a:gd name="connsiteY50" fmla="*/ 3116 h 10000"/>
                <a:gd name="connsiteX51" fmla="*/ 2155 w 10000"/>
                <a:gd name="connsiteY51" fmla="*/ 3730 h 10000"/>
                <a:gd name="connsiteX52" fmla="*/ 1757 w 10000"/>
                <a:gd name="connsiteY52" fmla="*/ 4386 h 10000"/>
                <a:gd name="connsiteX53" fmla="*/ 1384 w 10000"/>
                <a:gd name="connsiteY53" fmla="*/ 5062 h 10000"/>
                <a:gd name="connsiteX54" fmla="*/ 1028 w 10000"/>
                <a:gd name="connsiteY54" fmla="*/ 5737 h 10000"/>
                <a:gd name="connsiteX55" fmla="*/ 674 w 10000"/>
                <a:gd name="connsiteY55" fmla="*/ 6455 h 10000"/>
                <a:gd name="connsiteX56" fmla="*/ 0 w 10000"/>
                <a:gd name="connsiteY5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4209 w 10000"/>
                <a:gd name="connsiteY46" fmla="*/ 1271 h 10000"/>
                <a:gd name="connsiteX47" fmla="*/ 3458 w 10000"/>
                <a:gd name="connsiteY47" fmla="*/ 1989 h 10000"/>
                <a:gd name="connsiteX48" fmla="*/ 3003 w 10000"/>
                <a:gd name="connsiteY48" fmla="*/ 2540 h 10000"/>
                <a:gd name="connsiteX49" fmla="*/ 2570 w 10000"/>
                <a:gd name="connsiteY49" fmla="*/ 3116 h 10000"/>
                <a:gd name="connsiteX50" fmla="*/ 2155 w 10000"/>
                <a:gd name="connsiteY50" fmla="*/ 3730 h 10000"/>
                <a:gd name="connsiteX51" fmla="*/ 1757 w 10000"/>
                <a:gd name="connsiteY51" fmla="*/ 4386 h 10000"/>
                <a:gd name="connsiteX52" fmla="*/ 1384 w 10000"/>
                <a:gd name="connsiteY52" fmla="*/ 5062 h 10000"/>
                <a:gd name="connsiteX53" fmla="*/ 1028 w 10000"/>
                <a:gd name="connsiteY53" fmla="*/ 5737 h 10000"/>
                <a:gd name="connsiteX54" fmla="*/ 674 w 10000"/>
                <a:gd name="connsiteY54" fmla="*/ 6455 h 10000"/>
                <a:gd name="connsiteX55" fmla="*/ 0 w 10000"/>
                <a:gd name="connsiteY5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4467 w 10000"/>
                <a:gd name="connsiteY45" fmla="*/ 1065 h 10000"/>
                <a:gd name="connsiteX46" fmla="*/ 3458 w 10000"/>
                <a:gd name="connsiteY46" fmla="*/ 1989 h 10000"/>
                <a:gd name="connsiteX47" fmla="*/ 3003 w 10000"/>
                <a:gd name="connsiteY47" fmla="*/ 2540 h 10000"/>
                <a:gd name="connsiteX48" fmla="*/ 2570 w 10000"/>
                <a:gd name="connsiteY48" fmla="*/ 3116 h 10000"/>
                <a:gd name="connsiteX49" fmla="*/ 2155 w 10000"/>
                <a:gd name="connsiteY49" fmla="*/ 3730 h 10000"/>
                <a:gd name="connsiteX50" fmla="*/ 1757 w 10000"/>
                <a:gd name="connsiteY50" fmla="*/ 4386 h 10000"/>
                <a:gd name="connsiteX51" fmla="*/ 1384 w 10000"/>
                <a:gd name="connsiteY51" fmla="*/ 5062 h 10000"/>
                <a:gd name="connsiteX52" fmla="*/ 1028 w 10000"/>
                <a:gd name="connsiteY52" fmla="*/ 5737 h 10000"/>
                <a:gd name="connsiteX53" fmla="*/ 674 w 10000"/>
                <a:gd name="connsiteY53" fmla="*/ 6455 h 10000"/>
                <a:gd name="connsiteX54" fmla="*/ 0 w 10000"/>
                <a:gd name="connsiteY5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4743 w 10000"/>
                <a:gd name="connsiteY44" fmla="*/ 881 h 10000"/>
                <a:gd name="connsiteX45" fmla="*/ 3458 w 10000"/>
                <a:gd name="connsiteY45" fmla="*/ 1989 h 10000"/>
                <a:gd name="connsiteX46" fmla="*/ 3003 w 10000"/>
                <a:gd name="connsiteY46" fmla="*/ 2540 h 10000"/>
                <a:gd name="connsiteX47" fmla="*/ 2570 w 10000"/>
                <a:gd name="connsiteY47" fmla="*/ 3116 h 10000"/>
                <a:gd name="connsiteX48" fmla="*/ 2155 w 10000"/>
                <a:gd name="connsiteY48" fmla="*/ 3730 h 10000"/>
                <a:gd name="connsiteX49" fmla="*/ 1757 w 10000"/>
                <a:gd name="connsiteY49" fmla="*/ 4386 h 10000"/>
                <a:gd name="connsiteX50" fmla="*/ 1384 w 10000"/>
                <a:gd name="connsiteY50" fmla="*/ 5062 h 10000"/>
                <a:gd name="connsiteX51" fmla="*/ 1028 w 10000"/>
                <a:gd name="connsiteY51" fmla="*/ 5737 h 10000"/>
                <a:gd name="connsiteX52" fmla="*/ 674 w 10000"/>
                <a:gd name="connsiteY52" fmla="*/ 6455 h 10000"/>
                <a:gd name="connsiteX53" fmla="*/ 0 w 10000"/>
                <a:gd name="connsiteY5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4997 w 10000"/>
                <a:gd name="connsiteY43" fmla="*/ 698 h 10000"/>
                <a:gd name="connsiteX44" fmla="*/ 3458 w 10000"/>
                <a:gd name="connsiteY44" fmla="*/ 1989 h 10000"/>
                <a:gd name="connsiteX45" fmla="*/ 3003 w 10000"/>
                <a:gd name="connsiteY45" fmla="*/ 2540 h 10000"/>
                <a:gd name="connsiteX46" fmla="*/ 2570 w 10000"/>
                <a:gd name="connsiteY46" fmla="*/ 3116 h 10000"/>
                <a:gd name="connsiteX47" fmla="*/ 2155 w 10000"/>
                <a:gd name="connsiteY47" fmla="*/ 3730 h 10000"/>
                <a:gd name="connsiteX48" fmla="*/ 1757 w 10000"/>
                <a:gd name="connsiteY48" fmla="*/ 4386 h 10000"/>
                <a:gd name="connsiteX49" fmla="*/ 1384 w 10000"/>
                <a:gd name="connsiteY49" fmla="*/ 5062 h 10000"/>
                <a:gd name="connsiteX50" fmla="*/ 1028 w 10000"/>
                <a:gd name="connsiteY50" fmla="*/ 5737 h 10000"/>
                <a:gd name="connsiteX51" fmla="*/ 674 w 10000"/>
                <a:gd name="connsiteY51" fmla="*/ 6455 h 10000"/>
                <a:gd name="connsiteX52" fmla="*/ 0 w 10000"/>
                <a:gd name="connsiteY5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5295 w 10000"/>
                <a:gd name="connsiteY42" fmla="*/ 532 h 10000"/>
                <a:gd name="connsiteX43" fmla="*/ 3458 w 10000"/>
                <a:gd name="connsiteY43" fmla="*/ 1989 h 10000"/>
                <a:gd name="connsiteX44" fmla="*/ 3003 w 10000"/>
                <a:gd name="connsiteY44" fmla="*/ 2540 h 10000"/>
                <a:gd name="connsiteX45" fmla="*/ 2570 w 10000"/>
                <a:gd name="connsiteY45" fmla="*/ 3116 h 10000"/>
                <a:gd name="connsiteX46" fmla="*/ 2155 w 10000"/>
                <a:gd name="connsiteY46" fmla="*/ 3730 h 10000"/>
                <a:gd name="connsiteX47" fmla="*/ 1757 w 10000"/>
                <a:gd name="connsiteY47" fmla="*/ 4386 h 10000"/>
                <a:gd name="connsiteX48" fmla="*/ 1384 w 10000"/>
                <a:gd name="connsiteY48" fmla="*/ 5062 h 10000"/>
                <a:gd name="connsiteX49" fmla="*/ 1028 w 10000"/>
                <a:gd name="connsiteY49" fmla="*/ 5737 h 10000"/>
                <a:gd name="connsiteX50" fmla="*/ 674 w 10000"/>
                <a:gd name="connsiteY50" fmla="*/ 6455 h 10000"/>
                <a:gd name="connsiteX51" fmla="*/ 0 w 10000"/>
                <a:gd name="connsiteY5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5571 w 10000"/>
                <a:gd name="connsiteY41" fmla="*/ 388 h 10000"/>
                <a:gd name="connsiteX42" fmla="*/ 3458 w 10000"/>
                <a:gd name="connsiteY42" fmla="*/ 1989 h 10000"/>
                <a:gd name="connsiteX43" fmla="*/ 3003 w 10000"/>
                <a:gd name="connsiteY43" fmla="*/ 2540 h 10000"/>
                <a:gd name="connsiteX44" fmla="*/ 2570 w 10000"/>
                <a:gd name="connsiteY44" fmla="*/ 3116 h 10000"/>
                <a:gd name="connsiteX45" fmla="*/ 2155 w 10000"/>
                <a:gd name="connsiteY45" fmla="*/ 3730 h 10000"/>
                <a:gd name="connsiteX46" fmla="*/ 1757 w 10000"/>
                <a:gd name="connsiteY46" fmla="*/ 4386 h 10000"/>
                <a:gd name="connsiteX47" fmla="*/ 1384 w 10000"/>
                <a:gd name="connsiteY47" fmla="*/ 5062 h 10000"/>
                <a:gd name="connsiteX48" fmla="*/ 1028 w 10000"/>
                <a:gd name="connsiteY48" fmla="*/ 5737 h 10000"/>
                <a:gd name="connsiteX49" fmla="*/ 674 w 10000"/>
                <a:gd name="connsiteY49" fmla="*/ 6455 h 10000"/>
                <a:gd name="connsiteX50" fmla="*/ 0 w 10000"/>
                <a:gd name="connsiteY5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5888 w 10000"/>
                <a:gd name="connsiteY40" fmla="*/ 285 h 10000"/>
                <a:gd name="connsiteX41" fmla="*/ 3458 w 10000"/>
                <a:gd name="connsiteY41" fmla="*/ 1989 h 10000"/>
                <a:gd name="connsiteX42" fmla="*/ 3003 w 10000"/>
                <a:gd name="connsiteY42" fmla="*/ 2540 h 10000"/>
                <a:gd name="connsiteX43" fmla="*/ 2570 w 10000"/>
                <a:gd name="connsiteY43" fmla="*/ 3116 h 10000"/>
                <a:gd name="connsiteX44" fmla="*/ 2155 w 10000"/>
                <a:gd name="connsiteY44" fmla="*/ 3730 h 10000"/>
                <a:gd name="connsiteX45" fmla="*/ 1757 w 10000"/>
                <a:gd name="connsiteY45" fmla="*/ 4386 h 10000"/>
                <a:gd name="connsiteX46" fmla="*/ 1384 w 10000"/>
                <a:gd name="connsiteY46" fmla="*/ 5062 h 10000"/>
                <a:gd name="connsiteX47" fmla="*/ 1028 w 10000"/>
                <a:gd name="connsiteY47" fmla="*/ 5737 h 10000"/>
                <a:gd name="connsiteX48" fmla="*/ 674 w 10000"/>
                <a:gd name="connsiteY48" fmla="*/ 6455 h 10000"/>
                <a:gd name="connsiteX49" fmla="*/ 0 w 10000"/>
                <a:gd name="connsiteY4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6205 w 10000"/>
                <a:gd name="connsiteY39" fmla="*/ 184 h 10000"/>
                <a:gd name="connsiteX40" fmla="*/ 3458 w 10000"/>
                <a:gd name="connsiteY40" fmla="*/ 1989 h 10000"/>
                <a:gd name="connsiteX41" fmla="*/ 3003 w 10000"/>
                <a:gd name="connsiteY41" fmla="*/ 2540 h 10000"/>
                <a:gd name="connsiteX42" fmla="*/ 2570 w 10000"/>
                <a:gd name="connsiteY42" fmla="*/ 3116 h 10000"/>
                <a:gd name="connsiteX43" fmla="*/ 2155 w 10000"/>
                <a:gd name="connsiteY43" fmla="*/ 3730 h 10000"/>
                <a:gd name="connsiteX44" fmla="*/ 1757 w 10000"/>
                <a:gd name="connsiteY44" fmla="*/ 4386 h 10000"/>
                <a:gd name="connsiteX45" fmla="*/ 1384 w 10000"/>
                <a:gd name="connsiteY45" fmla="*/ 5062 h 10000"/>
                <a:gd name="connsiteX46" fmla="*/ 1028 w 10000"/>
                <a:gd name="connsiteY46" fmla="*/ 5737 h 10000"/>
                <a:gd name="connsiteX47" fmla="*/ 674 w 10000"/>
                <a:gd name="connsiteY47" fmla="*/ 6455 h 10000"/>
                <a:gd name="connsiteX48" fmla="*/ 0 w 10000"/>
                <a:gd name="connsiteY4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6503 w 10000"/>
                <a:gd name="connsiteY38" fmla="*/ 124 h 10000"/>
                <a:gd name="connsiteX39" fmla="*/ 3458 w 10000"/>
                <a:gd name="connsiteY39" fmla="*/ 1989 h 10000"/>
                <a:gd name="connsiteX40" fmla="*/ 3003 w 10000"/>
                <a:gd name="connsiteY40" fmla="*/ 2540 h 10000"/>
                <a:gd name="connsiteX41" fmla="*/ 2570 w 10000"/>
                <a:gd name="connsiteY41" fmla="*/ 3116 h 10000"/>
                <a:gd name="connsiteX42" fmla="*/ 2155 w 10000"/>
                <a:gd name="connsiteY42" fmla="*/ 3730 h 10000"/>
                <a:gd name="connsiteX43" fmla="*/ 1757 w 10000"/>
                <a:gd name="connsiteY43" fmla="*/ 4386 h 10000"/>
                <a:gd name="connsiteX44" fmla="*/ 1384 w 10000"/>
                <a:gd name="connsiteY44" fmla="*/ 5062 h 10000"/>
                <a:gd name="connsiteX45" fmla="*/ 1028 w 10000"/>
                <a:gd name="connsiteY45" fmla="*/ 5737 h 10000"/>
                <a:gd name="connsiteX46" fmla="*/ 674 w 10000"/>
                <a:gd name="connsiteY46" fmla="*/ 6455 h 10000"/>
                <a:gd name="connsiteX47" fmla="*/ 0 w 10000"/>
                <a:gd name="connsiteY4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6838 w 10000"/>
                <a:gd name="connsiteY37" fmla="*/ 61 h 10000"/>
                <a:gd name="connsiteX38" fmla="*/ 3458 w 10000"/>
                <a:gd name="connsiteY38" fmla="*/ 1989 h 10000"/>
                <a:gd name="connsiteX39" fmla="*/ 3003 w 10000"/>
                <a:gd name="connsiteY39" fmla="*/ 2540 h 10000"/>
                <a:gd name="connsiteX40" fmla="*/ 2570 w 10000"/>
                <a:gd name="connsiteY40" fmla="*/ 3116 h 10000"/>
                <a:gd name="connsiteX41" fmla="*/ 2155 w 10000"/>
                <a:gd name="connsiteY41" fmla="*/ 3730 h 10000"/>
                <a:gd name="connsiteX42" fmla="*/ 1757 w 10000"/>
                <a:gd name="connsiteY42" fmla="*/ 4386 h 10000"/>
                <a:gd name="connsiteX43" fmla="*/ 1384 w 10000"/>
                <a:gd name="connsiteY43" fmla="*/ 5062 h 10000"/>
                <a:gd name="connsiteX44" fmla="*/ 1028 w 10000"/>
                <a:gd name="connsiteY44" fmla="*/ 5737 h 10000"/>
                <a:gd name="connsiteX45" fmla="*/ 674 w 10000"/>
                <a:gd name="connsiteY45" fmla="*/ 6455 h 10000"/>
                <a:gd name="connsiteX46" fmla="*/ 0 w 10000"/>
                <a:gd name="connsiteY4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4859 w 10000"/>
                <a:gd name="connsiteY10" fmla="*/ 2357 h 10000"/>
                <a:gd name="connsiteX11" fmla="*/ 5473 w 10000"/>
                <a:gd name="connsiteY11" fmla="*/ 1536 h 10000"/>
                <a:gd name="connsiteX12" fmla="*/ 5672 w 10000"/>
                <a:gd name="connsiteY12" fmla="*/ 1312 h 10000"/>
                <a:gd name="connsiteX13" fmla="*/ 6106 w 10000"/>
                <a:gd name="connsiteY13" fmla="*/ 922 h 10000"/>
                <a:gd name="connsiteX14" fmla="*/ 6325 w 10000"/>
                <a:gd name="connsiteY14" fmla="*/ 758 h 10000"/>
                <a:gd name="connsiteX15" fmla="*/ 6561 w 10000"/>
                <a:gd name="connsiteY15" fmla="*/ 634 h 10000"/>
                <a:gd name="connsiteX16" fmla="*/ 6775 w 10000"/>
                <a:gd name="connsiteY16" fmla="*/ 512 h 10000"/>
                <a:gd name="connsiteX17" fmla="*/ 7014 w 10000"/>
                <a:gd name="connsiteY17" fmla="*/ 450 h 10000"/>
                <a:gd name="connsiteX18" fmla="*/ 7269 w 10000"/>
                <a:gd name="connsiteY18" fmla="*/ 388 h 10000"/>
                <a:gd name="connsiteX19" fmla="*/ 7526 w 10000"/>
                <a:gd name="connsiteY19" fmla="*/ 388 h 10000"/>
                <a:gd name="connsiteX20" fmla="*/ 7843 w 10000"/>
                <a:gd name="connsiteY20" fmla="*/ 410 h 10000"/>
                <a:gd name="connsiteX21" fmla="*/ 8157 w 10000"/>
                <a:gd name="connsiteY21" fmla="*/ 492 h 10000"/>
                <a:gd name="connsiteX22" fmla="*/ 8437 w 10000"/>
                <a:gd name="connsiteY22" fmla="*/ 634 h 10000"/>
                <a:gd name="connsiteX23" fmla="*/ 8734 w 10000"/>
                <a:gd name="connsiteY23" fmla="*/ 780 h 10000"/>
                <a:gd name="connsiteX24" fmla="*/ 8989 w 10000"/>
                <a:gd name="connsiteY24" fmla="*/ 985 h 10000"/>
                <a:gd name="connsiteX25" fmla="*/ 9267 w 10000"/>
                <a:gd name="connsiteY25" fmla="*/ 1250 h 10000"/>
                <a:gd name="connsiteX26" fmla="*/ 9505 w 10000"/>
                <a:gd name="connsiteY26" fmla="*/ 1536 h 10000"/>
                <a:gd name="connsiteX27" fmla="*/ 9781 w 10000"/>
                <a:gd name="connsiteY27" fmla="*/ 1864 h 10000"/>
                <a:gd name="connsiteX28" fmla="*/ 10000 w 10000"/>
                <a:gd name="connsiteY28" fmla="*/ 2213 h 10000"/>
                <a:gd name="connsiteX29" fmla="*/ 9838 w 10000"/>
                <a:gd name="connsiteY29" fmla="*/ 656 h 10000"/>
                <a:gd name="connsiteX30" fmla="*/ 9484 w 10000"/>
                <a:gd name="connsiteY30" fmla="*/ 470 h 10000"/>
                <a:gd name="connsiteX31" fmla="*/ 9129 w 10000"/>
                <a:gd name="connsiteY31" fmla="*/ 307 h 10000"/>
                <a:gd name="connsiteX32" fmla="*/ 8754 w 10000"/>
                <a:gd name="connsiteY32" fmla="*/ 184 h 10000"/>
                <a:gd name="connsiteX33" fmla="*/ 8356 w 10000"/>
                <a:gd name="connsiteY33" fmla="*/ 101 h 10000"/>
                <a:gd name="connsiteX34" fmla="*/ 7943 w 10000"/>
                <a:gd name="connsiteY34" fmla="*/ 21 h 10000"/>
                <a:gd name="connsiteX35" fmla="*/ 7526 w 10000"/>
                <a:gd name="connsiteY35" fmla="*/ 0 h 10000"/>
                <a:gd name="connsiteX36" fmla="*/ 7172 w 10000"/>
                <a:gd name="connsiteY36" fmla="*/ 21 h 10000"/>
                <a:gd name="connsiteX37" fmla="*/ 3458 w 10000"/>
                <a:gd name="connsiteY37" fmla="*/ 1989 h 10000"/>
                <a:gd name="connsiteX38" fmla="*/ 3003 w 10000"/>
                <a:gd name="connsiteY38" fmla="*/ 2540 h 10000"/>
                <a:gd name="connsiteX39" fmla="*/ 2570 w 10000"/>
                <a:gd name="connsiteY39" fmla="*/ 3116 h 10000"/>
                <a:gd name="connsiteX40" fmla="*/ 2155 w 10000"/>
                <a:gd name="connsiteY40" fmla="*/ 3730 h 10000"/>
                <a:gd name="connsiteX41" fmla="*/ 1757 w 10000"/>
                <a:gd name="connsiteY41" fmla="*/ 4386 h 10000"/>
                <a:gd name="connsiteX42" fmla="*/ 1384 w 10000"/>
                <a:gd name="connsiteY42" fmla="*/ 5062 h 10000"/>
                <a:gd name="connsiteX43" fmla="*/ 1028 w 10000"/>
                <a:gd name="connsiteY43" fmla="*/ 5737 h 10000"/>
                <a:gd name="connsiteX44" fmla="*/ 674 w 10000"/>
                <a:gd name="connsiteY44" fmla="*/ 6455 h 10000"/>
                <a:gd name="connsiteX45" fmla="*/ 0 w 10000"/>
                <a:gd name="connsiteY4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5672 w 10000"/>
                <a:gd name="connsiteY11" fmla="*/ 1312 h 10000"/>
                <a:gd name="connsiteX12" fmla="*/ 6106 w 10000"/>
                <a:gd name="connsiteY12" fmla="*/ 922 h 10000"/>
                <a:gd name="connsiteX13" fmla="*/ 6325 w 10000"/>
                <a:gd name="connsiteY13" fmla="*/ 758 h 10000"/>
                <a:gd name="connsiteX14" fmla="*/ 6561 w 10000"/>
                <a:gd name="connsiteY14" fmla="*/ 634 h 10000"/>
                <a:gd name="connsiteX15" fmla="*/ 6775 w 10000"/>
                <a:gd name="connsiteY15" fmla="*/ 512 h 10000"/>
                <a:gd name="connsiteX16" fmla="*/ 7014 w 10000"/>
                <a:gd name="connsiteY16" fmla="*/ 450 h 10000"/>
                <a:gd name="connsiteX17" fmla="*/ 7269 w 10000"/>
                <a:gd name="connsiteY17" fmla="*/ 388 h 10000"/>
                <a:gd name="connsiteX18" fmla="*/ 7526 w 10000"/>
                <a:gd name="connsiteY18" fmla="*/ 388 h 10000"/>
                <a:gd name="connsiteX19" fmla="*/ 7843 w 10000"/>
                <a:gd name="connsiteY19" fmla="*/ 410 h 10000"/>
                <a:gd name="connsiteX20" fmla="*/ 8157 w 10000"/>
                <a:gd name="connsiteY20" fmla="*/ 492 h 10000"/>
                <a:gd name="connsiteX21" fmla="*/ 8437 w 10000"/>
                <a:gd name="connsiteY21" fmla="*/ 634 h 10000"/>
                <a:gd name="connsiteX22" fmla="*/ 8734 w 10000"/>
                <a:gd name="connsiteY22" fmla="*/ 780 h 10000"/>
                <a:gd name="connsiteX23" fmla="*/ 8989 w 10000"/>
                <a:gd name="connsiteY23" fmla="*/ 985 h 10000"/>
                <a:gd name="connsiteX24" fmla="*/ 9267 w 10000"/>
                <a:gd name="connsiteY24" fmla="*/ 1250 h 10000"/>
                <a:gd name="connsiteX25" fmla="*/ 9505 w 10000"/>
                <a:gd name="connsiteY25" fmla="*/ 1536 h 10000"/>
                <a:gd name="connsiteX26" fmla="*/ 9781 w 10000"/>
                <a:gd name="connsiteY26" fmla="*/ 1864 h 10000"/>
                <a:gd name="connsiteX27" fmla="*/ 10000 w 10000"/>
                <a:gd name="connsiteY27" fmla="*/ 2213 h 10000"/>
                <a:gd name="connsiteX28" fmla="*/ 9838 w 10000"/>
                <a:gd name="connsiteY28" fmla="*/ 656 h 10000"/>
                <a:gd name="connsiteX29" fmla="*/ 9484 w 10000"/>
                <a:gd name="connsiteY29" fmla="*/ 470 h 10000"/>
                <a:gd name="connsiteX30" fmla="*/ 9129 w 10000"/>
                <a:gd name="connsiteY30" fmla="*/ 307 h 10000"/>
                <a:gd name="connsiteX31" fmla="*/ 8754 w 10000"/>
                <a:gd name="connsiteY31" fmla="*/ 184 h 10000"/>
                <a:gd name="connsiteX32" fmla="*/ 8356 w 10000"/>
                <a:gd name="connsiteY32" fmla="*/ 101 h 10000"/>
                <a:gd name="connsiteX33" fmla="*/ 7943 w 10000"/>
                <a:gd name="connsiteY33" fmla="*/ 21 h 10000"/>
                <a:gd name="connsiteX34" fmla="*/ 7526 w 10000"/>
                <a:gd name="connsiteY34" fmla="*/ 0 h 10000"/>
                <a:gd name="connsiteX35" fmla="*/ 7172 w 10000"/>
                <a:gd name="connsiteY35" fmla="*/ 21 h 10000"/>
                <a:gd name="connsiteX36" fmla="*/ 3458 w 10000"/>
                <a:gd name="connsiteY36" fmla="*/ 1989 h 10000"/>
                <a:gd name="connsiteX37" fmla="*/ 3003 w 10000"/>
                <a:gd name="connsiteY37" fmla="*/ 2540 h 10000"/>
                <a:gd name="connsiteX38" fmla="*/ 2570 w 10000"/>
                <a:gd name="connsiteY38" fmla="*/ 3116 h 10000"/>
                <a:gd name="connsiteX39" fmla="*/ 2155 w 10000"/>
                <a:gd name="connsiteY39" fmla="*/ 3730 h 10000"/>
                <a:gd name="connsiteX40" fmla="*/ 1757 w 10000"/>
                <a:gd name="connsiteY40" fmla="*/ 4386 h 10000"/>
                <a:gd name="connsiteX41" fmla="*/ 1384 w 10000"/>
                <a:gd name="connsiteY41" fmla="*/ 5062 h 10000"/>
                <a:gd name="connsiteX42" fmla="*/ 1028 w 10000"/>
                <a:gd name="connsiteY42" fmla="*/ 5737 h 10000"/>
                <a:gd name="connsiteX43" fmla="*/ 674 w 10000"/>
                <a:gd name="connsiteY43" fmla="*/ 6455 h 10000"/>
                <a:gd name="connsiteX44" fmla="*/ 0 w 10000"/>
                <a:gd name="connsiteY44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5473 w 10000"/>
                <a:gd name="connsiteY10" fmla="*/ 1536 h 10000"/>
                <a:gd name="connsiteX11" fmla="*/ 6106 w 10000"/>
                <a:gd name="connsiteY11" fmla="*/ 922 h 10000"/>
                <a:gd name="connsiteX12" fmla="*/ 6325 w 10000"/>
                <a:gd name="connsiteY12" fmla="*/ 758 h 10000"/>
                <a:gd name="connsiteX13" fmla="*/ 6561 w 10000"/>
                <a:gd name="connsiteY13" fmla="*/ 634 h 10000"/>
                <a:gd name="connsiteX14" fmla="*/ 6775 w 10000"/>
                <a:gd name="connsiteY14" fmla="*/ 512 h 10000"/>
                <a:gd name="connsiteX15" fmla="*/ 7014 w 10000"/>
                <a:gd name="connsiteY15" fmla="*/ 450 h 10000"/>
                <a:gd name="connsiteX16" fmla="*/ 7269 w 10000"/>
                <a:gd name="connsiteY16" fmla="*/ 388 h 10000"/>
                <a:gd name="connsiteX17" fmla="*/ 7526 w 10000"/>
                <a:gd name="connsiteY17" fmla="*/ 388 h 10000"/>
                <a:gd name="connsiteX18" fmla="*/ 7843 w 10000"/>
                <a:gd name="connsiteY18" fmla="*/ 410 h 10000"/>
                <a:gd name="connsiteX19" fmla="*/ 8157 w 10000"/>
                <a:gd name="connsiteY19" fmla="*/ 492 h 10000"/>
                <a:gd name="connsiteX20" fmla="*/ 8437 w 10000"/>
                <a:gd name="connsiteY20" fmla="*/ 634 h 10000"/>
                <a:gd name="connsiteX21" fmla="*/ 8734 w 10000"/>
                <a:gd name="connsiteY21" fmla="*/ 780 h 10000"/>
                <a:gd name="connsiteX22" fmla="*/ 8989 w 10000"/>
                <a:gd name="connsiteY22" fmla="*/ 985 h 10000"/>
                <a:gd name="connsiteX23" fmla="*/ 9267 w 10000"/>
                <a:gd name="connsiteY23" fmla="*/ 1250 h 10000"/>
                <a:gd name="connsiteX24" fmla="*/ 9505 w 10000"/>
                <a:gd name="connsiteY24" fmla="*/ 1536 h 10000"/>
                <a:gd name="connsiteX25" fmla="*/ 9781 w 10000"/>
                <a:gd name="connsiteY25" fmla="*/ 1864 h 10000"/>
                <a:gd name="connsiteX26" fmla="*/ 10000 w 10000"/>
                <a:gd name="connsiteY26" fmla="*/ 2213 h 10000"/>
                <a:gd name="connsiteX27" fmla="*/ 9838 w 10000"/>
                <a:gd name="connsiteY27" fmla="*/ 656 h 10000"/>
                <a:gd name="connsiteX28" fmla="*/ 9484 w 10000"/>
                <a:gd name="connsiteY28" fmla="*/ 470 h 10000"/>
                <a:gd name="connsiteX29" fmla="*/ 9129 w 10000"/>
                <a:gd name="connsiteY29" fmla="*/ 307 h 10000"/>
                <a:gd name="connsiteX30" fmla="*/ 8754 w 10000"/>
                <a:gd name="connsiteY30" fmla="*/ 184 h 10000"/>
                <a:gd name="connsiteX31" fmla="*/ 8356 w 10000"/>
                <a:gd name="connsiteY31" fmla="*/ 101 h 10000"/>
                <a:gd name="connsiteX32" fmla="*/ 7943 w 10000"/>
                <a:gd name="connsiteY32" fmla="*/ 21 h 10000"/>
                <a:gd name="connsiteX33" fmla="*/ 7526 w 10000"/>
                <a:gd name="connsiteY33" fmla="*/ 0 h 10000"/>
                <a:gd name="connsiteX34" fmla="*/ 7172 w 10000"/>
                <a:gd name="connsiteY34" fmla="*/ 21 h 10000"/>
                <a:gd name="connsiteX35" fmla="*/ 3458 w 10000"/>
                <a:gd name="connsiteY35" fmla="*/ 1989 h 10000"/>
                <a:gd name="connsiteX36" fmla="*/ 3003 w 10000"/>
                <a:gd name="connsiteY36" fmla="*/ 2540 h 10000"/>
                <a:gd name="connsiteX37" fmla="*/ 2570 w 10000"/>
                <a:gd name="connsiteY37" fmla="*/ 3116 h 10000"/>
                <a:gd name="connsiteX38" fmla="*/ 2155 w 10000"/>
                <a:gd name="connsiteY38" fmla="*/ 3730 h 10000"/>
                <a:gd name="connsiteX39" fmla="*/ 1757 w 10000"/>
                <a:gd name="connsiteY39" fmla="*/ 4386 h 10000"/>
                <a:gd name="connsiteX40" fmla="*/ 1384 w 10000"/>
                <a:gd name="connsiteY40" fmla="*/ 5062 h 10000"/>
                <a:gd name="connsiteX41" fmla="*/ 1028 w 10000"/>
                <a:gd name="connsiteY41" fmla="*/ 5737 h 10000"/>
                <a:gd name="connsiteX42" fmla="*/ 674 w 10000"/>
                <a:gd name="connsiteY42" fmla="*/ 6455 h 10000"/>
                <a:gd name="connsiteX43" fmla="*/ 0 w 10000"/>
                <a:gd name="connsiteY43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325 w 10000"/>
                <a:gd name="connsiteY11" fmla="*/ 758 h 10000"/>
                <a:gd name="connsiteX12" fmla="*/ 6561 w 10000"/>
                <a:gd name="connsiteY12" fmla="*/ 634 h 10000"/>
                <a:gd name="connsiteX13" fmla="*/ 6775 w 10000"/>
                <a:gd name="connsiteY13" fmla="*/ 512 h 10000"/>
                <a:gd name="connsiteX14" fmla="*/ 7014 w 10000"/>
                <a:gd name="connsiteY14" fmla="*/ 450 h 10000"/>
                <a:gd name="connsiteX15" fmla="*/ 7269 w 10000"/>
                <a:gd name="connsiteY15" fmla="*/ 388 h 10000"/>
                <a:gd name="connsiteX16" fmla="*/ 7526 w 10000"/>
                <a:gd name="connsiteY16" fmla="*/ 388 h 10000"/>
                <a:gd name="connsiteX17" fmla="*/ 7843 w 10000"/>
                <a:gd name="connsiteY17" fmla="*/ 410 h 10000"/>
                <a:gd name="connsiteX18" fmla="*/ 8157 w 10000"/>
                <a:gd name="connsiteY18" fmla="*/ 492 h 10000"/>
                <a:gd name="connsiteX19" fmla="*/ 8437 w 10000"/>
                <a:gd name="connsiteY19" fmla="*/ 634 h 10000"/>
                <a:gd name="connsiteX20" fmla="*/ 8734 w 10000"/>
                <a:gd name="connsiteY20" fmla="*/ 780 h 10000"/>
                <a:gd name="connsiteX21" fmla="*/ 8989 w 10000"/>
                <a:gd name="connsiteY21" fmla="*/ 985 h 10000"/>
                <a:gd name="connsiteX22" fmla="*/ 9267 w 10000"/>
                <a:gd name="connsiteY22" fmla="*/ 1250 h 10000"/>
                <a:gd name="connsiteX23" fmla="*/ 9505 w 10000"/>
                <a:gd name="connsiteY23" fmla="*/ 1536 h 10000"/>
                <a:gd name="connsiteX24" fmla="*/ 9781 w 10000"/>
                <a:gd name="connsiteY24" fmla="*/ 1864 h 10000"/>
                <a:gd name="connsiteX25" fmla="*/ 10000 w 10000"/>
                <a:gd name="connsiteY25" fmla="*/ 2213 h 10000"/>
                <a:gd name="connsiteX26" fmla="*/ 9838 w 10000"/>
                <a:gd name="connsiteY26" fmla="*/ 656 h 10000"/>
                <a:gd name="connsiteX27" fmla="*/ 9484 w 10000"/>
                <a:gd name="connsiteY27" fmla="*/ 470 h 10000"/>
                <a:gd name="connsiteX28" fmla="*/ 9129 w 10000"/>
                <a:gd name="connsiteY28" fmla="*/ 307 h 10000"/>
                <a:gd name="connsiteX29" fmla="*/ 8754 w 10000"/>
                <a:gd name="connsiteY29" fmla="*/ 184 h 10000"/>
                <a:gd name="connsiteX30" fmla="*/ 8356 w 10000"/>
                <a:gd name="connsiteY30" fmla="*/ 101 h 10000"/>
                <a:gd name="connsiteX31" fmla="*/ 7943 w 10000"/>
                <a:gd name="connsiteY31" fmla="*/ 21 h 10000"/>
                <a:gd name="connsiteX32" fmla="*/ 7526 w 10000"/>
                <a:gd name="connsiteY32" fmla="*/ 0 h 10000"/>
                <a:gd name="connsiteX33" fmla="*/ 7172 w 10000"/>
                <a:gd name="connsiteY33" fmla="*/ 21 h 10000"/>
                <a:gd name="connsiteX34" fmla="*/ 3458 w 10000"/>
                <a:gd name="connsiteY34" fmla="*/ 1989 h 10000"/>
                <a:gd name="connsiteX35" fmla="*/ 3003 w 10000"/>
                <a:gd name="connsiteY35" fmla="*/ 2540 h 10000"/>
                <a:gd name="connsiteX36" fmla="*/ 2570 w 10000"/>
                <a:gd name="connsiteY36" fmla="*/ 3116 h 10000"/>
                <a:gd name="connsiteX37" fmla="*/ 2155 w 10000"/>
                <a:gd name="connsiteY37" fmla="*/ 3730 h 10000"/>
                <a:gd name="connsiteX38" fmla="*/ 1757 w 10000"/>
                <a:gd name="connsiteY38" fmla="*/ 4386 h 10000"/>
                <a:gd name="connsiteX39" fmla="*/ 1384 w 10000"/>
                <a:gd name="connsiteY39" fmla="*/ 5062 h 10000"/>
                <a:gd name="connsiteX40" fmla="*/ 1028 w 10000"/>
                <a:gd name="connsiteY40" fmla="*/ 5737 h 10000"/>
                <a:gd name="connsiteX41" fmla="*/ 674 w 10000"/>
                <a:gd name="connsiteY41" fmla="*/ 6455 h 10000"/>
                <a:gd name="connsiteX42" fmla="*/ 0 w 10000"/>
                <a:gd name="connsiteY42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106 w 10000"/>
                <a:gd name="connsiteY10" fmla="*/ 922 h 10000"/>
                <a:gd name="connsiteX11" fmla="*/ 6561 w 10000"/>
                <a:gd name="connsiteY11" fmla="*/ 634 h 10000"/>
                <a:gd name="connsiteX12" fmla="*/ 6775 w 10000"/>
                <a:gd name="connsiteY12" fmla="*/ 512 h 10000"/>
                <a:gd name="connsiteX13" fmla="*/ 7014 w 10000"/>
                <a:gd name="connsiteY13" fmla="*/ 450 h 10000"/>
                <a:gd name="connsiteX14" fmla="*/ 7269 w 10000"/>
                <a:gd name="connsiteY14" fmla="*/ 388 h 10000"/>
                <a:gd name="connsiteX15" fmla="*/ 7526 w 10000"/>
                <a:gd name="connsiteY15" fmla="*/ 388 h 10000"/>
                <a:gd name="connsiteX16" fmla="*/ 7843 w 10000"/>
                <a:gd name="connsiteY16" fmla="*/ 410 h 10000"/>
                <a:gd name="connsiteX17" fmla="*/ 8157 w 10000"/>
                <a:gd name="connsiteY17" fmla="*/ 492 h 10000"/>
                <a:gd name="connsiteX18" fmla="*/ 8437 w 10000"/>
                <a:gd name="connsiteY18" fmla="*/ 634 h 10000"/>
                <a:gd name="connsiteX19" fmla="*/ 8734 w 10000"/>
                <a:gd name="connsiteY19" fmla="*/ 780 h 10000"/>
                <a:gd name="connsiteX20" fmla="*/ 8989 w 10000"/>
                <a:gd name="connsiteY20" fmla="*/ 985 h 10000"/>
                <a:gd name="connsiteX21" fmla="*/ 9267 w 10000"/>
                <a:gd name="connsiteY21" fmla="*/ 1250 h 10000"/>
                <a:gd name="connsiteX22" fmla="*/ 9505 w 10000"/>
                <a:gd name="connsiteY22" fmla="*/ 1536 h 10000"/>
                <a:gd name="connsiteX23" fmla="*/ 9781 w 10000"/>
                <a:gd name="connsiteY23" fmla="*/ 1864 h 10000"/>
                <a:gd name="connsiteX24" fmla="*/ 10000 w 10000"/>
                <a:gd name="connsiteY24" fmla="*/ 2213 h 10000"/>
                <a:gd name="connsiteX25" fmla="*/ 9838 w 10000"/>
                <a:gd name="connsiteY25" fmla="*/ 656 h 10000"/>
                <a:gd name="connsiteX26" fmla="*/ 9484 w 10000"/>
                <a:gd name="connsiteY26" fmla="*/ 470 h 10000"/>
                <a:gd name="connsiteX27" fmla="*/ 9129 w 10000"/>
                <a:gd name="connsiteY27" fmla="*/ 307 h 10000"/>
                <a:gd name="connsiteX28" fmla="*/ 8754 w 10000"/>
                <a:gd name="connsiteY28" fmla="*/ 184 h 10000"/>
                <a:gd name="connsiteX29" fmla="*/ 8356 w 10000"/>
                <a:gd name="connsiteY29" fmla="*/ 101 h 10000"/>
                <a:gd name="connsiteX30" fmla="*/ 7943 w 10000"/>
                <a:gd name="connsiteY30" fmla="*/ 21 h 10000"/>
                <a:gd name="connsiteX31" fmla="*/ 7526 w 10000"/>
                <a:gd name="connsiteY31" fmla="*/ 0 h 10000"/>
                <a:gd name="connsiteX32" fmla="*/ 7172 w 10000"/>
                <a:gd name="connsiteY32" fmla="*/ 21 h 10000"/>
                <a:gd name="connsiteX33" fmla="*/ 3458 w 10000"/>
                <a:gd name="connsiteY33" fmla="*/ 1989 h 10000"/>
                <a:gd name="connsiteX34" fmla="*/ 3003 w 10000"/>
                <a:gd name="connsiteY34" fmla="*/ 2540 h 10000"/>
                <a:gd name="connsiteX35" fmla="*/ 2570 w 10000"/>
                <a:gd name="connsiteY35" fmla="*/ 3116 h 10000"/>
                <a:gd name="connsiteX36" fmla="*/ 2155 w 10000"/>
                <a:gd name="connsiteY36" fmla="*/ 3730 h 10000"/>
                <a:gd name="connsiteX37" fmla="*/ 1757 w 10000"/>
                <a:gd name="connsiteY37" fmla="*/ 4386 h 10000"/>
                <a:gd name="connsiteX38" fmla="*/ 1384 w 10000"/>
                <a:gd name="connsiteY38" fmla="*/ 5062 h 10000"/>
                <a:gd name="connsiteX39" fmla="*/ 1028 w 10000"/>
                <a:gd name="connsiteY39" fmla="*/ 5737 h 10000"/>
                <a:gd name="connsiteX40" fmla="*/ 674 w 10000"/>
                <a:gd name="connsiteY40" fmla="*/ 6455 h 10000"/>
                <a:gd name="connsiteX41" fmla="*/ 0 w 10000"/>
                <a:gd name="connsiteY41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6775 w 10000"/>
                <a:gd name="connsiteY11" fmla="*/ 512 h 10000"/>
                <a:gd name="connsiteX12" fmla="*/ 7014 w 10000"/>
                <a:gd name="connsiteY12" fmla="*/ 450 h 10000"/>
                <a:gd name="connsiteX13" fmla="*/ 7269 w 10000"/>
                <a:gd name="connsiteY13" fmla="*/ 388 h 10000"/>
                <a:gd name="connsiteX14" fmla="*/ 7526 w 10000"/>
                <a:gd name="connsiteY14" fmla="*/ 388 h 10000"/>
                <a:gd name="connsiteX15" fmla="*/ 7843 w 10000"/>
                <a:gd name="connsiteY15" fmla="*/ 410 h 10000"/>
                <a:gd name="connsiteX16" fmla="*/ 8157 w 10000"/>
                <a:gd name="connsiteY16" fmla="*/ 492 h 10000"/>
                <a:gd name="connsiteX17" fmla="*/ 8437 w 10000"/>
                <a:gd name="connsiteY17" fmla="*/ 634 h 10000"/>
                <a:gd name="connsiteX18" fmla="*/ 8734 w 10000"/>
                <a:gd name="connsiteY18" fmla="*/ 780 h 10000"/>
                <a:gd name="connsiteX19" fmla="*/ 8989 w 10000"/>
                <a:gd name="connsiteY19" fmla="*/ 985 h 10000"/>
                <a:gd name="connsiteX20" fmla="*/ 9267 w 10000"/>
                <a:gd name="connsiteY20" fmla="*/ 1250 h 10000"/>
                <a:gd name="connsiteX21" fmla="*/ 9505 w 10000"/>
                <a:gd name="connsiteY21" fmla="*/ 1536 h 10000"/>
                <a:gd name="connsiteX22" fmla="*/ 9781 w 10000"/>
                <a:gd name="connsiteY22" fmla="*/ 1864 h 10000"/>
                <a:gd name="connsiteX23" fmla="*/ 10000 w 10000"/>
                <a:gd name="connsiteY23" fmla="*/ 2213 h 10000"/>
                <a:gd name="connsiteX24" fmla="*/ 9838 w 10000"/>
                <a:gd name="connsiteY24" fmla="*/ 656 h 10000"/>
                <a:gd name="connsiteX25" fmla="*/ 9484 w 10000"/>
                <a:gd name="connsiteY25" fmla="*/ 470 h 10000"/>
                <a:gd name="connsiteX26" fmla="*/ 9129 w 10000"/>
                <a:gd name="connsiteY26" fmla="*/ 307 h 10000"/>
                <a:gd name="connsiteX27" fmla="*/ 8754 w 10000"/>
                <a:gd name="connsiteY27" fmla="*/ 184 h 10000"/>
                <a:gd name="connsiteX28" fmla="*/ 8356 w 10000"/>
                <a:gd name="connsiteY28" fmla="*/ 101 h 10000"/>
                <a:gd name="connsiteX29" fmla="*/ 7943 w 10000"/>
                <a:gd name="connsiteY29" fmla="*/ 21 h 10000"/>
                <a:gd name="connsiteX30" fmla="*/ 7526 w 10000"/>
                <a:gd name="connsiteY30" fmla="*/ 0 h 10000"/>
                <a:gd name="connsiteX31" fmla="*/ 7172 w 10000"/>
                <a:gd name="connsiteY31" fmla="*/ 21 h 10000"/>
                <a:gd name="connsiteX32" fmla="*/ 3458 w 10000"/>
                <a:gd name="connsiteY32" fmla="*/ 1989 h 10000"/>
                <a:gd name="connsiteX33" fmla="*/ 3003 w 10000"/>
                <a:gd name="connsiteY33" fmla="*/ 2540 h 10000"/>
                <a:gd name="connsiteX34" fmla="*/ 2570 w 10000"/>
                <a:gd name="connsiteY34" fmla="*/ 3116 h 10000"/>
                <a:gd name="connsiteX35" fmla="*/ 2155 w 10000"/>
                <a:gd name="connsiteY35" fmla="*/ 3730 h 10000"/>
                <a:gd name="connsiteX36" fmla="*/ 1757 w 10000"/>
                <a:gd name="connsiteY36" fmla="*/ 4386 h 10000"/>
                <a:gd name="connsiteX37" fmla="*/ 1384 w 10000"/>
                <a:gd name="connsiteY37" fmla="*/ 5062 h 10000"/>
                <a:gd name="connsiteX38" fmla="*/ 1028 w 10000"/>
                <a:gd name="connsiteY38" fmla="*/ 5737 h 10000"/>
                <a:gd name="connsiteX39" fmla="*/ 674 w 10000"/>
                <a:gd name="connsiteY39" fmla="*/ 6455 h 10000"/>
                <a:gd name="connsiteX40" fmla="*/ 0 w 10000"/>
                <a:gd name="connsiteY40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526 w 10000"/>
                <a:gd name="connsiteY13" fmla="*/ 388 h 10000"/>
                <a:gd name="connsiteX14" fmla="*/ 7843 w 10000"/>
                <a:gd name="connsiteY14" fmla="*/ 410 h 10000"/>
                <a:gd name="connsiteX15" fmla="*/ 8157 w 10000"/>
                <a:gd name="connsiteY15" fmla="*/ 492 h 10000"/>
                <a:gd name="connsiteX16" fmla="*/ 8437 w 10000"/>
                <a:gd name="connsiteY16" fmla="*/ 634 h 10000"/>
                <a:gd name="connsiteX17" fmla="*/ 8734 w 10000"/>
                <a:gd name="connsiteY17" fmla="*/ 780 h 10000"/>
                <a:gd name="connsiteX18" fmla="*/ 8989 w 10000"/>
                <a:gd name="connsiteY18" fmla="*/ 985 h 10000"/>
                <a:gd name="connsiteX19" fmla="*/ 9267 w 10000"/>
                <a:gd name="connsiteY19" fmla="*/ 1250 h 10000"/>
                <a:gd name="connsiteX20" fmla="*/ 9505 w 10000"/>
                <a:gd name="connsiteY20" fmla="*/ 1536 h 10000"/>
                <a:gd name="connsiteX21" fmla="*/ 9781 w 10000"/>
                <a:gd name="connsiteY21" fmla="*/ 1864 h 10000"/>
                <a:gd name="connsiteX22" fmla="*/ 10000 w 10000"/>
                <a:gd name="connsiteY22" fmla="*/ 2213 h 10000"/>
                <a:gd name="connsiteX23" fmla="*/ 9838 w 10000"/>
                <a:gd name="connsiteY23" fmla="*/ 656 h 10000"/>
                <a:gd name="connsiteX24" fmla="*/ 9484 w 10000"/>
                <a:gd name="connsiteY24" fmla="*/ 470 h 10000"/>
                <a:gd name="connsiteX25" fmla="*/ 9129 w 10000"/>
                <a:gd name="connsiteY25" fmla="*/ 307 h 10000"/>
                <a:gd name="connsiteX26" fmla="*/ 8754 w 10000"/>
                <a:gd name="connsiteY26" fmla="*/ 184 h 10000"/>
                <a:gd name="connsiteX27" fmla="*/ 8356 w 10000"/>
                <a:gd name="connsiteY27" fmla="*/ 101 h 10000"/>
                <a:gd name="connsiteX28" fmla="*/ 7943 w 10000"/>
                <a:gd name="connsiteY28" fmla="*/ 21 h 10000"/>
                <a:gd name="connsiteX29" fmla="*/ 7526 w 10000"/>
                <a:gd name="connsiteY29" fmla="*/ 0 h 10000"/>
                <a:gd name="connsiteX30" fmla="*/ 7172 w 10000"/>
                <a:gd name="connsiteY30" fmla="*/ 21 h 10000"/>
                <a:gd name="connsiteX31" fmla="*/ 3458 w 10000"/>
                <a:gd name="connsiteY31" fmla="*/ 1989 h 10000"/>
                <a:gd name="connsiteX32" fmla="*/ 3003 w 10000"/>
                <a:gd name="connsiteY32" fmla="*/ 2540 h 10000"/>
                <a:gd name="connsiteX33" fmla="*/ 2570 w 10000"/>
                <a:gd name="connsiteY33" fmla="*/ 3116 h 10000"/>
                <a:gd name="connsiteX34" fmla="*/ 2155 w 10000"/>
                <a:gd name="connsiteY34" fmla="*/ 3730 h 10000"/>
                <a:gd name="connsiteX35" fmla="*/ 1757 w 10000"/>
                <a:gd name="connsiteY35" fmla="*/ 4386 h 10000"/>
                <a:gd name="connsiteX36" fmla="*/ 1384 w 10000"/>
                <a:gd name="connsiteY36" fmla="*/ 5062 h 10000"/>
                <a:gd name="connsiteX37" fmla="*/ 1028 w 10000"/>
                <a:gd name="connsiteY37" fmla="*/ 5737 h 10000"/>
                <a:gd name="connsiteX38" fmla="*/ 674 w 10000"/>
                <a:gd name="connsiteY38" fmla="*/ 6455 h 10000"/>
                <a:gd name="connsiteX39" fmla="*/ 0 w 10000"/>
                <a:gd name="connsiteY39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6561 w 10000"/>
                <a:gd name="connsiteY10" fmla="*/ 634 h 10000"/>
                <a:gd name="connsiteX11" fmla="*/ 7014 w 10000"/>
                <a:gd name="connsiteY11" fmla="*/ 450 h 10000"/>
                <a:gd name="connsiteX12" fmla="*/ 7269 w 10000"/>
                <a:gd name="connsiteY12" fmla="*/ 388 h 10000"/>
                <a:gd name="connsiteX13" fmla="*/ 7843 w 10000"/>
                <a:gd name="connsiteY13" fmla="*/ 410 h 10000"/>
                <a:gd name="connsiteX14" fmla="*/ 8157 w 10000"/>
                <a:gd name="connsiteY14" fmla="*/ 492 h 10000"/>
                <a:gd name="connsiteX15" fmla="*/ 8437 w 10000"/>
                <a:gd name="connsiteY15" fmla="*/ 634 h 10000"/>
                <a:gd name="connsiteX16" fmla="*/ 8734 w 10000"/>
                <a:gd name="connsiteY16" fmla="*/ 780 h 10000"/>
                <a:gd name="connsiteX17" fmla="*/ 8989 w 10000"/>
                <a:gd name="connsiteY17" fmla="*/ 985 h 10000"/>
                <a:gd name="connsiteX18" fmla="*/ 9267 w 10000"/>
                <a:gd name="connsiteY18" fmla="*/ 1250 h 10000"/>
                <a:gd name="connsiteX19" fmla="*/ 9505 w 10000"/>
                <a:gd name="connsiteY19" fmla="*/ 1536 h 10000"/>
                <a:gd name="connsiteX20" fmla="*/ 9781 w 10000"/>
                <a:gd name="connsiteY20" fmla="*/ 1864 h 10000"/>
                <a:gd name="connsiteX21" fmla="*/ 10000 w 10000"/>
                <a:gd name="connsiteY21" fmla="*/ 2213 h 10000"/>
                <a:gd name="connsiteX22" fmla="*/ 9838 w 10000"/>
                <a:gd name="connsiteY22" fmla="*/ 656 h 10000"/>
                <a:gd name="connsiteX23" fmla="*/ 9484 w 10000"/>
                <a:gd name="connsiteY23" fmla="*/ 470 h 10000"/>
                <a:gd name="connsiteX24" fmla="*/ 9129 w 10000"/>
                <a:gd name="connsiteY24" fmla="*/ 307 h 10000"/>
                <a:gd name="connsiteX25" fmla="*/ 8754 w 10000"/>
                <a:gd name="connsiteY25" fmla="*/ 184 h 10000"/>
                <a:gd name="connsiteX26" fmla="*/ 8356 w 10000"/>
                <a:gd name="connsiteY26" fmla="*/ 101 h 10000"/>
                <a:gd name="connsiteX27" fmla="*/ 7943 w 10000"/>
                <a:gd name="connsiteY27" fmla="*/ 21 h 10000"/>
                <a:gd name="connsiteX28" fmla="*/ 7526 w 10000"/>
                <a:gd name="connsiteY28" fmla="*/ 0 h 10000"/>
                <a:gd name="connsiteX29" fmla="*/ 7172 w 10000"/>
                <a:gd name="connsiteY29" fmla="*/ 21 h 10000"/>
                <a:gd name="connsiteX30" fmla="*/ 3458 w 10000"/>
                <a:gd name="connsiteY30" fmla="*/ 1989 h 10000"/>
                <a:gd name="connsiteX31" fmla="*/ 3003 w 10000"/>
                <a:gd name="connsiteY31" fmla="*/ 2540 h 10000"/>
                <a:gd name="connsiteX32" fmla="*/ 2570 w 10000"/>
                <a:gd name="connsiteY32" fmla="*/ 3116 h 10000"/>
                <a:gd name="connsiteX33" fmla="*/ 2155 w 10000"/>
                <a:gd name="connsiteY33" fmla="*/ 3730 h 10000"/>
                <a:gd name="connsiteX34" fmla="*/ 1757 w 10000"/>
                <a:gd name="connsiteY34" fmla="*/ 4386 h 10000"/>
                <a:gd name="connsiteX35" fmla="*/ 1384 w 10000"/>
                <a:gd name="connsiteY35" fmla="*/ 5062 h 10000"/>
                <a:gd name="connsiteX36" fmla="*/ 1028 w 10000"/>
                <a:gd name="connsiteY36" fmla="*/ 5737 h 10000"/>
                <a:gd name="connsiteX37" fmla="*/ 674 w 10000"/>
                <a:gd name="connsiteY37" fmla="*/ 6455 h 10000"/>
                <a:gd name="connsiteX38" fmla="*/ 0 w 10000"/>
                <a:gd name="connsiteY38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7172 w 10000"/>
                <a:gd name="connsiteY28" fmla="*/ 21 h 10000"/>
                <a:gd name="connsiteX29" fmla="*/ 3458 w 10000"/>
                <a:gd name="connsiteY29" fmla="*/ 1989 h 10000"/>
                <a:gd name="connsiteX30" fmla="*/ 3003 w 10000"/>
                <a:gd name="connsiteY30" fmla="*/ 2540 h 10000"/>
                <a:gd name="connsiteX31" fmla="*/ 2570 w 10000"/>
                <a:gd name="connsiteY31" fmla="*/ 3116 h 10000"/>
                <a:gd name="connsiteX32" fmla="*/ 2155 w 10000"/>
                <a:gd name="connsiteY32" fmla="*/ 3730 h 10000"/>
                <a:gd name="connsiteX33" fmla="*/ 1757 w 10000"/>
                <a:gd name="connsiteY33" fmla="*/ 4386 h 10000"/>
                <a:gd name="connsiteX34" fmla="*/ 1384 w 10000"/>
                <a:gd name="connsiteY34" fmla="*/ 5062 h 10000"/>
                <a:gd name="connsiteX35" fmla="*/ 1028 w 10000"/>
                <a:gd name="connsiteY35" fmla="*/ 5737 h 10000"/>
                <a:gd name="connsiteX36" fmla="*/ 674 w 10000"/>
                <a:gd name="connsiteY36" fmla="*/ 6455 h 10000"/>
                <a:gd name="connsiteX37" fmla="*/ 0 w 10000"/>
                <a:gd name="connsiteY37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014 w 10000"/>
                <a:gd name="connsiteY10" fmla="*/ 450 h 10000"/>
                <a:gd name="connsiteX11" fmla="*/ 7269 w 10000"/>
                <a:gd name="connsiteY11" fmla="*/ 388 h 10000"/>
                <a:gd name="connsiteX12" fmla="*/ 7843 w 10000"/>
                <a:gd name="connsiteY12" fmla="*/ 410 h 10000"/>
                <a:gd name="connsiteX13" fmla="*/ 8157 w 10000"/>
                <a:gd name="connsiteY13" fmla="*/ 492 h 10000"/>
                <a:gd name="connsiteX14" fmla="*/ 8437 w 10000"/>
                <a:gd name="connsiteY14" fmla="*/ 634 h 10000"/>
                <a:gd name="connsiteX15" fmla="*/ 8734 w 10000"/>
                <a:gd name="connsiteY15" fmla="*/ 780 h 10000"/>
                <a:gd name="connsiteX16" fmla="*/ 8989 w 10000"/>
                <a:gd name="connsiteY16" fmla="*/ 985 h 10000"/>
                <a:gd name="connsiteX17" fmla="*/ 9267 w 10000"/>
                <a:gd name="connsiteY17" fmla="*/ 1250 h 10000"/>
                <a:gd name="connsiteX18" fmla="*/ 9505 w 10000"/>
                <a:gd name="connsiteY18" fmla="*/ 1536 h 10000"/>
                <a:gd name="connsiteX19" fmla="*/ 9781 w 10000"/>
                <a:gd name="connsiteY19" fmla="*/ 1864 h 10000"/>
                <a:gd name="connsiteX20" fmla="*/ 10000 w 10000"/>
                <a:gd name="connsiteY20" fmla="*/ 2213 h 10000"/>
                <a:gd name="connsiteX21" fmla="*/ 9838 w 10000"/>
                <a:gd name="connsiteY21" fmla="*/ 656 h 10000"/>
                <a:gd name="connsiteX22" fmla="*/ 9484 w 10000"/>
                <a:gd name="connsiteY22" fmla="*/ 470 h 10000"/>
                <a:gd name="connsiteX23" fmla="*/ 9129 w 10000"/>
                <a:gd name="connsiteY23" fmla="*/ 307 h 10000"/>
                <a:gd name="connsiteX24" fmla="*/ 8754 w 10000"/>
                <a:gd name="connsiteY24" fmla="*/ 184 h 10000"/>
                <a:gd name="connsiteX25" fmla="*/ 8356 w 10000"/>
                <a:gd name="connsiteY25" fmla="*/ 101 h 10000"/>
                <a:gd name="connsiteX26" fmla="*/ 7943 w 10000"/>
                <a:gd name="connsiteY26" fmla="*/ 21 h 10000"/>
                <a:gd name="connsiteX27" fmla="*/ 7526 w 10000"/>
                <a:gd name="connsiteY27" fmla="*/ 0 h 10000"/>
                <a:gd name="connsiteX28" fmla="*/ 3458 w 10000"/>
                <a:gd name="connsiteY28" fmla="*/ 1989 h 10000"/>
                <a:gd name="connsiteX29" fmla="*/ 3003 w 10000"/>
                <a:gd name="connsiteY29" fmla="*/ 2540 h 10000"/>
                <a:gd name="connsiteX30" fmla="*/ 2570 w 10000"/>
                <a:gd name="connsiteY30" fmla="*/ 3116 h 10000"/>
                <a:gd name="connsiteX31" fmla="*/ 2155 w 10000"/>
                <a:gd name="connsiteY31" fmla="*/ 3730 h 10000"/>
                <a:gd name="connsiteX32" fmla="*/ 1757 w 10000"/>
                <a:gd name="connsiteY32" fmla="*/ 4386 h 10000"/>
                <a:gd name="connsiteX33" fmla="*/ 1384 w 10000"/>
                <a:gd name="connsiteY33" fmla="*/ 5062 h 10000"/>
                <a:gd name="connsiteX34" fmla="*/ 1028 w 10000"/>
                <a:gd name="connsiteY34" fmla="*/ 5737 h 10000"/>
                <a:gd name="connsiteX35" fmla="*/ 674 w 10000"/>
                <a:gd name="connsiteY35" fmla="*/ 6455 h 10000"/>
                <a:gd name="connsiteX36" fmla="*/ 0 w 10000"/>
                <a:gd name="connsiteY36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269 w 10000"/>
                <a:gd name="connsiteY10" fmla="*/ 388 h 10000"/>
                <a:gd name="connsiteX11" fmla="*/ 7843 w 10000"/>
                <a:gd name="connsiteY11" fmla="*/ 410 h 10000"/>
                <a:gd name="connsiteX12" fmla="*/ 8157 w 10000"/>
                <a:gd name="connsiteY12" fmla="*/ 492 h 10000"/>
                <a:gd name="connsiteX13" fmla="*/ 8437 w 10000"/>
                <a:gd name="connsiteY13" fmla="*/ 634 h 10000"/>
                <a:gd name="connsiteX14" fmla="*/ 8734 w 10000"/>
                <a:gd name="connsiteY14" fmla="*/ 780 h 10000"/>
                <a:gd name="connsiteX15" fmla="*/ 8989 w 10000"/>
                <a:gd name="connsiteY15" fmla="*/ 985 h 10000"/>
                <a:gd name="connsiteX16" fmla="*/ 9267 w 10000"/>
                <a:gd name="connsiteY16" fmla="*/ 1250 h 10000"/>
                <a:gd name="connsiteX17" fmla="*/ 9505 w 10000"/>
                <a:gd name="connsiteY17" fmla="*/ 1536 h 10000"/>
                <a:gd name="connsiteX18" fmla="*/ 9781 w 10000"/>
                <a:gd name="connsiteY18" fmla="*/ 1864 h 10000"/>
                <a:gd name="connsiteX19" fmla="*/ 10000 w 10000"/>
                <a:gd name="connsiteY19" fmla="*/ 2213 h 10000"/>
                <a:gd name="connsiteX20" fmla="*/ 9838 w 10000"/>
                <a:gd name="connsiteY20" fmla="*/ 656 h 10000"/>
                <a:gd name="connsiteX21" fmla="*/ 9484 w 10000"/>
                <a:gd name="connsiteY21" fmla="*/ 470 h 10000"/>
                <a:gd name="connsiteX22" fmla="*/ 9129 w 10000"/>
                <a:gd name="connsiteY22" fmla="*/ 307 h 10000"/>
                <a:gd name="connsiteX23" fmla="*/ 8754 w 10000"/>
                <a:gd name="connsiteY23" fmla="*/ 184 h 10000"/>
                <a:gd name="connsiteX24" fmla="*/ 8356 w 10000"/>
                <a:gd name="connsiteY24" fmla="*/ 101 h 10000"/>
                <a:gd name="connsiteX25" fmla="*/ 7943 w 10000"/>
                <a:gd name="connsiteY25" fmla="*/ 21 h 10000"/>
                <a:gd name="connsiteX26" fmla="*/ 7526 w 10000"/>
                <a:gd name="connsiteY26" fmla="*/ 0 h 10000"/>
                <a:gd name="connsiteX27" fmla="*/ 3458 w 10000"/>
                <a:gd name="connsiteY27" fmla="*/ 1989 h 10000"/>
                <a:gd name="connsiteX28" fmla="*/ 3003 w 10000"/>
                <a:gd name="connsiteY28" fmla="*/ 2540 h 10000"/>
                <a:gd name="connsiteX29" fmla="*/ 2570 w 10000"/>
                <a:gd name="connsiteY29" fmla="*/ 3116 h 10000"/>
                <a:gd name="connsiteX30" fmla="*/ 2155 w 10000"/>
                <a:gd name="connsiteY30" fmla="*/ 3730 h 10000"/>
                <a:gd name="connsiteX31" fmla="*/ 1757 w 10000"/>
                <a:gd name="connsiteY31" fmla="*/ 4386 h 10000"/>
                <a:gd name="connsiteX32" fmla="*/ 1384 w 10000"/>
                <a:gd name="connsiteY32" fmla="*/ 5062 h 10000"/>
                <a:gd name="connsiteX33" fmla="*/ 1028 w 10000"/>
                <a:gd name="connsiteY33" fmla="*/ 5737 h 10000"/>
                <a:gd name="connsiteX34" fmla="*/ 674 w 10000"/>
                <a:gd name="connsiteY34" fmla="*/ 6455 h 10000"/>
                <a:gd name="connsiteX35" fmla="*/ 0 w 10000"/>
                <a:gd name="connsiteY35" fmla="*/ 7890 h 10000"/>
                <a:gd name="connsiteX0" fmla="*/ 0 w 10000"/>
                <a:gd name="connsiteY0" fmla="*/ 7890 h 10000"/>
                <a:gd name="connsiteX1" fmla="*/ 0 w 10000"/>
                <a:gd name="connsiteY1" fmla="*/ 7890 h 10000"/>
                <a:gd name="connsiteX2" fmla="*/ 495 w 10000"/>
                <a:gd name="connsiteY2" fmla="*/ 8955 h 10000"/>
                <a:gd name="connsiteX3" fmla="*/ 948 w 10000"/>
                <a:gd name="connsiteY3" fmla="*/ 10000 h 10000"/>
                <a:gd name="connsiteX4" fmla="*/ 1403 w 10000"/>
                <a:gd name="connsiteY4" fmla="*/ 9222 h 10000"/>
                <a:gd name="connsiteX5" fmla="*/ 1816 w 10000"/>
                <a:gd name="connsiteY5" fmla="*/ 8403 h 10000"/>
                <a:gd name="connsiteX6" fmla="*/ 2253 w 10000"/>
                <a:gd name="connsiteY6" fmla="*/ 7602 h 10000"/>
                <a:gd name="connsiteX7" fmla="*/ 2626 w 10000"/>
                <a:gd name="connsiteY7" fmla="*/ 6782 h 10000"/>
                <a:gd name="connsiteX8" fmla="*/ 3380 w 10000"/>
                <a:gd name="connsiteY8" fmla="*/ 5165 h 10000"/>
                <a:gd name="connsiteX9" fmla="*/ 3756 w 10000"/>
                <a:gd name="connsiteY9" fmla="*/ 4386 h 10000"/>
                <a:gd name="connsiteX10" fmla="*/ 7843 w 10000"/>
                <a:gd name="connsiteY10" fmla="*/ 410 h 10000"/>
                <a:gd name="connsiteX11" fmla="*/ 8157 w 10000"/>
                <a:gd name="connsiteY11" fmla="*/ 492 h 10000"/>
                <a:gd name="connsiteX12" fmla="*/ 8437 w 10000"/>
                <a:gd name="connsiteY12" fmla="*/ 634 h 10000"/>
                <a:gd name="connsiteX13" fmla="*/ 8734 w 10000"/>
                <a:gd name="connsiteY13" fmla="*/ 780 h 10000"/>
                <a:gd name="connsiteX14" fmla="*/ 8989 w 10000"/>
                <a:gd name="connsiteY14" fmla="*/ 985 h 10000"/>
                <a:gd name="connsiteX15" fmla="*/ 9267 w 10000"/>
                <a:gd name="connsiteY15" fmla="*/ 1250 h 10000"/>
                <a:gd name="connsiteX16" fmla="*/ 9505 w 10000"/>
                <a:gd name="connsiteY16" fmla="*/ 1536 h 10000"/>
                <a:gd name="connsiteX17" fmla="*/ 9781 w 10000"/>
                <a:gd name="connsiteY17" fmla="*/ 1864 h 10000"/>
                <a:gd name="connsiteX18" fmla="*/ 10000 w 10000"/>
                <a:gd name="connsiteY18" fmla="*/ 2213 h 10000"/>
                <a:gd name="connsiteX19" fmla="*/ 9838 w 10000"/>
                <a:gd name="connsiteY19" fmla="*/ 656 h 10000"/>
                <a:gd name="connsiteX20" fmla="*/ 9484 w 10000"/>
                <a:gd name="connsiteY20" fmla="*/ 470 h 10000"/>
                <a:gd name="connsiteX21" fmla="*/ 9129 w 10000"/>
                <a:gd name="connsiteY21" fmla="*/ 307 h 10000"/>
                <a:gd name="connsiteX22" fmla="*/ 8754 w 10000"/>
                <a:gd name="connsiteY22" fmla="*/ 184 h 10000"/>
                <a:gd name="connsiteX23" fmla="*/ 8356 w 10000"/>
                <a:gd name="connsiteY23" fmla="*/ 101 h 10000"/>
                <a:gd name="connsiteX24" fmla="*/ 7943 w 10000"/>
                <a:gd name="connsiteY24" fmla="*/ 21 h 10000"/>
                <a:gd name="connsiteX25" fmla="*/ 7526 w 10000"/>
                <a:gd name="connsiteY25" fmla="*/ 0 h 10000"/>
                <a:gd name="connsiteX26" fmla="*/ 3458 w 10000"/>
                <a:gd name="connsiteY26" fmla="*/ 1989 h 10000"/>
                <a:gd name="connsiteX27" fmla="*/ 3003 w 10000"/>
                <a:gd name="connsiteY27" fmla="*/ 2540 h 10000"/>
                <a:gd name="connsiteX28" fmla="*/ 2570 w 10000"/>
                <a:gd name="connsiteY28" fmla="*/ 3116 h 10000"/>
                <a:gd name="connsiteX29" fmla="*/ 2155 w 10000"/>
                <a:gd name="connsiteY29" fmla="*/ 3730 h 10000"/>
                <a:gd name="connsiteX30" fmla="*/ 1757 w 10000"/>
                <a:gd name="connsiteY30" fmla="*/ 4386 h 10000"/>
                <a:gd name="connsiteX31" fmla="*/ 1384 w 10000"/>
                <a:gd name="connsiteY31" fmla="*/ 5062 h 10000"/>
                <a:gd name="connsiteX32" fmla="*/ 1028 w 10000"/>
                <a:gd name="connsiteY32" fmla="*/ 5737 h 10000"/>
                <a:gd name="connsiteX33" fmla="*/ 674 w 10000"/>
                <a:gd name="connsiteY33" fmla="*/ 6455 h 10000"/>
                <a:gd name="connsiteX34" fmla="*/ 0 w 10000"/>
                <a:gd name="connsiteY34" fmla="*/ 7890 h 10000"/>
                <a:gd name="connsiteX0" fmla="*/ 0 w 10000"/>
                <a:gd name="connsiteY0" fmla="*/ 7869 h 9979"/>
                <a:gd name="connsiteX1" fmla="*/ 0 w 10000"/>
                <a:gd name="connsiteY1" fmla="*/ 7869 h 9979"/>
                <a:gd name="connsiteX2" fmla="*/ 495 w 10000"/>
                <a:gd name="connsiteY2" fmla="*/ 8934 h 9979"/>
                <a:gd name="connsiteX3" fmla="*/ 948 w 10000"/>
                <a:gd name="connsiteY3" fmla="*/ 9979 h 9979"/>
                <a:gd name="connsiteX4" fmla="*/ 1403 w 10000"/>
                <a:gd name="connsiteY4" fmla="*/ 9201 h 9979"/>
                <a:gd name="connsiteX5" fmla="*/ 1816 w 10000"/>
                <a:gd name="connsiteY5" fmla="*/ 8382 h 9979"/>
                <a:gd name="connsiteX6" fmla="*/ 2253 w 10000"/>
                <a:gd name="connsiteY6" fmla="*/ 7581 h 9979"/>
                <a:gd name="connsiteX7" fmla="*/ 2626 w 10000"/>
                <a:gd name="connsiteY7" fmla="*/ 6761 h 9979"/>
                <a:gd name="connsiteX8" fmla="*/ 3380 w 10000"/>
                <a:gd name="connsiteY8" fmla="*/ 5144 h 9979"/>
                <a:gd name="connsiteX9" fmla="*/ 3756 w 10000"/>
                <a:gd name="connsiteY9" fmla="*/ 4365 h 9979"/>
                <a:gd name="connsiteX10" fmla="*/ 7843 w 10000"/>
                <a:gd name="connsiteY10" fmla="*/ 389 h 9979"/>
                <a:gd name="connsiteX11" fmla="*/ 8157 w 10000"/>
                <a:gd name="connsiteY11" fmla="*/ 471 h 9979"/>
                <a:gd name="connsiteX12" fmla="*/ 8437 w 10000"/>
                <a:gd name="connsiteY12" fmla="*/ 613 h 9979"/>
                <a:gd name="connsiteX13" fmla="*/ 8734 w 10000"/>
                <a:gd name="connsiteY13" fmla="*/ 759 h 9979"/>
                <a:gd name="connsiteX14" fmla="*/ 8989 w 10000"/>
                <a:gd name="connsiteY14" fmla="*/ 964 h 9979"/>
                <a:gd name="connsiteX15" fmla="*/ 9267 w 10000"/>
                <a:gd name="connsiteY15" fmla="*/ 1229 h 9979"/>
                <a:gd name="connsiteX16" fmla="*/ 9505 w 10000"/>
                <a:gd name="connsiteY16" fmla="*/ 1515 h 9979"/>
                <a:gd name="connsiteX17" fmla="*/ 9781 w 10000"/>
                <a:gd name="connsiteY17" fmla="*/ 1843 h 9979"/>
                <a:gd name="connsiteX18" fmla="*/ 10000 w 10000"/>
                <a:gd name="connsiteY18" fmla="*/ 2192 h 9979"/>
                <a:gd name="connsiteX19" fmla="*/ 9838 w 10000"/>
                <a:gd name="connsiteY19" fmla="*/ 635 h 9979"/>
                <a:gd name="connsiteX20" fmla="*/ 9484 w 10000"/>
                <a:gd name="connsiteY20" fmla="*/ 449 h 9979"/>
                <a:gd name="connsiteX21" fmla="*/ 9129 w 10000"/>
                <a:gd name="connsiteY21" fmla="*/ 286 h 9979"/>
                <a:gd name="connsiteX22" fmla="*/ 8754 w 10000"/>
                <a:gd name="connsiteY22" fmla="*/ 163 h 9979"/>
                <a:gd name="connsiteX23" fmla="*/ 8356 w 10000"/>
                <a:gd name="connsiteY23" fmla="*/ 80 h 9979"/>
                <a:gd name="connsiteX24" fmla="*/ 7943 w 10000"/>
                <a:gd name="connsiteY24" fmla="*/ 0 h 9979"/>
                <a:gd name="connsiteX25" fmla="*/ 3458 w 10000"/>
                <a:gd name="connsiteY25" fmla="*/ 1968 h 9979"/>
                <a:gd name="connsiteX26" fmla="*/ 3003 w 10000"/>
                <a:gd name="connsiteY26" fmla="*/ 2519 h 9979"/>
                <a:gd name="connsiteX27" fmla="*/ 2570 w 10000"/>
                <a:gd name="connsiteY27" fmla="*/ 3095 h 9979"/>
                <a:gd name="connsiteX28" fmla="*/ 2155 w 10000"/>
                <a:gd name="connsiteY28" fmla="*/ 3709 h 9979"/>
                <a:gd name="connsiteX29" fmla="*/ 1757 w 10000"/>
                <a:gd name="connsiteY29" fmla="*/ 4365 h 9979"/>
                <a:gd name="connsiteX30" fmla="*/ 1384 w 10000"/>
                <a:gd name="connsiteY30" fmla="*/ 5041 h 9979"/>
                <a:gd name="connsiteX31" fmla="*/ 1028 w 10000"/>
                <a:gd name="connsiteY31" fmla="*/ 5716 h 9979"/>
                <a:gd name="connsiteX32" fmla="*/ 674 w 10000"/>
                <a:gd name="connsiteY32" fmla="*/ 6434 h 9979"/>
                <a:gd name="connsiteX33" fmla="*/ 0 w 10000"/>
                <a:gd name="connsiteY33" fmla="*/ 7869 h 9979"/>
                <a:gd name="connsiteX0" fmla="*/ 0 w 10000"/>
                <a:gd name="connsiteY0" fmla="*/ 7806 h 9920"/>
                <a:gd name="connsiteX1" fmla="*/ 0 w 10000"/>
                <a:gd name="connsiteY1" fmla="*/ 7806 h 9920"/>
                <a:gd name="connsiteX2" fmla="*/ 495 w 10000"/>
                <a:gd name="connsiteY2" fmla="*/ 8873 h 9920"/>
                <a:gd name="connsiteX3" fmla="*/ 948 w 10000"/>
                <a:gd name="connsiteY3" fmla="*/ 9920 h 9920"/>
                <a:gd name="connsiteX4" fmla="*/ 1403 w 10000"/>
                <a:gd name="connsiteY4" fmla="*/ 9140 h 9920"/>
                <a:gd name="connsiteX5" fmla="*/ 1816 w 10000"/>
                <a:gd name="connsiteY5" fmla="*/ 8320 h 9920"/>
                <a:gd name="connsiteX6" fmla="*/ 2253 w 10000"/>
                <a:gd name="connsiteY6" fmla="*/ 7517 h 9920"/>
                <a:gd name="connsiteX7" fmla="*/ 2626 w 10000"/>
                <a:gd name="connsiteY7" fmla="*/ 6695 h 9920"/>
                <a:gd name="connsiteX8" fmla="*/ 3380 w 10000"/>
                <a:gd name="connsiteY8" fmla="*/ 5075 h 9920"/>
                <a:gd name="connsiteX9" fmla="*/ 3756 w 10000"/>
                <a:gd name="connsiteY9" fmla="*/ 4294 h 9920"/>
                <a:gd name="connsiteX10" fmla="*/ 7843 w 10000"/>
                <a:gd name="connsiteY10" fmla="*/ 310 h 9920"/>
                <a:gd name="connsiteX11" fmla="*/ 8157 w 10000"/>
                <a:gd name="connsiteY11" fmla="*/ 392 h 9920"/>
                <a:gd name="connsiteX12" fmla="*/ 8437 w 10000"/>
                <a:gd name="connsiteY12" fmla="*/ 534 h 9920"/>
                <a:gd name="connsiteX13" fmla="*/ 8734 w 10000"/>
                <a:gd name="connsiteY13" fmla="*/ 681 h 9920"/>
                <a:gd name="connsiteX14" fmla="*/ 8989 w 10000"/>
                <a:gd name="connsiteY14" fmla="*/ 886 h 9920"/>
                <a:gd name="connsiteX15" fmla="*/ 9267 w 10000"/>
                <a:gd name="connsiteY15" fmla="*/ 1152 h 9920"/>
                <a:gd name="connsiteX16" fmla="*/ 9505 w 10000"/>
                <a:gd name="connsiteY16" fmla="*/ 1438 h 9920"/>
                <a:gd name="connsiteX17" fmla="*/ 9781 w 10000"/>
                <a:gd name="connsiteY17" fmla="*/ 1767 h 9920"/>
                <a:gd name="connsiteX18" fmla="*/ 10000 w 10000"/>
                <a:gd name="connsiteY18" fmla="*/ 2117 h 9920"/>
                <a:gd name="connsiteX19" fmla="*/ 9838 w 10000"/>
                <a:gd name="connsiteY19" fmla="*/ 556 h 9920"/>
                <a:gd name="connsiteX20" fmla="*/ 9484 w 10000"/>
                <a:gd name="connsiteY20" fmla="*/ 370 h 9920"/>
                <a:gd name="connsiteX21" fmla="*/ 9129 w 10000"/>
                <a:gd name="connsiteY21" fmla="*/ 207 h 9920"/>
                <a:gd name="connsiteX22" fmla="*/ 8754 w 10000"/>
                <a:gd name="connsiteY22" fmla="*/ 83 h 9920"/>
                <a:gd name="connsiteX23" fmla="*/ 8356 w 10000"/>
                <a:gd name="connsiteY23" fmla="*/ 0 h 9920"/>
                <a:gd name="connsiteX24" fmla="*/ 3458 w 10000"/>
                <a:gd name="connsiteY24" fmla="*/ 1892 h 9920"/>
                <a:gd name="connsiteX25" fmla="*/ 3003 w 10000"/>
                <a:gd name="connsiteY25" fmla="*/ 2444 h 9920"/>
                <a:gd name="connsiteX26" fmla="*/ 2570 w 10000"/>
                <a:gd name="connsiteY26" fmla="*/ 3022 h 9920"/>
                <a:gd name="connsiteX27" fmla="*/ 2155 w 10000"/>
                <a:gd name="connsiteY27" fmla="*/ 3637 h 9920"/>
                <a:gd name="connsiteX28" fmla="*/ 1757 w 10000"/>
                <a:gd name="connsiteY28" fmla="*/ 4294 h 9920"/>
                <a:gd name="connsiteX29" fmla="*/ 1384 w 10000"/>
                <a:gd name="connsiteY29" fmla="*/ 4972 h 9920"/>
                <a:gd name="connsiteX30" fmla="*/ 1028 w 10000"/>
                <a:gd name="connsiteY30" fmla="*/ 5648 h 9920"/>
                <a:gd name="connsiteX31" fmla="*/ 674 w 10000"/>
                <a:gd name="connsiteY31" fmla="*/ 6368 h 9920"/>
                <a:gd name="connsiteX32" fmla="*/ 0 w 10000"/>
                <a:gd name="connsiteY32" fmla="*/ 7806 h 992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437 w 10000"/>
                <a:gd name="connsiteY11" fmla="*/ 538 h 10000"/>
                <a:gd name="connsiteX12" fmla="*/ 8734 w 10000"/>
                <a:gd name="connsiteY12" fmla="*/ 686 h 10000"/>
                <a:gd name="connsiteX13" fmla="*/ 8989 w 10000"/>
                <a:gd name="connsiteY13" fmla="*/ 893 h 10000"/>
                <a:gd name="connsiteX14" fmla="*/ 9267 w 10000"/>
                <a:gd name="connsiteY14" fmla="*/ 1161 h 10000"/>
                <a:gd name="connsiteX15" fmla="*/ 9505 w 10000"/>
                <a:gd name="connsiteY15" fmla="*/ 1450 h 10000"/>
                <a:gd name="connsiteX16" fmla="*/ 9781 w 10000"/>
                <a:gd name="connsiteY16" fmla="*/ 1781 h 10000"/>
                <a:gd name="connsiteX17" fmla="*/ 10000 w 10000"/>
                <a:gd name="connsiteY17" fmla="*/ 2134 h 10000"/>
                <a:gd name="connsiteX18" fmla="*/ 9838 w 10000"/>
                <a:gd name="connsiteY18" fmla="*/ 560 h 10000"/>
                <a:gd name="connsiteX19" fmla="*/ 9484 w 10000"/>
                <a:gd name="connsiteY19" fmla="*/ 373 h 10000"/>
                <a:gd name="connsiteX20" fmla="*/ 9129 w 10000"/>
                <a:gd name="connsiteY20" fmla="*/ 209 h 10000"/>
                <a:gd name="connsiteX21" fmla="*/ 8754 w 10000"/>
                <a:gd name="connsiteY21" fmla="*/ 84 h 10000"/>
                <a:gd name="connsiteX22" fmla="*/ 8356 w 10000"/>
                <a:gd name="connsiteY22" fmla="*/ 0 h 10000"/>
                <a:gd name="connsiteX23" fmla="*/ 3458 w 10000"/>
                <a:gd name="connsiteY23" fmla="*/ 1907 h 10000"/>
                <a:gd name="connsiteX24" fmla="*/ 3003 w 10000"/>
                <a:gd name="connsiteY24" fmla="*/ 2464 h 10000"/>
                <a:gd name="connsiteX25" fmla="*/ 2570 w 10000"/>
                <a:gd name="connsiteY25" fmla="*/ 3046 h 10000"/>
                <a:gd name="connsiteX26" fmla="*/ 2155 w 10000"/>
                <a:gd name="connsiteY26" fmla="*/ 3666 h 10000"/>
                <a:gd name="connsiteX27" fmla="*/ 1757 w 10000"/>
                <a:gd name="connsiteY27" fmla="*/ 4329 h 10000"/>
                <a:gd name="connsiteX28" fmla="*/ 1384 w 10000"/>
                <a:gd name="connsiteY28" fmla="*/ 5012 h 10000"/>
                <a:gd name="connsiteX29" fmla="*/ 1028 w 10000"/>
                <a:gd name="connsiteY29" fmla="*/ 5694 h 10000"/>
                <a:gd name="connsiteX30" fmla="*/ 674 w 10000"/>
                <a:gd name="connsiteY30" fmla="*/ 6419 h 10000"/>
                <a:gd name="connsiteX31" fmla="*/ 0 w 10000"/>
                <a:gd name="connsiteY31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157 w 10000"/>
                <a:gd name="connsiteY10" fmla="*/ 395 h 10000"/>
                <a:gd name="connsiteX11" fmla="*/ 8734 w 10000"/>
                <a:gd name="connsiteY11" fmla="*/ 686 h 10000"/>
                <a:gd name="connsiteX12" fmla="*/ 8989 w 10000"/>
                <a:gd name="connsiteY12" fmla="*/ 893 h 10000"/>
                <a:gd name="connsiteX13" fmla="*/ 9267 w 10000"/>
                <a:gd name="connsiteY13" fmla="*/ 1161 h 10000"/>
                <a:gd name="connsiteX14" fmla="*/ 9505 w 10000"/>
                <a:gd name="connsiteY14" fmla="*/ 1450 h 10000"/>
                <a:gd name="connsiteX15" fmla="*/ 9781 w 10000"/>
                <a:gd name="connsiteY15" fmla="*/ 1781 h 10000"/>
                <a:gd name="connsiteX16" fmla="*/ 10000 w 10000"/>
                <a:gd name="connsiteY16" fmla="*/ 2134 h 10000"/>
                <a:gd name="connsiteX17" fmla="*/ 9838 w 10000"/>
                <a:gd name="connsiteY17" fmla="*/ 560 h 10000"/>
                <a:gd name="connsiteX18" fmla="*/ 9484 w 10000"/>
                <a:gd name="connsiteY18" fmla="*/ 373 h 10000"/>
                <a:gd name="connsiteX19" fmla="*/ 9129 w 10000"/>
                <a:gd name="connsiteY19" fmla="*/ 209 h 10000"/>
                <a:gd name="connsiteX20" fmla="*/ 8754 w 10000"/>
                <a:gd name="connsiteY20" fmla="*/ 84 h 10000"/>
                <a:gd name="connsiteX21" fmla="*/ 8356 w 10000"/>
                <a:gd name="connsiteY21" fmla="*/ 0 h 10000"/>
                <a:gd name="connsiteX22" fmla="*/ 3458 w 10000"/>
                <a:gd name="connsiteY22" fmla="*/ 1907 h 10000"/>
                <a:gd name="connsiteX23" fmla="*/ 3003 w 10000"/>
                <a:gd name="connsiteY23" fmla="*/ 2464 h 10000"/>
                <a:gd name="connsiteX24" fmla="*/ 2570 w 10000"/>
                <a:gd name="connsiteY24" fmla="*/ 3046 h 10000"/>
                <a:gd name="connsiteX25" fmla="*/ 2155 w 10000"/>
                <a:gd name="connsiteY25" fmla="*/ 3666 h 10000"/>
                <a:gd name="connsiteX26" fmla="*/ 1757 w 10000"/>
                <a:gd name="connsiteY26" fmla="*/ 4329 h 10000"/>
                <a:gd name="connsiteX27" fmla="*/ 1384 w 10000"/>
                <a:gd name="connsiteY27" fmla="*/ 5012 h 10000"/>
                <a:gd name="connsiteX28" fmla="*/ 1028 w 10000"/>
                <a:gd name="connsiteY28" fmla="*/ 5694 h 10000"/>
                <a:gd name="connsiteX29" fmla="*/ 674 w 10000"/>
                <a:gd name="connsiteY29" fmla="*/ 6419 h 10000"/>
                <a:gd name="connsiteX30" fmla="*/ 0 w 10000"/>
                <a:gd name="connsiteY30" fmla="*/ 7869 h 10000"/>
                <a:gd name="connsiteX0" fmla="*/ 0 w 10000"/>
                <a:gd name="connsiteY0" fmla="*/ 7869 h 10000"/>
                <a:gd name="connsiteX1" fmla="*/ 0 w 10000"/>
                <a:gd name="connsiteY1" fmla="*/ 7869 h 10000"/>
                <a:gd name="connsiteX2" fmla="*/ 495 w 10000"/>
                <a:gd name="connsiteY2" fmla="*/ 8945 h 10000"/>
                <a:gd name="connsiteX3" fmla="*/ 948 w 10000"/>
                <a:gd name="connsiteY3" fmla="*/ 10000 h 10000"/>
                <a:gd name="connsiteX4" fmla="*/ 1403 w 10000"/>
                <a:gd name="connsiteY4" fmla="*/ 9214 h 10000"/>
                <a:gd name="connsiteX5" fmla="*/ 1816 w 10000"/>
                <a:gd name="connsiteY5" fmla="*/ 8387 h 10000"/>
                <a:gd name="connsiteX6" fmla="*/ 2253 w 10000"/>
                <a:gd name="connsiteY6" fmla="*/ 7578 h 10000"/>
                <a:gd name="connsiteX7" fmla="*/ 2626 w 10000"/>
                <a:gd name="connsiteY7" fmla="*/ 6749 h 10000"/>
                <a:gd name="connsiteX8" fmla="*/ 3380 w 10000"/>
                <a:gd name="connsiteY8" fmla="*/ 5116 h 10000"/>
                <a:gd name="connsiteX9" fmla="*/ 3756 w 10000"/>
                <a:gd name="connsiteY9" fmla="*/ 4329 h 10000"/>
                <a:gd name="connsiteX10" fmla="*/ 8734 w 10000"/>
                <a:gd name="connsiteY10" fmla="*/ 686 h 10000"/>
                <a:gd name="connsiteX11" fmla="*/ 8989 w 10000"/>
                <a:gd name="connsiteY11" fmla="*/ 893 h 10000"/>
                <a:gd name="connsiteX12" fmla="*/ 9267 w 10000"/>
                <a:gd name="connsiteY12" fmla="*/ 1161 h 10000"/>
                <a:gd name="connsiteX13" fmla="*/ 9505 w 10000"/>
                <a:gd name="connsiteY13" fmla="*/ 1450 h 10000"/>
                <a:gd name="connsiteX14" fmla="*/ 9781 w 10000"/>
                <a:gd name="connsiteY14" fmla="*/ 1781 h 10000"/>
                <a:gd name="connsiteX15" fmla="*/ 10000 w 10000"/>
                <a:gd name="connsiteY15" fmla="*/ 2134 h 10000"/>
                <a:gd name="connsiteX16" fmla="*/ 9838 w 10000"/>
                <a:gd name="connsiteY16" fmla="*/ 560 h 10000"/>
                <a:gd name="connsiteX17" fmla="*/ 9484 w 10000"/>
                <a:gd name="connsiteY17" fmla="*/ 373 h 10000"/>
                <a:gd name="connsiteX18" fmla="*/ 9129 w 10000"/>
                <a:gd name="connsiteY18" fmla="*/ 209 h 10000"/>
                <a:gd name="connsiteX19" fmla="*/ 8754 w 10000"/>
                <a:gd name="connsiteY19" fmla="*/ 84 h 10000"/>
                <a:gd name="connsiteX20" fmla="*/ 8356 w 10000"/>
                <a:gd name="connsiteY20" fmla="*/ 0 h 10000"/>
                <a:gd name="connsiteX21" fmla="*/ 3458 w 10000"/>
                <a:gd name="connsiteY21" fmla="*/ 1907 h 10000"/>
                <a:gd name="connsiteX22" fmla="*/ 3003 w 10000"/>
                <a:gd name="connsiteY22" fmla="*/ 2464 h 10000"/>
                <a:gd name="connsiteX23" fmla="*/ 2570 w 10000"/>
                <a:gd name="connsiteY23" fmla="*/ 3046 h 10000"/>
                <a:gd name="connsiteX24" fmla="*/ 2155 w 10000"/>
                <a:gd name="connsiteY24" fmla="*/ 3666 h 10000"/>
                <a:gd name="connsiteX25" fmla="*/ 1757 w 10000"/>
                <a:gd name="connsiteY25" fmla="*/ 4329 h 10000"/>
                <a:gd name="connsiteX26" fmla="*/ 1384 w 10000"/>
                <a:gd name="connsiteY26" fmla="*/ 5012 h 10000"/>
                <a:gd name="connsiteX27" fmla="*/ 1028 w 10000"/>
                <a:gd name="connsiteY27" fmla="*/ 5694 h 10000"/>
                <a:gd name="connsiteX28" fmla="*/ 674 w 10000"/>
                <a:gd name="connsiteY28" fmla="*/ 6419 h 10000"/>
                <a:gd name="connsiteX29" fmla="*/ 0 w 10000"/>
                <a:gd name="connsiteY29" fmla="*/ 7869 h 10000"/>
                <a:gd name="connsiteX0" fmla="*/ 0 w 10000"/>
                <a:gd name="connsiteY0" fmla="*/ 7785 h 9916"/>
                <a:gd name="connsiteX1" fmla="*/ 0 w 10000"/>
                <a:gd name="connsiteY1" fmla="*/ 7785 h 9916"/>
                <a:gd name="connsiteX2" fmla="*/ 495 w 10000"/>
                <a:gd name="connsiteY2" fmla="*/ 8861 h 9916"/>
                <a:gd name="connsiteX3" fmla="*/ 948 w 10000"/>
                <a:gd name="connsiteY3" fmla="*/ 9916 h 9916"/>
                <a:gd name="connsiteX4" fmla="*/ 1403 w 10000"/>
                <a:gd name="connsiteY4" fmla="*/ 9130 h 9916"/>
                <a:gd name="connsiteX5" fmla="*/ 1816 w 10000"/>
                <a:gd name="connsiteY5" fmla="*/ 8303 h 9916"/>
                <a:gd name="connsiteX6" fmla="*/ 2253 w 10000"/>
                <a:gd name="connsiteY6" fmla="*/ 7494 h 9916"/>
                <a:gd name="connsiteX7" fmla="*/ 2626 w 10000"/>
                <a:gd name="connsiteY7" fmla="*/ 6665 h 9916"/>
                <a:gd name="connsiteX8" fmla="*/ 3380 w 10000"/>
                <a:gd name="connsiteY8" fmla="*/ 5032 h 9916"/>
                <a:gd name="connsiteX9" fmla="*/ 3756 w 10000"/>
                <a:gd name="connsiteY9" fmla="*/ 4245 h 9916"/>
                <a:gd name="connsiteX10" fmla="*/ 8734 w 10000"/>
                <a:gd name="connsiteY10" fmla="*/ 602 h 9916"/>
                <a:gd name="connsiteX11" fmla="*/ 8989 w 10000"/>
                <a:gd name="connsiteY11" fmla="*/ 809 h 9916"/>
                <a:gd name="connsiteX12" fmla="*/ 9267 w 10000"/>
                <a:gd name="connsiteY12" fmla="*/ 1077 h 9916"/>
                <a:gd name="connsiteX13" fmla="*/ 9505 w 10000"/>
                <a:gd name="connsiteY13" fmla="*/ 1366 h 9916"/>
                <a:gd name="connsiteX14" fmla="*/ 9781 w 10000"/>
                <a:gd name="connsiteY14" fmla="*/ 1697 h 9916"/>
                <a:gd name="connsiteX15" fmla="*/ 10000 w 10000"/>
                <a:gd name="connsiteY15" fmla="*/ 2050 h 9916"/>
                <a:gd name="connsiteX16" fmla="*/ 9838 w 10000"/>
                <a:gd name="connsiteY16" fmla="*/ 476 h 9916"/>
                <a:gd name="connsiteX17" fmla="*/ 9484 w 10000"/>
                <a:gd name="connsiteY17" fmla="*/ 289 h 9916"/>
                <a:gd name="connsiteX18" fmla="*/ 9129 w 10000"/>
                <a:gd name="connsiteY18" fmla="*/ 125 h 9916"/>
                <a:gd name="connsiteX19" fmla="*/ 8754 w 10000"/>
                <a:gd name="connsiteY19" fmla="*/ 0 h 9916"/>
                <a:gd name="connsiteX20" fmla="*/ 3458 w 10000"/>
                <a:gd name="connsiteY20" fmla="*/ 1823 h 9916"/>
                <a:gd name="connsiteX21" fmla="*/ 3003 w 10000"/>
                <a:gd name="connsiteY21" fmla="*/ 2380 h 9916"/>
                <a:gd name="connsiteX22" fmla="*/ 2570 w 10000"/>
                <a:gd name="connsiteY22" fmla="*/ 2962 h 9916"/>
                <a:gd name="connsiteX23" fmla="*/ 2155 w 10000"/>
                <a:gd name="connsiteY23" fmla="*/ 3582 h 9916"/>
                <a:gd name="connsiteX24" fmla="*/ 1757 w 10000"/>
                <a:gd name="connsiteY24" fmla="*/ 4245 h 9916"/>
                <a:gd name="connsiteX25" fmla="*/ 1384 w 10000"/>
                <a:gd name="connsiteY25" fmla="*/ 4928 h 9916"/>
                <a:gd name="connsiteX26" fmla="*/ 1028 w 10000"/>
                <a:gd name="connsiteY26" fmla="*/ 5610 h 9916"/>
                <a:gd name="connsiteX27" fmla="*/ 674 w 10000"/>
                <a:gd name="connsiteY27" fmla="*/ 6335 h 9916"/>
                <a:gd name="connsiteX28" fmla="*/ 0 w 10000"/>
                <a:gd name="connsiteY28" fmla="*/ 7785 h 9916"/>
                <a:gd name="connsiteX0" fmla="*/ 0 w 10000"/>
                <a:gd name="connsiteY0" fmla="*/ 7725 h 9874"/>
                <a:gd name="connsiteX1" fmla="*/ 0 w 10000"/>
                <a:gd name="connsiteY1" fmla="*/ 7725 h 9874"/>
                <a:gd name="connsiteX2" fmla="*/ 495 w 10000"/>
                <a:gd name="connsiteY2" fmla="*/ 8810 h 9874"/>
                <a:gd name="connsiteX3" fmla="*/ 948 w 10000"/>
                <a:gd name="connsiteY3" fmla="*/ 9874 h 9874"/>
                <a:gd name="connsiteX4" fmla="*/ 1403 w 10000"/>
                <a:gd name="connsiteY4" fmla="*/ 9081 h 9874"/>
                <a:gd name="connsiteX5" fmla="*/ 1816 w 10000"/>
                <a:gd name="connsiteY5" fmla="*/ 8247 h 9874"/>
                <a:gd name="connsiteX6" fmla="*/ 2253 w 10000"/>
                <a:gd name="connsiteY6" fmla="*/ 7431 h 9874"/>
                <a:gd name="connsiteX7" fmla="*/ 2626 w 10000"/>
                <a:gd name="connsiteY7" fmla="*/ 6595 h 9874"/>
                <a:gd name="connsiteX8" fmla="*/ 3380 w 10000"/>
                <a:gd name="connsiteY8" fmla="*/ 4949 h 9874"/>
                <a:gd name="connsiteX9" fmla="*/ 3756 w 10000"/>
                <a:gd name="connsiteY9" fmla="*/ 4155 h 9874"/>
                <a:gd name="connsiteX10" fmla="*/ 8734 w 10000"/>
                <a:gd name="connsiteY10" fmla="*/ 481 h 9874"/>
                <a:gd name="connsiteX11" fmla="*/ 8989 w 10000"/>
                <a:gd name="connsiteY11" fmla="*/ 690 h 9874"/>
                <a:gd name="connsiteX12" fmla="*/ 9267 w 10000"/>
                <a:gd name="connsiteY12" fmla="*/ 960 h 9874"/>
                <a:gd name="connsiteX13" fmla="*/ 9505 w 10000"/>
                <a:gd name="connsiteY13" fmla="*/ 1252 h 9874"/>
                <a:gd name="connsiteX14" fmla="*/ 9781 w 10000"/>
                <a:gd name="connsiteY14" fmla="*/ 1585 h 9874"/>
                <a:gd name="connsiteX15" fmla="*/ 10000 w 10000"/>
                <a:gd name="connsiteY15" fmla="*/ 1941 h 9874"/>
                <a:gd name="connsiteX16" fmla="*/ 9838 w 10000"/>
                <a:gd name="connsiteY16" fmla="*/ 354 h 9874"/>
                <a:gd name="connsiteX17" fmla="*/ 9484 w 10000"/>
                <a:gd name="connsiteY17" fmla="*/ 165 h 9874"/>
                <a:gd name="connsiteX18" fmla="*/ 9129 w 10000"/>
                <a:gd name="connsiteY18" fmla="*/ 0 h 9874"/>
                <a:gd name="connsiteX19" fmla="*/ 3458 w 10000"/>
                <a:gd name="connsiteY19" fmla="*/ 1712 h 9874"/>
                <a:gd name="connsiteX20" fmla="*/ 3003 w 10000"/>
                <a:gd name="connsiteY20" fmla="*/ 2274 h 9874"/>
                <a:gd name="connsiteX21" fmla="*/ 2570 w 10000"/>
                <a:gd name="connsiteY21" fmla="*/ 2861 h 9874"/>
                <a:gd name="connsiteX22" fmla="*/ 2155 w 10000"/>
                <a:gd name="connsiteY22" fmla="*/ 3486 h 9874"/>
                <a:gd name="connsiteX23" fmla="*/ 1757 w 10000"/>
                <a:gd name="connsiteY23" fmla="*/ 4155 h 9874"/>
                <a:gd name="connsiteX24" fmla="*/ 1384 w 10000"/>
                <a:gd name="connsiteY24" fmla="*/ 4844 h 9874"/>
                <a:gd name="connsiteX25" fmla="*/ 1028 w 10000"/>
                <a:gd name="connsiteY25" fmla="*/ 5532 h 9874"/>
                <a:gd name="connsiteX26" fmla="*/ 674 w 10000"/>
                <a:gd name="connsiteY26" fmla="*/ 6263 h 9874"/>
                <a:gd name="connsiteX27" fmla="*/ 0 w 10000"/>
                <a:gd name="connsiteY27" fmla="*/ 7725 h 9874"/>
                <a:gd name="connsiteX0" fmla="*/ 0 w 10000"/>
                <a:gd name="connsiteY0" fmla="*/ 7657 h 9833"/>
                <a:gd name="connsiteX1" fmla="*/ 0 w 10000"/>
                <a:gd name="connsiteY1" fmla="*/ 7657 h 9833"/>
                <a:gd name="connsiteX2" fmla="*/ 495 w 10000"/>
                <a:gd name="connsiteY2" fmla="*/ 8755 h 9833"/>
                <a:gd name="connsiteX3" fmla="*/ 948 w 10000"/>
                <a:gd name="connsiteY3" fmla="*/ 9833 h 9833"/>
                <a:gd name="connsiteX4" fmla="*/ 1403 w 10000"/>
                <a:gd name="connsiteY4" fmla="*/ 9030 h 9833"/>
                <a:gd name="connsiteX5" fmla="*/ 1816 w 10000"/>
                <a:gd name="connsiteY5" fmla="*/ 8185 h 9833"/>
                <a:gd name="connsiteX6" fmla="*/ 2253 w 10000"/>
                <a:gd name="connsiteY6" fmla="*/ 7359 h 9833"/>
                <a:gd name="connsiteX7" fmla="*/ 2626 w 10000"/>
                <a:gd name="connsiteY7" fmla="*/ 6512 h 9833"/>
                <a:gd name="connsiteX8" fmla="*/ 3380 w 10000"/>
                <a:gd name="connsiteY8" fmla="*/ 4845 h 9833"/>
                <a:gd name="connsiteX9" fmla="*/ 3756 w 10000"/>
                <a:gd name="connsiteY9" fmla="*/ 4041 h 9833"/>
                <a:gd name="connsiteX10" fmla="*/ 8734 w 10000"/>
                <a:gd name="connsiteY10" fmla="*/ 320 h 9833"/>
                <a:gd name="connsiteX11" fmla="*/ 8989 w 10000"/>
                <a:gd name="connsiteY11" fmla="*/ 532 h 9833"/>
                <a:gd name="connsiteX12" fmla="*/ 9267 w 10000"/>
                <a:gd name="connsiteY12" fmla="*/ 805 h 9833"/>
                <a:gd name="connsiteX13" fmla="*/ 9505 w 10000"/>
                <a:gd name="connsiteY13" fmla="*/ 1101 h 9833"/>
                <a:gd name="connsiteX14" fmla="*/ 9781 w 10000"/>
                <a:gd name="connsiteY14" fmla="*/ 1438 h 9833"/>
                <a:gd name="connsiteX15" fmla="*/ 10000 w 10000"/>
                <a:gd name="connsiteY15" fmla="*/ 1799 h 9833"/>
                <a:gd name="connsiteX16" fmla="*/ 9838 w 10000"/>
                <a:gd name="connsiteY16" fmla="*/ 192 h 9833"/>
                <a:gd name="connsiteX17" fmla="*/ 9484 w 10000"/>
                <a:gd name="connsiteY17" fmla="*/ 0 h 9833"/>
                <a:gd name="connsiteX18" fmla="*/ 3458 w 10000"/>
                <a:gd name="connsiteY18" fmla="*/ 1567 h 9833"/>
                <a:gd name="connsiteX19" fmla="*/ 3003 w 10000"/>
                <a:gd name="connsiteY19" fmla="*/ 2136 h 9833"/>
                <a:gd name="connsiteX20" fmla="*/ 2570 w 10000"/>
                <a:gd name="connsiteY20" fmla="*/ 2731 h 9833"/>
                <a:gd name="connsiteX21" fmla="*/ 2155 w 10000"/>
                <a:gd name="connsiteY21" fmla="*/ 3363 h 9833"/>
                <a:gd name="connsiteX22" fmla="*/ 1757 w 10000"/>
                <a:gd name="connsiteY22" fmla="*/ 4041 h 9833"/>
                <a:gd name="connsiteX23" fmla="*/ 1384 w 10000"/>
                <a:gd name="connsiteY23" fmla="*/ 4739 h 9833"/>
                <a:gd name="connsiteX24" fmla="*/ 1028 w 10000"/>
                <a:gd name="connsiteY24" fmla="*/ 5436 h 9833"/>
                <a:gd name="connsiteX25" fmla="*/ 674 w 10000"/>
                <a:gd name="connsiteY25" fmla="*/ 6176 h 9833"/>
                <a:gd name="connsiteX26" fmla="*/ 0 w 10000"/>
                <a:gd name="connsiteY26" fmla="*/ 7657 h 9833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8734 w 10000"/>
                <a:gd name="connsiteY10" fmla="*/ 325 h 10000"/>
                <a:gd name="connsiteX11" fmla="*/ 9267 w 10000"/>
                <a:gd name="connsiteY11" fmla="*/ 819 h 10000"/>
                <a:gd name="connsiteX12" fmla="*/ 9505 w 10000"/>
                <a:gd name="connsiteY12" fmla="*/ 1120 h 10000"/>
                <a:gd name="connsiteX13" fmla="*/ 9781 w 10000"/>
                <a:gd name="connsiteY13" fmla="*/ 1462 h 10000"/>
                <a:gd name="connsiteX14" fmla="*/ 10000 w 10000"/>
                <a:gd name="connsiteY14" fmla="*/ 1830 h 10000"/>
                <a:gd name="connsiteX15" fmla="*/ 9838 w 10000"/>
                <a:gd name="connsiteY15" fmla="*/ 195 h 10000"/>
                <a:gd name="connsiteX16" fmla="*/ 9484 w 10000"/>
                <a:gd name="connsiteY16" fmla="*/ 0 h 10000"/>
                <a:gd name="connsiteX17" fmla="*/ 3458 w 10000"/>
                <a:gd name="connsiteY17" fmla="*/ 1594 h 10000"/>
                <a:gd name="connsiteX18" fmla="*/ 3003 w 10000"/>
                <a:gd name="connsiteY18" fmla="*/ 2172 h 10000"/>
                <a:gd name="connsiteX19" fmla="*/ 2570 w 10000"/>
                <a:gd name="connsiteY19" fmla="*/ 2777 h 10000"/>
                <a:gd name="connsiteX20" fmla="*/ 2155 w 10000"/>
                <a:gd name="connsiteY20" fmla="*/ 3420 h 10000"/>
                <a:gd name="connsiteX21" fmla="*/ 1757 w 10000"/>
                <a:gd name="connsiteY21" fmla="*/ 4110 h 10000"/>
                <a:gd name="connsiteX22" fmla="*/ 1384 w 10000"/>
                <a:gd name="connsiteY22" fmla="*/ 4819 h 10000"/>
                <a:gd name="connsiteX23" fmla="*/ 1028 w 10000"/>
                <a:gd name="connsiteY23" fmla="*/ 5528 h 10000"/>
                <a:gd name="connsiteX24" fmla="*/ 674 w 10000"/>
                <a:gd name="connsiteY24" fmla="*/ 6281 h 10000"/>
                <a:gd name="connsiteX25" fmla="*/ 0 w 10000"/>
                <a:gd name="connsiteY25" fmla="*/ 7787 h 10000"/>
                <a:gd name="connsiteX0" fmla="*/ 0 w 10000"/>
                <a:gd name="connsiteY0" fmla="*/ 7787 h 10000"/>
                <a:gd name="connsiteX1" fmla="*/ 0 w 10000"/>
                <a:gd name="connsiteY1" fmla="*/ 7787 h 10000"/>
                <a:gd name="connsiteX2" fmla="*/ 495 w 10000"/>
                <a:gd name="connsiteY2" fmla="*/ 8904 h 10000"/>
                <a:gd name="connsiteX3" fmla="*/ 948 w 10000"/>
                <a:gd name="connsiteY3" fmla="*/ 10000 h 10000"/>
                <a:gd name="connsiteX4" fmla="*/ 1403 w 10000"/>
                <a:gd name="connsiteY4" fmla="*/ 9183 h 10000"/>
                <a:gd name="connsiteX5" fmla="*/ 1816 w 10000"/>
                <a:gd name="connsiteY5" fmla="*/ 8324 h 10000"/>
                <a:gd name="connsiteX6" fmla="*/ 2253 w 10000"/>
                <a:gd name="connsiteY6" fmla="*/ 7484 h 10000"/>
                <a:gd name="connsiteX7" fmla="*/ 2626 w 10000"/>
                <a:gd name="connsiteY7" fmla="*/ 6623 h 10000"/>
                <a:gd name="connsiteX8" fmla="*/ 3380 w 10000"/>
                <a:gd name="connsiteY8" fmla="*/ 4927 h 10000"/>
                <a:gd name="connsiteX9" fmla="*/ 3756 w 10000"/>
                <a:gd name="connsiteY9" fmla="*/ 4110 h 10000"/>
                <a:gd name="connsiteX10" fmla="*/ 9267 w 10000"/>
                <a:gd name="connsiteY10" fmla="*/ 819 h 10000"/>
                <a:gd name="connsiteX11" fmla="*/ 9505 w 10000"/>
                <a:gd name="connsiteY11" fmla="*/ 1120 h 10000"/>
                <a:gd name="connsiteX12" fmla="*/ 9781 w 10000"/>
                <a:gd name="connsiteY12" fmla="*/ 1462 h 10000"/>
                <a:gd name="connsiteX13" fmla="*/ 10000 w 10000"/>
                <a:gd name="connsiteY13" fmla="*/ 1830 h 10000"/>
                <a:gd name="connsiteX14" fmla="*/ 9838 w 10000"/>
                <a:gd name="connsiteY14" fmla="*/ 195 h 10000"/>
                <a:gd name="connsiteX15" fmla="*/ 9484 w 10000"/>
                <a:gd name="connsiteY15" fmla="*/ 0 h 10000"/>
                <a:gd name="connsiteX16" fmla="*/ 3458 w 10000"/>
                <a:gd name="connsiteY16" fmla="*/ 1594 h 10000"/>
                <a:gd name="connsiteX17" fmla="*/ 3003 w 10000"/>
                <a:gd name="connsiteY17" fmla="*/ 2172 h 10000"/>
                <a:gd name="connsiteX18" fmla="*/ 2570 w 10000"/>
                <a:gd name="connsiteY18" fmla="*/ 2777 h 10000"/>
                <a:gd name="connsiteX19" fmla="*/ 2155 w 10000"/>
                <a:gd name="connsiteY19" fmla="*/ 3420 h 10000"/>
                <a:gd name="connsiteX20" fmla="*/ 1757 w 10000"/>
                <a:gd name="connsiteY20" fmla="*/ 4110 h 10000"/>
                <a:gd name="connsiteX21" fmla="*/ 1384 w 10000"/>
                <a:gd name="connsiteY21" fmla="*/ 4819 h 10000"/>
                <a:gd name="connsiteX22" fmla="*/ 1028 w 10000"/>
                <a:gd name="connsiteY22" fmla="*/ 5528 h 10000"/>
                <a:gd name="connsiteX23" fmla="*/ 674 w 10000"/>
                <a:gd name="connsiteY23" fmla="*/ 6281 h 10000"/>
                <a:gd name="connsiteX24" fmla="*/ 0 w 10000"/>
                <a:gd name="connsiteY24" fmla="*/ 7787 h 10000"/>
                <a:gd name="connsiteX0" fmla="*/ 0 w 10000"/>
                <a:gd name="connsiteY0" fmla="*/ 7592 h 9805"/>
                <a:gd name="connsiteX1" fmla="*/ 0 w 10000"/>
                <a:gd name="connsiteY1" fmla="*/ 7592 h 9805"/>
                <a:gd name="connsiteX2" fmla="*/ 495 w 10000"/>
                <a:gd name="connsiteY2" fmla="*/ 8709 h 9805"/>
                <a:gd name="connsiteX3" fmla="*/ 948 w 10000"/>
                <a:gd name="connsiteY3" fmla="*/ 9805 h 9805"/>
                <a:gd name="connsiteX4" fmla="*/ 1403 w 10000"/>
                <a:gd name="connsiteY4" fmla="*/ 8988 h 9805"/>
                <a:gd name="connsiteX5" fmla="*/ 1816 w 10000"/>
                <a:gd name="connsiteY5" fmla="*/ 8129 h 9805"/>
                <a:gd name="connsiteX6" fmla="*/ 2253 w 10000"/>
                <a:gd name="connsiteY6" fmla="*/ 7289 h 9805"/>
                <a:gd name="connsiteX7" fmla="*/ 2626 w 10000"/>
                <a:gd name="connsiteY7" fmla="*/ 6428 h 9805"/>
                <a:gd name="connsiteX8" fmla="*/ 3380 w 10000"/>
                <a:gd name="connsiteY8" fmla="*/ 4732 h 9805"/>
                <a:gd name="connsiteX9" fmla="*/ 3756 w 10000"/>
                <a:gd name="connsiteY9" fmla="*/ 3915 h 9805"/>
                <a:gd name="connsiteX10" fmla="*/ 9267 w 10000"/>
                <a:gd name="connsiteY10" fmla="*/ 624 h 9805"/>
                <a:gd name="connsiteX11" fmla="*/ 9505 w 10000"/>
                <a:gd name="connsiteY11" fmla="*/ 925 h 9805"/>
                <a:gd name="connsiteX12" fmla="*/ 9781 w 10000"/>
                <a:gd name="connsiteY12" fmla="*/ 1267 h 9805"/>
                <a:gd name="connsiteX13" fmla="*/ 10000 w 10000"/>
                <a:gd name="connsiteY13" fmla="*/ 1635 h 9805"/>
                <a:gd name="connsiteX14" fmla="*/ 9838 w 10000"/>
                <a:gd name="connsiteY14" fmla="*/ 0 h 9805"/>
                <a:gd name="connsiteX15" fmla="*/ 3458 w 10000"/>
                <a:gd name="connsiteY15" fmla="*/ 1399 h 9805"/>
                <a:gd name="connsiteX16" fmla="*/ 3003 w 10000"/>
                <a:gd name="connsiteY16" fmla="*/ 1977 h 9805"/>
                <a:gd name="connsiteX17" fmla="*/ 2570 w 10000"/>
                <a:gd name="connsiteY17" fmla="*/ 2582 h 9805"/>
                <a:gd name="connsiteX18" fmla="*/ 2155 w 10000"/>
                <a:gd name="connsiteY18" fmla="*/ 3225 h 9805"/>
                <a:gd name="connsiteX19" fmla="*/ 1757 w 10000"/>
                <a:gd name="connsiteY19" fmla="*/ 3915 h 9805"/>
                <a:gd name="connsiteX20" fmla="*/ 1384 w 10000"/>
                <a:gd name="connsiteY20" fmla="*/ 4624 h 9805"/>
                <a:gd name="connsiteX21" fmla="*/ 1028 w 10000"/>
                <a:gd name="connsiteY21" fmla="*/ 5333 h 9805"/>
                <a:gd name="connsiteX22" fmla="*/ 674 w 10000"/>
                <a:gd name="connsiteY22" fmla="*/ 6086 h 9805"/>
                <a:gd name="connsiteX23" fmla="*/ 0 w 10000"/>
                <a:gd name="connsiteY23" fmla="*/ 7592 h 9805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267 w 10000"/>
                <a:gd name="connsiteY10" fmla="*/ 636 h 10000"/>
                <a:gd name="connsiteX11" fmla="*/ 9781 w 10000"/>
                <a:gd name="connsiteY11" fmla="*/ 1292 h 10000"/>
                <a:gd name="connsiteX12" fmla="*/ 10000 w 10000"/>
                <a:gd name="connsiteY12" fmla="*/ 1668 h 10000"/>
                <a:gd name="connsiteX13" fmla="*/ 9838 w 10000"/>
                <a:gd name="connsiteY13" fmla="*/ 0 h 10000"/>
                <a:gd name="connsiteX14" fmla="*/ 3458 w 10000"/>
                <a:gd name="connsiteY14" fmla="*/ 1427 h 10000"/>
                <a:gd name="connsiteX15" fmla="*/ 3003 w 10000"/>
                <a:gd name="connsiteY15" fmla="*/ 2016 h 10000"/>
                <a:gd name="connsiteX16" fmla="*/ 2570 w 10000"/>
                <a:gd name="connsiteY16" fmla="*/ 2633 h 10000"/>
                <a:gd name="connsiteX17" fmla="*/ 2155 w 10000"/>
                <a:gd name="connsiteY17" fmla="*/ 3289 h 10000"/>
                <a:gd name="connsiteX18" fmla="*/ 1757 w 10000"/>
                <a:gd name="connsiteY18" fmla="*/ 3993 h 10000"/>
                <a:gd name="connsiteX19" fmla="*/ 1384 w 10000"/>
                <a:gd name="connsiteY19" fmla="*/ 4716 h 10000"/>
                <a:gd name="connsiteX20" fmla="*/ 1028 w 10000"/>
                <a:gd name="connsiteY20" fmla="*/ 5439 h 10000"/>
                <a:gd name="connsiteX21" fmla="*/ 674 w 10000"/>
                <a:gd name="connsiteY21" fmla="*/ 6207 h 10000"/>
                <a:gd name="connsiteX22" fmla="*/ 0 w 10000"/>
                <a:gd name="connsiteY22" fmla="*/ 7743 h 10000"/>
                <a:gd name="connsiteX0" fmla="*/ 0 w 10000"/>
                <a:gd name="connsiteY0" fmla="*/ 7743 h 10000"/>
                <a:gd name="connsiteX1" fmla="*/ 0 w 10000"/>
                <a:gd name="connsiteY1" fmla="*/ 7743 h 10000"/>
                <a:gd name="connsiteX2" fmla="*/ 495 w 10000"/>
                <a:gd name="connsiteY2" fmla="*/ 8882 h 10000"/>
                <a:gd name="connsiteX3" fmla="*/ 948 w 10000"/>
                <a:gd name="connsiteY3" fmla="*/ 10000 h 10000"/>
                <a:gd name="connsiteX4" fmla="*/ 1403 w 10000"/>
                <a:gd name="connsiteY4" fmla="*/ 9167 h 10000"/>
                <a:gd name="connsiteX5" fmla="*/ 1816 w 10000"/>
                <a:gd name="connsiteY5" fmla="*/ 8291 h 10000"/>
                <a:gd name="connsiteX6" fmla="*/ 2253 w 10000"/>
                <a:gd name="connsiteY6" fmla="*/ 7434 h 10000"/>
                <a:gd name="connsiteX7" fmla="*/ 2626 w 10000"/>
                <a:gd name="connsiteY7" fmla="*/ 6556 h 10000"/>
                <a:gd name="connsiteX8" fmla="*/ 3380 w 10000"/>
                <a:gd name="connsiteY8" fmla="*/ 4826 h 10000"/>
                <a:gd name="connsiteX9" fmla="*/ 3756 w 10000"/>
                <a:gd name="connsiteY9" fmla="*/ 3993 h 10000"/>
                <a:gd name="connsiteX10" fmla="*/ 9781 w 10000"/>
                <a:gd name="connsiteY10" fmla="*/ 1292 h 10000"/>
                <a:gd name="connsiteX11" fmla="*/ 10000 w 10000"/>
                <a:gd name="connsiteY11" fmla="*/ 1668 h 10000"/>
                <a:gd name="connsiteX12" fmla="*/ 9838 w 10000"/>
                <a:gd name="connsiteY12" fmla="*/ 0 h 10000"/>
                <a:gd name="connsiteX13" fmla="*/ 3458 w 10000"/>
                <a:gd name="connsiteY13" fmla="*/ 1427 h 10000"/>
                <a:gd name="connsiteX14" fmla="*/ 3003 w 10000"/>
                <a:gd name="connsiteY14" fmla="*/ 2016 h 10000"/>
                <a:gd name="connsiteX15" fmla="*/ 2570 w 10000"/>
                <a:gd name="connsiteY15" fmla="*/ 2633 h 10000"/>
                <a:gd name="connsiteX16" fmla="*/ 2155 w 10000"/>
                <a:gd name="connsiteY16" fmla="*/ 3289 h 10000"/>
                <a:gd name="connsiteX17" fmla="*/ 1757 w 10000"/>
                <a:gd name="connsiteY17" fmla="*/ 3993 h 10000"/>
                <a:gd name="connsiteX18" fmla="*/ 1384 w 10000"/>
                <a:gd name="connsiteY18" fmla="*/ 4716 h 10000"/>
                <a:gd name="connsiteX19" fmla="*/ 1028 w 10000"/>
                <a:gd name="connsiteY19" fmla="*/ 5439 h 10000"/>
                <a:gd name="connsiteX20" fmla="*/ 674 w 10000"/>
                <a:gd name="connsiteY20" fmla="*/ 6207 h 10000"/>
                <a:gd name="connsiteX21" fmla="*/ 0 w 10000"/>
                <a:gd name="connsiteY21" fmla="*/ 7743 h 10000"/>
                <a:gd name="connsiteX0" fmla="*/ 0 w 10000"/>
                <a:gd name="connsiteY0" fmla="*/ 6451 h 8708"/>
                <a:gd name="connsiteX1" fmla="*/ 0 w 10000"/>
                <a:gd name="connsiteY1" fmla="*/ 6451 h 8708"/>
                <a:gd name="connsiteX2" fmla="*/ 495 w 10000"/>
                <a:gd name="connsiteY2" fmla="*/ 7590 h 8708"/>
                <a:gd name="connsiteX3" fmla="*/ 948 w 10000"/>
                <a:gd name="connsiteY3" fmla="*/ 8708 h 8708"/>
                <a:gd name="connsiteX4" fmla="*/ 1403 w 10000"/>
                <a:gd name="connsiteY4" fmla="*/ 7875 h 8708"/>
                <a:gd name="connsiteX5" fmla="*/ 1816 w 10000"/>
                <a:gd name="connsiteY5" fmla="*/ 6999 h 8708"/>
                <a:gd name="connsiteX6" fmla="*/ 2253 w 10000"/>
                <a:gd name="connsiteY6" fmla="*/ 6142 h 8708"/>
                <a:gd name="connsiteX7" fmla="*/ 2626 w 10000"/>
                <a:gd name="connsiteY7" fmla="*/ 5264 h 8708"/>
                <a:gd name="connsiteX8" fmla="*/ 3380 w 10000"/>
                <a:gd name="connsiteY8" fmla="*/ 3534 h 8708"/>
                <a:gd name="connsiteX9" fmla="*/ 3756 w 10000"/>
                <a:gd name="connsiteY9" fmla="*/ 2701 h 8708"/>
                <a:gd name="connsiteX10" fmla="*/ 9781 w 10000"/>
                <a:gd name="connsiteY10" fmla="*/ 0 h 8708"/>
                <a:gd name="connsiteX11" fmla="*/ 10000 w 10000"/>
                <a:gd name="connsiteY11" fmla="*/ 376 h 8708"/>
                <a:gd name="connsiteX12" fmla="*/ 3458 w 10000"/>
                <a:gd name="connsiteY12" fmla="*/ 135 h 8708"/>
                <a:gd name="connsiteX13" fmla="*/ 3003 w 10000"/>
                <a:gd name="connsiteY13" fmla="*/ 724 h 8708"/>
                <a:gd name="connsiteX14" fmla="*/ 2570 w 10000"/>
                <a:gd name="connsiteY14" fmla="*/ 1341 h 8708"/>
                <a:gd name="connsiteX15" fmla="*/ 2155 w 10000"/>
                <a:gd name="connsiteY15" fmla="*/ 1997 h 8708"/>
                <a:gd name="connsiteX16" fmla="*/ 1757 w 10000"/>
                <a:gd name="connsiteY16" fmla="*/ 2701 h 8708"/>
                <a:gd name="connsiteX17" fmla="*/ 1384 w 10000"/>
                <a:gd name="connsiteY17" fmla="*/ 3424 h 8708"/>
                <a:gd name="connsiteX18" fmla="*/ 1028 w 10000"/>
                <a:gd name="connsiteY18" fmla="*/ 4147 h 8708"/>
                <a:gd name="connsiteX19" fmla="*/ 674 w 10000"/>
                <a:gd name="connsiteY19" fmla="*/ 4915 h 8708"/>
                <a:gd name="connsiteX20" fmla="*/ 0 w 10000"/>
                <a:gd name="connsiteY20" fmla="*/ 6451 h 8708"/>
                <a:gd name="connsiteX0" fmla="*/ 0 w 9781"/>
                <a:gd name="connsiteY0" fmla="*/ 7617 h 10209"/>
                <a:gd name="connsiteX1" fmla="*/ 0 w 9781"/>
                <a:gd name="connsiteY1" fmla="*/ 7617 h 10209"/>
                <a:gd name="connsiteX2" fmla="*/ 495 w 9781"/>
                <a:gd name="connsiteY2" fmla="*/ 8925 h 10209"/>
                <a:gd name="connsiteX3" fmla="*/ 948 w 9781"/>
                <a:gd name="connsiteY3" fmla="*/ 10209 h 10209"/>
                <a:gd name="connsiteX4" fmla="*/ 1403 w 9781"/>
                <a:gd name="connsiteY4" fmla="*/ 9252 h 10209"/>
                <a:gd name="connsiteX5" fmla="*/ 1816 w 9781"/>
                <a:gd name="connsiteY5" fmla="*/ 8246 h 10209"/>
                <a:gd name="connsiteX6" fmla="*/ 2253 w 9781"/>
                <a:gd name="connsiteY6" fmla="*/ 7262 h 10209"/>
                <a:gd name="connsiteX7" fmla="*/ 2626 w 9781"/>
                <a:gd name="connsiteY7" fmla="*/ 6254 h 10209"/>
                <a:gd name="connsiteX8" fmla="*/ 3380 w 9781"/>
                <a:gd name="connsiteY8" fmla="*/ 4267 h 10209"/>
                <a:gd name="connsiteX9" fmla="*/ 3756 w 9781"/>
                <a:gd name="connsiteY9" fmla="*/ 3311 h 10209"/>
                <a:gd name="connsiteX10" fmla="*/ 9781 w 9781"/>
                <a:gd name="connsiteY10" fmla="*/ 209 h 10209"/>
                <a:gd name="connsiteX11" fmla="*/ 3458 w 9781"/>
                <a:gd name="connsiteY11" fmla="*/ 364 h 10209"/>
                <a:gd name="connsiteX12" fmla="*/ 3003 w 9781"/>
                <a:gd name="connsiteY12" fmla="*/ 1040 h 10209"/>
                <a:gd name="connsiteX13" fmla="*/ 2570 w 9781"/>
                <a:gd name="connsiteY13" fmla="*/ 1749 h 10209"/>
                <a:gd name="connsiteX14" fmla="*/ 2155 w 9781"/>
                <a:gd name="connsiteY14" fmla="*/ 2502 h 10209"/>
                <a:gd name="connsiteX15" fmla="*/ 1757 w 9781"/>
                <a:gd name="connsiteY15" fmla="*/ 3311 h 10209"/>
                <a:gd name="connsiteX16" fmla="*/ 1384 w 9781"/>
                <a:gd name="connsiteY16" fmla="*/ 4141 h 10209"/>
                <a:gd name="connsiteX17" fmla="*/ 1028 w 9781"/>
                <a:gd name="connsiteY17" fmla="*/ 4971 h 10209"/>
                <a:gd name="connsiteX18" fmla="*/ 674 w 9781"/>
                <a:gd name="connsiteY18" fmla="*/ 5853 h 10209"/>
                <a:gd name="connsiteX19" fmla="*/ 0 w 9781"/>
                <a:gd name="connsiteY19" fmla="*/ 7617 h 10209"/>
                <a:gd name="connsiteX0" fmla="*/ 0 w 3840"/>
                <a:gd name="connsiteY0" fmla="*/ 7104 h 9643"/>
                <a:gd name="connsiteX1" fmla="*/ 0 w 3840"/>
                <a:gd name="connsiteY1" fmla="*/ 7104 h 9643"/>
                <a:gd name="connsiteX2" fmla="*/ 506 w 3840"/>
                <a:gd name="connsiteY2" fmla="*/ 8385 h 9643"/>
                <a:gd name="connsiteX3" fmla="*/ 969 w 3840"/>
                <a:gd name="connsiteY3" fmla="*/ 9643 h 9643"/>
                <a:gd name="connsiteX4" fmla="*/ 1434 w 3840"/>
                <a:gd name="connsiteY4" fmla="*/ 8706 h 9643"/>
                <a:gd name="connsiteX5" fmla="*/ 1857 w 3840"/>
                <a:gd name="connsiteY5" fmla="*/ 7720 h 9643"/>
                <a:gd name="connsiteX6" fmla="*/ 2303 w 3840"/>
                <a:gd name="connsiteY6" fmla="*/ 6756 h 9643"/>
                <a:gd name="connsiteX7" fmla="*/ 2685 w 3840"/>
                <a:gd name="connsiteY7" fmla="*/ 5769 h 9643"/>
                <a:gd name="connsiteX8" fmla="*/ 3456 w 3840"/>
                <a:gd name="connsiteY8" fmla="*/ 3823 h 9643"/>
                <a:gd name="connsiteX9" fmla="*/ 3840 w 3840"/>
                <a:gd name="connsiteY9" fmla="*/ 2886 h 9643"/>
                <a:gd name="connsiteX10" fmla="*/ 3535 w 3840"/>
                <a:gd name="connsiteY10" fmla="*/ 0 h 9643"/>
                <a:gd name="connsiteX11" fmla="*/ 3070 w 3840"/>
                <a:gd name="connsiteY11" fmla="*/ 662 h 9643"/>
                <a:gd name="connsiteX12" fmla="*/ 2628 w 3840"/>
                <a:gd name="connsiteY12" fmla="*/ 1356 h 9643"/>
                <a:gd name="connsiteX13" fmla="*/ 2203 w 3840"/>
                <a:gd name="connsiteY13" fmla="*/ 2094 h 9643"/>
                <a:gd name="connsiteX14" fmla="*/ 1796 w 3840"/>
                <a:gd name="connsiteY14" fmla="*/ 2886 h 9643"/>
                <a:gd name="connsiteX15" fmla="*/ 1415 w 3840"/>
                <a:gd name="connsiteY15" fmla="*/ 3699 h 9643"/>
                <a:gd name="connsiteX16" fmla="*/ 1051 w 3840"/>
                <a:gd name="connsiteY16" fmla="*/ 4512 h 9643"/>
                <a:gd name="connsiteX17" fmla="*/ 689 w 3840"/>
                <a:gd name="connsiteY17" fmla="*/ 5376 h 9643"/>
                <a:gd name="connsiteX18" fmla="*/ 0 w 3840"/>
                <a:gd name="connsiteY18" fmla="*/ 7104 h 9643"/>
                <a:gd name="connsiteX0" fmla="*/ 0 w 9311"/>
                <a:gd name="connsiteY0" fmla="*/ 7367 h 10000"/>
                <a:gd name="connsiteX1" fmla="*/ 0 w 9311"/>
                <a:gd name="connsiteY1" fmla="*/ 7367 h 10000"/>
                <a:gd name="connsiteX2" fmla="*/ 1318 w 9311"/>
                <a:gd name="connsiteY2" fmla="*/ 8695 h 10000"/>
                <a:gd name="connsiteX3" fmla="*/ 2523 w 9311"/>
                <a:gd name="connsiteY3" fmla="*/ 10000 h 10000"/>
                <a:gd name="connsiteX4" fmla="*/ 3734 w 9311"/>
                <a:gd name="connsiteY4" fmla="*/ 9028 h 10000"/>
                <a:gd name="connsiteX5" fmla="*/ 4836 w 9311"/>
                <a:gd name="connsiteY5" fmla="*/ 8006 h 10000"/>
                <a:gd name="connsiteX6" fmla="*/ 5997 w 9311"/>
                <a:gd name="connsiteY6" fmla="*/ 7006 h 10000"/>
                <a:gd name="connsiteX7" fmla="*/ 6992 w 9311"/>
                <a:gd name="connsiteY7" fmla="*/ 5983 h 10000"/>
                <a:gd name="connsiteX8" fmla="*/ 9000 w 9311"/>
                <a:gd name="connsiteY8" fmla="*/ 3965 h 10000"/>
                <a:gd name="connsiteX9" fmla="*/ 9206 w 9311"/>
                <a:gd name="connsiteY9" fmla="*/ 0 h 10000"/>
                <a:gd name="connsiteX10" fmla="*/ 7995 w 9311"/>
                <a:gd name="connsiteY10" fmla="*/ 687 h 10000"/>
                <a:gd name="connsiteX11" fmla="*/ 6844 w 9311"/>
                <a:gd name="connsiteY11" fmla="*/ 1406 h 10000"/>
                <a:gd name="connsiteX12" fmla="*/ 5737 w 9311"/>
                <a:gd name="connsiteY12" fmla="*/ 2172 h 10000"/>
                <a:gd name="connsiteX13" fmla="*/ 4677 w 9311"/>
                <a:gd name="connsiteY13" fmla="*/ 2993 h 10000"/>
                <a:gd name="connsiteX14" fmla="*/ 3685 w 9311"/>
                <a:gd name="connsiteY14" fmla="*/ 3836 h 10000"/>
                <a:gd name="connsiteX15" fmla="*/ 2737 w 9311"/>
                <a:gd name="connsiteY15" fmla="*/ 4679 h 10000"/>
                <a:gd name="connsiteX16" fmla="*/ 1794 w 9311"/>
                <a:gd name="connsiteY16" fmla="*/ 5575 h 10000"/>
                <a:gd name="connsiteX17" fmla="*/ 0 w 9311"/>
                <a:gd name="connsiteY17" fmla="*/ 7367 h 10000"/>
                <a:gd name="connsiteX0" fmla="*/ 0 w 9690"/>
                <a:gd name="connsiteY0" fmla="*/ 6680 h 9313"/>
                <a:gd name="connsiteX1" fmla="*/ 0 w 9690"/>
                <a:gd name="connsiteY1" fmla="*/ 6680 h 9313"/>
                <a:gd name="connsiteX2" fmla="*/ 1416 w 9690"/>
                <a:gd name="connsiteY2" fmla="*/ 8008 h 9313"/>
                <a:gd name="connsiteX3" fmla="*/ 2710 w 9690"/>
                <a:gd name="connsiteY3" fmla="*/ 9313 h 9313"/>
                <a:gd name="connsiteX4" fmla="*/ 4010 w 9690"/>
                <a:gd name="connsiteY4" fmla="*/ 8341 h 9313"/>
                <a:gd name="connsiteX5" fmla="*/ 5194 w 9690"/>
                <a:gd name="connsiteY5" fmla="*/ 7319 h 9313"/>
                <a:gd name="connsiteX6" fmla="*/ 6441 w 9690"/>
                <a:gd name="connsiteY6" fmla="*/ 6319 h 9313"/>
                <a:gd name="connsiteX7" fmla="*/ 7509 w 9690"/>
                <a:gd name="connsiteY7" fmla="*/ 5296 h 9313"/>
                <a:gd name="connsiteX8" fmla="*/ 9666 w 9690"/>
                <a:gd name="connsiteY8" fmla="*/ 3278 h 9313"/>
                <a:gd name="connsiteX9" fmla="*/ 8587 w 9690"/>
                <a:gd name="connsiteY9" fmla="*/ 0 h 9313"/>
                <a:gd name="connsiteX10" fmla="*/ 7350 w 9690"/>
                <a:gd name="connsiteY10" fmla="*/ 719 h 9313"/>
                <a:gd name="connsiteX11" fmla="*/ 6162 w 9690"/>
                <a:gd name="connsiteY11" fmla="*/ 1485 h 9313"/>
                <a:gd name="connsiteX12" fmla="*/ 5023 w 9690"/>
                <a:gd name="connsiteY12" fmla="*/ 2306 h 9313"/>
                <a:gd name="connsiteX13" fmla="*/ 3958 w 9690"/>
                <a:gd name="connsiteY13" fmla="*/ 3149 h 9313"/>
                <a:gd name="connsiteX14" fmla="*/ 2940 w 9690"/>
                <a:gd name="connsiteY14" fmla="*/ 3992 h 9313"/>
                <a:gd name="connsiteX15" fmla="*/ 1927 w 9690"/>
                <a:gd name="connsiteY15" fmla="*/ 4888 h 9313"/>
                <a:gd name="connsiteX16" fmla="*/ 0 w 9690"/>
                <a:gd name="connsiteY16" fmla="*/ 6680 h 9313"/>
                <a:gd name="connsiteX0" fmla="*/ 0 w 8862"/>
                <a:gd name="connsiteY0" fmla="*/ 7173 h 10000"/>
                <a:gd name="connsiteX1" fmla="*/ 0 w 8862"/>
                <a:gd name="connsiteY1" fmla="*/ 7173 h 10000"/>
                <a:gd name="connsiteX2" fmla="*/ 1461 w 8862"/>
                <a:gd name="connsiteY2" fmla="*/ 8599 h 10000"/>
                <a:gd name="connsiteX3" fmla="*/ 2797 w 8862"/>
                <a:gd name="connsiteY3" fmla="*/ 10000 h 10000"/>
                <a:gd name="connsiteX4" fmla="*/ 4138 w 8862"/>
                <a:gd name="connsiteY4" fmla="*/ 8956 h 10000"/>
                <a:gd name="connsiteX5" fmla="*/ 5360 w 8862"/>
                <a:gd name="connsiteY5" fmla="*/ 7859 h 10000"/>
                <a:gd name="connsiteX6" fmla="*/ 6647 w 8862"/>
                <a:gd name="connsiteY6" fmla="*/ 6785 h 10000"/>
                <a:gd name="connsiteX7" fmla="*/ 7749 w 8862"/>
                <a:gd name="connsiteY7" fmla="*/ 5687 h 10000"/>
                <a:gd name="connsiteX8" fmla="*/ 8862 w 8862"/>
                <a:gd name="connsiteY8" fmla="*/ 0 h 10000"/>
                <a:gd name="connsiteX9" fmla="*/ 7585 w 8862"/>
                <a:gd name="connsiteY9" fmla="*/ 772 h 10000"/>
                <a:gd name="connsiteX10" fmla="*/ 6359 w 8862"/>
                <a:gd name="connsiteY10" fmla="*/ 1595 h 10000"/>
                <a:gd name="connsiteX11" fmla="*/ 5184 w 8862"/>
                <a:gd name="connsiteY11" fmla="*/ 2476 h 10000"/>
                <a:gd name="connsiteX12" fmla="*/ 4085 w 8862"/>
                <a:gd name="connsiteY12" fmla="*/ 3381 h 10000"/>
                <a:gd name="connsiteX13" fmla="*/ 3034 w 8862"/>
                <a:gd name="connsiteY13" fmla="*/ 4286 h 10000"/>
                <a:gd name="connsiteX14" fmla="*/ 1989 w 8862"/>
                <a:gd name="connsiteY14" fmla="*/ 5249 h 10000"/>
                <a:gd name="connsiteX15" fmla="*/ 0 w 8862"/>
                <a:gd name="connsiteY15" fmla="*/ 7173 h 10000"/>
                <a:gd name="connsiteX0" fmla="*/ 0 w 10017"/>
                <a:gd name="connsiteY0" fmla="*/ 7173 h 10000"/>
                <a:gd name="connsiteX1" fmla="*/ 0 w 10017"/>
                <a:gd name="connsiteY1" fmla="*/ 7173 h 10000"/>
                <a:gd name="connsiteX2" fmla="*/ 1649 w 10017"/>
                <a:gd name="connsiteY2" fmla="*/ 8599 h 10000"/>
                <a:gd name="connsiteX3" fmla="*/ 3156 w 10017"/>
                <a:gd name="connsiteY3" fmla="*/ 10000 h 10000"/>
                <a:gd name="connsiteX4" fmla="*/ 4669 w 10017"/>
                <a:gd name="connsiteY4" fmla="*/ 8956 h 10000"/>
                <a:gd name="connsiteX5" fmla="*/ 6048 w 10017"/>
                <a:gd name="connsiteY5" fmla="*/ 7859 h 10000"/>
                <a:gd name="connsiteX6" fmla="*/ 7501 w 10017"/>
                <a:gd name="connsiteY6" fmla="*/ 6785 h 10000"/>
                <a:gd name="connsiteX7" fmla="*/ 10017 w 10017"/>
                <a:gd name="connsiteY7" fmla="*/ 4522 h 10000"/>
                <a:gd name="connsiteX8" fmla="*/ 10000 w 10017"/>
                <a:gd name="connsiteY8" fmla="*/ 0 h 10000"/>
                <a:gd name="connsiteX9" fmla="*/ 8559 w 10017"/>
                <a:gd name="connsiteY9" fmla="*/ 772 h 10000"/>
                <a:gd name="connsiteX10" fmla="*/ 7176 w 10017"/>
                <a:gd name="connsiteY10" fmla="*/ 1595 h 10000"/>
                <a:gd name="connsiteX11" fmla="*/ 5850 w 10017"/>
                <a:gd name="connsiteY11" fmla="*/ 2476 h 10000"/>
                <a:gd name="connsiteX12" fmla="*/ 4610 w 10017"/>
                <a:gd name="connsiteY12" fmla="*/ 3381 h 10000"/>
                <a:gd name="connsiteX13" fmla="*/ 3424 w 10017"/>
                <a:gd name="connsiteY13" fmla="*/ 4286 h 10000"/>
                <a:gd name="connsiteX14" fmla="*/ 2244 w 10017"/>
                <a:gd name="connsiteY14" fmla="*/ 5249 h 10000"/>
                <a:gd name="connsiteX15" fmla="*/ 0 w 10017"/>
                <a:gd name="connsiteY15" fmla="*/ 7173 h 10000"/>
                <a:gd name="connsiteX0" fmla="*/ 0 w 13142"/>
                <a:gd name="connsiteY0" fmla="*/ 7193 h 10020"/>
                <a:gd name="connsiteX1" fmla="*/ 0 w 13142"/>
                <a:gd name="connsiteY1" fmla="*/ 7193 h 10020"/>
                <a:gd name="connsiteX2" fmla="*/ 1649 w 13142"/>
                <a:gd name="connsiteY2" fmla="*/ 8619 h 10020"/>
                <a:gd name="connsiteX3" fmla="*/ 3156 w 13142"/>
                <a:gd name="connsiteY3" fmla="*/ 10020 h 10020"/>
                <a:gd name="connsiteX4" fmla="*/ 4669 w 13142"/>
                <a:gd name="connsiteY4" fmla="*/ 8976 h 10020"/>
                <a:gd name="connsiteX5" fmla="*/ 6048 w 13142"/>
                <a:gd name="connsiteY5" fmla="*/ 7879 h 10020"/>
                <a:gd name="connsiteX6" fmla="*/ 7501 w 13142"/>
                <a:gd name="connsiteY6" fmla="*/ 6805 h 10020"/>
                <a:gd name="connsiteX7" fmla="*/ 13142 w 13142"/>
                <a:gd name="connsiteY7" fmla="*/ 498 h 10020"/>
                <a:gd name="connsiteX8" fmla="*/ 10000 w 13142"/>
                <a:gd name="connsiteY8" fmla="*/ 20 h 10020"/>
                <a:gd name="connsiteX9" fmla="*/ 8559 w 13142"/>
                <a:gd name="connsiteY9" fmla="*/ 792 h 10020"/>
                <a:gd name="connsiteX10" fmla="*/ 7176 w 13142"/>
                <a:gd name="connsiteY10" fmla="*/ 1615 h 10020"/>
                <a:gd name="connsiteX11" fmla="*/ 5850 w 13142"/>
                <a:gd name="connsiteY11" fmla="*/ 2496 h 10020"/>
                <a:gd name="connsiteX12" fmla="*/ 4610 w 13142"/>
                <a:gd name="connsiteY12" fmla="*/ 3401 h 10020"/>
                <a:gd name="connsiteX13" fmla="*/ 3424 w 13142"/>
                <a:gd name="connsiteY13" fmla="*/ 4306 h 10020"/>
                <a:gd name="connsiteX14" fmla="*/ 2244 w 13142"/>
                <a:gd name="connsiteY14" fmla="*/ 5269 h 10020"/>
                <a:gd name="connsiteX15" fmla="*/ 0 w 13142"/>
                <a:gd name="connsiteY15" fmla="*/ 7193 h 10020"/>
                <a:gd name="connsiteX0" fmla="*/ 0 w 13142"/>
                <a:gd name="connsiteY0" fmla="*/ 9366 h 12193"/>
                <a:gd name="connsiteX1" fmla="*/ 0 w 13142"/>
                <a:gd name="connsiteY1" fmla="*/ 9366 h 12193"/>
                <a:gd name="connsiteX2" fmla="*/ 1649 w 13142"/>
                <a:gd name="connsiteY2" fmla="*/ 10792 h 12193"/>
                <a:gd name="connsiteX3" fmla="*/ 3156 w 13142"/>
                <a:gd name="connsiteY3" fmla="*/ 12193 h 12193"/>
                <a:gd name="connsiteX4" fmla="*/ 4669 w 13142"/>
                <a:gd name="connsiteY4" fmla="*/ 11149 h 12193"/>
                <a:gd name="connsiteX5" fmla="*/ 6048 w 13142"/>
                <a:gd name="connsiteY5" fmla="*/ 10052 h 12193"/>
                <a:gd name="connsiteX6" fmla="*/ 7501 w 13142"/>
                <a:gd name="connsiteY6" fmla="*/ 8978 h 12193"/>
                <a:gd name="connsiteX7" fmla="*/ 13142 w 13142"/>
                <a:gd name="connsiteY7" fmla="*/ 2671 h 12193"/>
                <a:gd name="connsiteX8" fmla="*/ 10232 w 13142"/>
                <a:gd name="connsiteY8" fmla="*/ 0 h 12193"/>
                <a:gd name="connsiteX9" fmla="*/ 8559 w 13142"/>
                <a:gd name="connsiteY9" fmla="*/ 2965 h 12193"/>
                <a:gd name="connsiteX10" fmla="*/ 7176 w 13142"/>
                <a:gd name="connsiteY10" fmla="*/ 3788 h 12193"/>
                <a:gd name="connsiteX11" fmla="*/ 5850 w 13142"/>
                <a:gd name="connsiteY11" fmla="*/ 4669 h 12193"/>
                <a:gd name="connsiteX12" fmla="*/ 4610 w 13142"/>
                <a:gd name="connsiteY12" fmla="*/ 5574 h 12193"/>
                <a:gd name="connsiteX13" fmla="*/ 3424 w 13142"/>
                <a:gd name="connsiteY13" fmla="*/ 6479 h 12193"/>
                <a:gd name="connsiteX14" fmla="*/ 2244 w 13142"/>
                <a:gd name="connsiteY14" fmla="*/ 7442 h 12193"/>
                <a:gd name="connsiteX15" fmla="*/ 0 w 13142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965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559 w 13489"/>
                <a:gd name="connsiteY9" fmla="*/ 2280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176 w 13489"/>
                <a:gd name="connsiteY10" fmla="*/ 3788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8443 w 13489"/>
                <a:gd name="connsiteY9" fmla="*/ 1937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407 w 13489"/>
                <a:gd name="connsiteY10" fmla="*/ 3171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5850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8217 w 13489"/>
                <a:gd name="connsiteY10" fmla="*/ 3377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776 w 13489"/>
                <a:gd name="connsiteY11" fmla="*/ 4669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3489"/>
                <a:gd name="connsiteY0" fmla="*/ 9366 h 12193"/>
                <a:gd name="connsiteX1" fmla="*/ 0 w 13489"/>
                <a:gd name="connsiteY1" fmla="*/ 9366 h 12193"/>
                <a:gd name="connsiteX2" fmla="*/ 1649 w 13489"/>
                <a:gd name="connsiteY2" fmla="*/ 10792 h 12193"/>
                <a:gd name="connsiteX3" fmla="*/ 3156 w 13489"/>
                <a:gd name="connsiteY3" fmla="*/ 12193 h 12193"/>
                <a:gd name="connsiteX4" fmla="*/ 4669 w 13489"/>
                <a:gd name="connsiteY4" fmla="*/ 11149 h 12193"/>
                <a:gd name="connsiteX5" fmla="*/ 6048 w 13489"/>
                <a:gd name="connsiteY5" fmla="*/ 10052 h 12193"/>
                <a:gd name="connsiteX6" fmla="*/ 7501 w 13489"/>
                <a:gd name="connsiteY6" fmla="*/ 8978 h 12193"/>
                <a:gd name="connsiteX7" fmla="*/ 13489 w 13489"/>
                <a:gd name="connsiteY7" fmla="*/ 1643 h 12193"/>
                <a:gd name="connsiteX8" fmla="*/ 10232 w 13489"/>
                <a:gd name="connsiteY8" fmla="*/ 0 h 12193"/>
                <a:gd name="connsiteX9" fmla="*/ 9369 w 13489"/>
                <a:gd name="connsiteY9" fmla="*/ 1594 h 12193"/>
                <a:gd name="connsiteX10" fmla="*/ 7985 w 13489"/>
                <a:gd name="connsiteY10" fmla="*/ 3034 h 12193"/>
                <a:gd name="connsiteX11" fmla="*/ 6082 w 13489"/>
                <a:gd name="connsiteY11" fmla="*/ 4463 h 12193"/>
                <a:gd name="connsiteX12" fmla="*/ 4610 w 13489"/>
                <a:gd name="connsiteY12" fmla="*/ 5574 h 12193"/>
                <a:gd name="connsiteX13" fmla="*/ 3424 w 13489"/>
                <a:gd name="connsiteY13" fmla="*/ 6479 h 12193"/>
                <a:gd name="connsiteX14" fmla="*/ 2244 w 13489"/>
                <a:gd name="connsiteY14" fmla="*/ 7442 h 12193"/>
                <a:gd name="connsiteX15" fmla="*/ 0 w 13489"/>
                <a:gd name="connsiteY15" fmla="*/ 9366 h 12193"/>
                <a:gd name="connsiteX0" fmla="*/ 0 w 12100"/>
                <a:gd name="connsiteY0" fmla="*/ 9366 h 12193"/>
                <a:gd name="connsiteX1" fmla="*/ 0 w 12100"/>
                <a:gd name="connsiteY1" fmla="*/ 9366 h 12193"/>
                <a:gd name="connsiteX2" fmla="*/ 1649 w 12100"/>
                <a:gd name="connsiteY2" fmla="*/ 10792 h 12193"/>
                <a:gd name="connsiteX3" fmla="*/ 3156 w 12100"/>
                <a:gd name="connsiteY3" fmla="*/ 12193 h 12193"/>
                <a:gd name="connsiteX4" fmla="*/ 4669 w 12100"/>
                <a:gd name="connsiteY4" fmla="*/ 11149 h 12193"/>
                <a:gd name="connsiteX5" fmla="*/ 6048 w 12100"/>
                <a:gd name="connsiteY5" fmla="*/ 10052 h 12193"/>
                <a:gd name="connsiteX6" fmla="*/ 7501 w 12100"/>
                <a:gd name="connsiteY6" fmla="*/ 8978 h 12193"/>
                <a:gd name="connsiteX7" fmla="*/ 12100 w 12100"/>
                <a:gd name="connsiteY7" fmla="*/ 3082 h 12193"/>
                <a:gd name="connsiteX8" fmla="*/ 10232 w 12100"/>
                <a:gd name="connsiteY8" fmla="*/ 0 h 12193"/>
                <a:gd name="connsiteX9" fmla="*/ 9369 w 12100"/>
                <a:gd name="connsiteY9" fmla="*/ 1594 h 12193"/>
                <a:gd name="connsiteX10" fmla="*/ 7985 w 12100"/>
                <a:gd name="connsiteY10" fmla="*/ 3034 h 12193"/>
                <a:gd name="connsiteX11" fmla="*/ 6082 w 12100"/>
                <a:gd name="connsiteY11" fmla="*/ 4463 h 12193"/>
                <a:gd name="connsiteX12" fmla="*/ 4610 w 12100"/>
                <a:gd name="connsiteY12" fmla="*/ 5574 h 12193"/>
                <a:gd name="connsiteX13" fmla="*/ 3424 w 12100"/>
                <a:gd name="connsiteY13" fmla="*/ 6479 h 12193"/>
                <a:gd name="connsiteX14" fmla="*/ 2244 w 12100"/>
                <a:gd name="connsiteY14" fmla="*/ 7442 h 12193"/>
                <a:gd name="connsiteX15" fmla="*/ 0 w 12100"/>
                <a:gd name="connsiteY15" fmla="*/ 9366 h 12193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369 w 12200"/>
                <a:gd name="connsiteY9" fmla="*/ 1937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00"/>
                <a:gd name="connsiteY0" fmla="*/ 9709 h 12536"/>
                <a:gd name="connsiteX1" fmla="*/ 0 w 12200"/>
                <a:gd name="connsiteY1" fmla="*/ 9709 h 12536"/>
                <a:gd name="connsiteX2" fmla="*/ 1649 w 12200"/>
                <a:gd name="connsiteY2" fmla="*/ 11135 h 12536"/>
                <a:gd name="connsiteX3" fmla="*/ 3156 w 12200"/>
                <a:gd name="connsiteY3" fmla="*/ 12536 h 12536"/>
                <a:gd name="connsiteX4" fmla="*/ 4669 w 12200"/>
                <a:gd name="connsiteY4" fmla="*/ 11492 h 12536"/>
                <a:gd name="connsiteX5" fmla="*/ 6048 w 12200"/>
                <a:gd name="connsiteY5" fmla="*/ 10395 h 12536"/>
                <a:gd name="connsiteX6" fmla="*/ 7501 w 12200"/>
                <a:gd name="connsiteY6" fmla="*/ 9321 h 12536"/>
                <a:gd name="connsiteX7" fmla="*/ 12100 w 12200"/>
                <a:gd name="connsiteY7" fmla="*/ 3425 h 12536"/>
                <a:gd name="connsiteX8" fmla="*/ 12200 w 12200"/>
                <a:gd name="connsiteY8" fmla="*/ 0 h 12536"/>
                <a:gd name="connsiteX9" fmla="*/ 9832 w 12200"/>
                <a:gd name="connsiteY9" fmla="*/ 2143 h 12536"/>
                <a:gd name="connsiteX10" fmla="*/ 7985 w 12200"/>
                <a:gd name="connsiteY10" fmla="*/ 3377 h 12536"/>
                <a:gd name="connsiteX11" fmla="*/ 6082 w 12200"/>
                <a:gd name="connsiteY11" fmla="*/ 4806 h 12536"/>
                <a:gd name="connsiteX12" fmla="*/ 4610 w 12200"/>
                <a:gd name="connsiteY12" fmla="*/ 5917 h 12536"/>
                <a:gd name="connsiteX13" fmla="*/ 3424 w 12200"/>
                <a:gd name="connsiteY13" fmla="*/ 6822 h 12536"/>
                <a:gd name="connsiteX14" fmla="*/ 2244 w 12200"/>
                <a:gd name="connsiteY14" fmla="*/ 7785 h 12536"/>
                <a:gd name="connsiteX15" fmla="*/ 0 w 12200"/>
                <a:gd name="connsiteY15" fmla="*/ 9709 h 12536"/>
                <a:gd name="connsiteX0" fmla="*/ 0 w 12284"/>
                <a:gd name="connsiteY0" fmla="*/ 9709 h 12536"/>
                <a:gd name="connsiteX1" fmla="*/ 0 w 12284"/>
                <a:gd name="connsiteY1" fmla="*/ 9709 h 12536"/>
                <a:gd name="connsiteX2" fmla="*/ 1649 w 12284"/>
                <a:gd name="connsiteY2" fmla="*/ 11135 h 12536"/>
                <a:gd name="connsiteX3" fmla="*/ 3156 w 12284"/>
                <a:gd name="connsiteY3" fmla="*/ 12536 h 12536"/>
                <a:gd name="connsiteX4" fmla="*/ 4669 w 12284"/>
                <a:gd name="connsiteY4" fmla="*/ 11492 h 12536"/>
                <a:gd name="connsiteX5" fmla="*/ 6048 w 12284"/>
                <a:gd name="connsiteY5" fmla="*/ 10395 h 12536"/>
                <a:gd name="connsiteX6" fmla="*/ 7501 w 12284"/>
                <a:gd name="connsiteY6" fmla="*/ 9321 h 12536"/>
                <a:gd name="connsiteX7" fmla="*/ 12100 w 12284"/>
                <a:gd name="connsiteY7" fmla="*/ 3425 h 12536"/>
                <a:gd name="connsiteX8" fmla="*/ 12200 w 12284"/>
                <a:gd name="connsiteY8" fmla="*/ 0 h 12536"/>
                <a:gd name="connsiteX9" fmla="*/ 9832 w 12284"/>
                <a:gd name="connsiteY9" fmla="*/ 2143 h 12536"/>
                <a:gd name="connsiteX10" fmla="*/ 7985 w 12284"/>
                <a:gd name="connsiteY10" fmla="*/ 3377 h 12536"/>
                <a:gd name="connsiteX11" fmla="*/ 6082 w 12284"/>
                <a:gd name="connsiteY11" fmla="*/ 4806 h 12536"/>
                <a:gd name="connsiteX12" fmla="*/ 4610 w 12284"/>
                <a:gd name="connsiteY12" fmla="*/ 5917 h 12536"/>
                <a:gd name="connsiteX13" fmla="*/ 3424 w 12284"/>
                <a:gd name="connsiteY13" fmla="*/ 6822 h 12536"/>
                <a:gd name="connsiteX14" fmla="*/ 2244 w 12284"/>
                <a:gd name="connsiteY14" fmla="*/ 7785 h 12536"/>
                <a:gd name="connsiteX15" fmla="*/ 0 w 12284"/>
                <a:gd name="connsiteY15" fmla="*/ 9709 h 12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84" h="12536">
                  <a:moveTo>
                    <a:pt x="0" y="9709"/>
                  </a:moveTo>
                  <a:lnTo>
                    <a:pt x="0" y="9709"/>
                  </a:lnTo>
                  <a:lnTo>
                    <a:pt x="1649" y="11135"/>
                  </a:lnTo>
                  <a:cubicBezTo>
                    <a:pt x="2144" y="11603"/>
                    <a:pt x="2661" y="12066"/>
                    <a:pt x="3156" y="12536"/>
                  </a:cubicBezTo>
                  <a:lnTo>
                    <a:pt x="4669" y="11492"/>
                  </a:lnTo>
                  <a:lnTo>
                    <a:pt x="6048" y="10395"/>
                  </a:lnTo>
                  <a:lnTo>
                    <a:pt x="7501" y="9321"/>
                  </a:lnTo>
                  <a:lnTo>
                    <a:pt x="12100" y="3425"/>
                  </a:lnTo>
                  <a:cubicBezTo>
                    <a:pt x="12441" y="2672"/>
                    <a:pt x="12206" y="1507"/>
                    <a:pt x="12200" y="0"/>
                  </a:cubicBezTo>
                  <a:cubicBezTo>
                    <a:pt x="11604" y="646"/>
                    <a:pt x="10534" y="1580"/>
                    <a:pt x="9832" y="2143"/>
                  </a:cubicBezTo>
                  <a:cubicBezTo>
                    <a:pt x="9130" y="2706"/>
                    <a:pt x="8436" y="2979"/>
                    <a:pt x="7985" y="3377"/>
                  </a:cubicBezTo>
                  <a:lnTo>
                    <a:pt x="6082" y="4806"/>
                  </a:lnTo>
                  <a:lnTo>
                    <a:pt x="4610" y="5917"/>
                  </a:lnTo>
                  <a:lnTo>
                    <a:pt x="3424" y="6822"/>
                  </a:lnTo>
                  <a:lnTo>
                    <a:pt x="2244" y="7785"/>
                  </a:lnTo>
                  <a:lnTo>
                    <a:pt x="0" y="97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8" name="Freeform 82">
              <a:extLst>
                <a:ext uri="{FF2B5EF4-FFF2-40B4-BE49-F238E27FC236}">
                  <a16:creationId xmlns:a16="http://schemas.microsoft.com/office/drawing/2014/main" id="{E200B12A-6FFF-4DE8-91DA-9B8562816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5405" y="2679496"/>
              <a:ext cx="1322475" cy="667024"/>
            </a:xfrm>
            <a:custGeom>
              <a:avLst/>
              <a:gdLst>
                <a:gd name="T0" fmla="*/ 787 w 977"/>
                <a:gd name="T1" fmla="*/ 680 h 699"/>
                <a:gd name="T2" fmla="*/ 820 w 977"/>
                <a:gd name="T3" fmla="*/ 671 h 699"/>
                <a:gd name="T4" fmla="*/ 850 w 977"/>
                <a:gd name="T5" fmla="*/ 653 h 699"/>
                <a:gd name="T6" fmla="*/ 879 w 977"/>
                <a:gd name="T7" fmla="*/ 625 h 699"/>
                <a:gd name="T8" fmla="*/ 932 w 977"/>
                <a:gd name="T9" fmla="*/ 549 h 699"/>
                <a:gd name="T10" fmla="*/ 977 w 977"/>
                <a:gd name="T11" fmla="*/ 608 h 699"/>
                <a:gd name="T12" fmla="*/ 934 w 977"/>
                <a:gd name="T13" fmla="*/ 646 h 699"/>
                <a:gd name="T14" fmla="*/ 886 w 977"/>
                <a:gd name="T15" fmla="*/ 676 h 699"/>
                <a:gd name="T16" fmla="*/ 848 w 977"/>
                <a:gd name="T17" fmla="*/ 690 h 699"/>
                <a:gd name="T18" fmla="*/ 805 w 977"/>
                <a:gd name="T19" fmla="*/ 698 h 699"/>
                <a:gd name="T20" fmla="*/ 776 w 977"/>
                <a:gd name="T21" fmla="*/ 699 h 699"/>
                <a:gd name="T22" fmla="*/ 729 w 977"/>
                <a:gd name="T23" fmla="*/ 695 h 699"/>
                <a:gd name="T24" fmla="*/ 685 w 977"/>
                <a:gd name="T25" fmla="*/ 681 h 699"/>
                <a:gd name="T26" fmla="*/ 646 w 977"/>
                <a:gd name="T27" fmla="*/ 661 h 699"/>
                <a:gd name="T28" fmla="*/ 610 w 977"/>
                <a:gd name="T29" fmla="*/ 635 h 699"/>
                <a:gd name="T30" fmla="*/ 545 w 977"/>
                <a:gd name="T31" fmla="*/ 567 h 699"/>
                <a:gd name="T32" fmla="*/ 490 w 977"/>
                <a:gd name="T33" fmla="*/ 483 h 699"/>
                <a:gd name="T34" fmla="*/ 427 w 977"/>
                <a:gd name="T35" fmla="*/ 359 h 699"/>
                <a:gd name="T36" fmla="*/ 341 w 977"/>
                <a:gd name="T37" fmla="*/ 176 h 699"/>
                <a:gd name="T38" fmla="*/ 297 w 977"/>
                <a:gd name="T39" fmla="*/ 102 h 699"/>
                <a:gd name="T40" fmla="*/ 249 w 977"/>
                <a:gd name="T41" fmla="*/ 47 h 699"/>
                <a:gd name="T42" fmla="*/ 223 w 977"/>
                <a:gd name="T43" fmla="*/ 30 h 699"/>
                <a:gd name="T44" fmla="*/ 195 w 977"/>
                <a:gd name="T45" fmla="*/ 20 h 699"/>
                <a:gd name="T46" fmla="*/ 175 w 977"/>
                <a:gd name="T47" fmla="*/ 18 h 699"/>
                <a:gd name="T48" fmla="*/ 137 w 977"/>
                <a:gd name="T49" fmla="*/ 25 h 699"/>
                <a:gd name="T50" fmla="*/ 101 w 977"/>
                <a:gd name="T51" fmla="*/ 45 h 699"/>
                <a:gd name="T52" fmla="*/ 68 w 977"/>
                <a:gd name="T53" fmla="*/ 76 h 699"/>
                <a:gd name="T54" fmla="*/ 38 w 977"/>
                <a:gd name="T55" fmla="*/ 118 h 699"/>
                <a:gd name="T56" fmla="*/ 1 w 977"/>
                <a:gd name="T57" fmla="*/ 67 h 699"/>
                <a:gd name="T58" fmla="*/ 39 w 977"/>
                <a:gd name="T59" fmla="*/ 39 h 699"/>
                <a:gd name="T60" fmla="*/ 103 w 977"/>
                <a:gd name="T61" fmla="*/ 9 h 699"/>
                <a:gd name="T62" fmla="*/ 175 w 977"/>
                <a:gd name="T63" fmla="*/ 0 h 699"/>
                <a:gd name="T64" fmla="*/ 206 w 977"/>
                <a:gd name="T65" fmla="*/ 2 h 699"/>
                <a:gd name="T66" fmla="*/ 250 w 977"/>
                <a:gd name="T67" fmla="*/ 12 h 699"/>
                <a:gd name="T68" fmla="*/ 292 w 977"/>
                <a:gd name="T69" fmla="*/ 30 h 699"/>
                <a:gd name="T70" fmla="*/ 329 w 977"/>
                <a:gd name="T71" fmla="*/ 54 h 699"/>
                <a:gd name="T72" fmla="*/ 385 w 977"/>
                <a:gd name="T73" fmla="*/ 108 h 699"/>
                <a:gd name="T74" fmla="*/ 442 w 977"/>
                <a:gd name="T75" fmla="*/ 187 h 699"/>
                <a:gd name="T76" fmla="*/ 494 w 977"/>
                <a:gd name="T77" fmla="*/ 278 h 699"/>
                <a:gd name="T78" fmla="*/ 611 w 977"/>
                <a:gd name="T79" fmla="*/ 523 h 699"/>
                <a:gd name="T80" fmla="*/ 655 w 977"/>
                <a:gd name="T81" fmla="*/ 597 h 699"/>
                <a:gd name="T82" fmla="*/ 703 w 977"/>
                <a:gd name="T83" fmla="*/ 651 h 699"/>
                <a:gd name="T84" fmla="*/ 729 w 977"/>
                <a:gd name="T85" fmla="*/ 669 h 699"/>
                <a:gd name="T86" fmla="*/ 756 w 977"/>
                <a:gd name="T87" fmla="*/ 679 h 699"/>
                <a:gd name="T88" fmla="*/ 776 w 977"/>
                <a:gd name="T89" fmla="*/ 681 h 6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77" h="699">
                  <a:moveTo>
                    <a:pt x="776" y="681"/>
                  </a:moveTo>
                  <a:lnTo>
                    <a:pt x="776" y="681"/>
                  </a:lnTo>
                  <a:lnTo>
                    <a:pt x="787" y="680"/>
                  </a:lnTo>
                  <a:lnTo>
                    <a:pt x="799" y="679"/>
                  </a:lnTo>
                  <a:lnTo>
                    <a:pt x="810" y="676"/>
                  </a:lnTo>
                  <a:lnTo>
                    <a:pt x="820" y="671"/>
                  </a:lnTo>
                  <a:lnTo>
                    <a:pt x="830" y="667"/>
                  </a:lnTo>
                  <a:lnTo>
                    <a:pt x="840" y="660"/>
                  </a:lnTo>
                  <a:lnTo>
                    <a:pt x="850" y="653"/>
                  </a:lnTo>
                  <a:lnTo>
                    <a:pt x="861" y="644"/>
                  </a:lnTo>
                  <a:lnTo>
                    <a:pt x="870" y="635"/>
                  </a:lnTo>
                  <a:lnTo>
                    <a:pt x="879" y="625"/>
                  </a:lnTo>
                  <a:lnTo>
                    <a:pt x="898" y="603"/>
                  </a:lnTo>
                  <a:lnTo>
                    <a:pt x="914" y="577"/>
                  </a:lnTo>
                  <a:lnTo>
                    <a:pt x="932" y="549"/>
                  </a:lnTo>
                  <a:lnTo>
                    <a:pt x="954" y="579"/>
                  </a:lnTo>
                  <a:lnTo>
                    <a:pt x="977" y="608"/>
                  </a:lnTo>
                  <a:lnTo>
                    <a:pt x="956" y="628"/>
                  </a:lnTo>
                  <a:lnTo>
                    <a:pt x="934" y="646"/>
                  </a:lnTo>
                  <a:lnTo>
                    <a:pt x="911" y="662"/>
                  </a:lnTo>
                  <a:lnTo>
                    <a:pt x="899" y="669"/>
                  </a:lnTo>
                  <a:lnTo>
                    <a:pt x="886" y="676"/>
                  </a:lnTo>
                  <a:lnTo>
                    <a:pt x="874" y="681"/>
                  </a:lnTo>
                  <a:lnTo>
                    <a:pt x="862" y="686"/>
                  </a:lnTo>
                  <a:lnTo>
                    <a:pt x="848" y="690"/>
                  </a:lnTo>
                  <a:lnTo>
                    <a:pt x="835" y="693"/>
                  </a:lnTo>
                  <a:lnTo>
                    <a:pt x="820" y="696"/>
                  </a:lnTo>
                  <a:lnTo>
                    <a:pt x="805" y="698"/>
                  </a:lnTo>
                  <a:lnTo>
                    <a:pt x="791" y="699"/>
                  </a:lnTo>
                  <a:lnTo>
                    <a:pt x="776" y="699"/>
                  </a:lnTo>
                  <a:lnTo>
                    <a:pt x="759" y="699"/>
                  </a:lnTo>
                  <a:lnTo>
                    <a:pt x="744" y="697"/>
                  </a:lnTo>
                  <a:lnTo>
                    <a:pt x="729" y="695"/>
                  </a:lnTo>
                  <a:lnTo>
                    <a:pt x="714" y="691"/>
                  </a:lnTo>
                  <a:lnTo>
                    <a:pt x="700" y="687"/>
                  </a:lnTo>
                  <a:lnTo>
                    <a:pt x="685" y="681"/>
                  </a:lnTo>
                  <a:lnTo>
                    <a:pt x="672" y="676"/>
                  </a:lnTo>
                  <a:lnTo>
                    <a:pt x="659" y="669"/>
                  </a:lnTo>
                  <a:lnTo>
                    <a:pt x="646" y="661"/>
                  </a:lnTo>
                  <a:lnTo>
                    <a:pt x="633" y="653"/>
                  </a:lnTo>
                  <a:lnTo>
                    <a:pt x="621" y="644"/>
                  </a:lnTo>
                  <a:lnTo>
                    <a:pt x="610" y="635"/>
                  </a:lnTo>
                  <a:lnTo>
                    <a:pt x="587" y="614"/>
                  </a:lnTo>
                  <a:lnTo>
                    <a:pt x="565" y="592"/>
                  </a:lnTo>
                  <a:lnTo>
                    <a:pt x="545" y="567"/>
                  </a:lnTo>
                  <a:lnTo>
                    <a:pt x="526" y="540"/>
                  </a:lnTo>
                  <a:lnTo>
                    <a:pt x="508" y="512"/>
                  </a:lnTo>
                  <a:lnTo>
                    <a:pt x="490" y="483"/>
                  </a:lnTo>
                  <a:lnTo>
                    <a:pt x="473" y="453"/>
                  </a:lnTo>
                  <a:lnTo>
                    <a:pt x="457" y="421"/>
                  </a:lnTo>
                  <a:lnTo>
                    <a:pt x="427" y="359"/>
                  </a:lnTo>
                  <a:lnTo>
                    <a:pt x="369" y="233"/>
                  </a:lnTo>
                  <a:lnTo>
                    <a:pt x="355" y="204"/>
                  </a:lnTo>
                  <a:lnTo>
                    <a:pt x="341" y="176"/>
                  </a:lnTo>
                  <a:lnTo>
                    <a:pt x="327" y="149"/>
                  </a:lnTo>
                  <a:lnTo>
                    <a:pt x="312" y="124"/>
                  </a:lnTo>
                  <a:lnTo>
                    <a:pt x="297" y="102"/>
                  </a:lnTo>
                  <a:lnTo>
                    <a:pt x="282" y="81"/>
                  </a:lnTo>
                  <a:lnTo>
                    <a:pt x="266" y="63"/>
                  </a:lnTo>
                  <a:lnTo>
                    <a:pt x="249" y="47"/>
                  </a:lnTo>
                  <a:lnTo>
                    <a:pt x="241" y="41"/>
                  </a:lnTo>
                  <a:lnTo>
                    <a:pt x="232" y="35"/>
                  </a:lnTo>
                  <a:lnTo>
                    <a:pt x="223" y="30"/>
                  </a:lnTo>
                  <a:lnTo>
                    <a:pt x="214" y="26"/>
                  </a:lnTo>
                  <a:lnTo>
                    <a:pt x="204" y="22"/>
                  </a:lnTo>
                  <a:lnTo>
                    <a:pt x="195" y="20"/>
                  </a:lnTo>
                  <a:lnTo>
                    <a:pt x="185" y="18"/>
                  </a:lnTo>
                  <a:lnTo>
                    <a:pt x="175" y="18"/>
                  </a:lnTo>
                  <a:lnTo>
                    <a:pt x="161" y="18"/>
                  </a:lnTo>
                  <a:lnTo>
                    <a:pt x="149" y="21"/>
                  </a:lnTo>
                  <a:lnTo>
                    <a:pt x="137" y="25"/>
                  </a:lnTo>
                  <a:lnTo>
                    <a:pt x="124" y="30"/>
                  </a:lnTo>
                  <a:lnTo>
                    <a:pt x="113" y="37"/>
                  </a:lnTo>
                  <a:lnTo>
                    <a:pt x="101" y="45"/>
                  </a:lnTo>
                  <a:lnTo>
                    <a:pt x="91" y="54"/>
                  </a:lnTo>
                  <a:lnTo>
                    <a:pt x="79" y="65"/>
                  </a:lnTo>
                  <a:lnTo>
                    <a:pt x="68" y="76"/>
                  </a:lnTo>
                  <a:lnTo>
                    <a:pt x="58" y="90"/>
                  </a:lnTo>
                  <a:lnTo>
                    <a:pt x="48" y="103"/>
                  </a:lnTo>
                  <a:lnTo>
                    <a:pt x="38" y="118"/>
                  </a:lnTo>
                  <a:lnTo>
                    <a:pt x="19" y="150"/>
                  </a:lnTo>
                  <a:lnTo>
                    <a:pt x="0" y="185"/>
                  </a:lnTo>
                  <a:lnTo>
                    <a:pt x="1" y="67"/>
                  </a:lnTo>
                  <a:lnTo>
                    <a:pt x="19" y="52"/>
                  </a:lnTo>
                  <a:lnTo>
                    <a:pt x="39" y="39"/>
                  </a:lnTo>
                  <a:lnTo>
                    <a:pt x="59" y="27"/>
                  </a:lnTo>
                  <a:lnTo>
                    <a:pt x="81" y="17"/>
                  </a:lnTo>
                  <a:lnTo>
                    <a:pt x="103" y="9"/>
                  </a:lnTo>
                  <a:lnTo>
                    <a:pt x="125" y="3"/>
                  </a:lnTo>
                  <a:lnTo>
                    <a:pt x="150" y="0"/>
                  </a:lnTo>
                  <a:lnTo>
                    <a:pt x="175" y="0"/>
                  </a:lnTo>
                  <a:lnTo>
                    <a:pt x="191" y="0"/>
                  </a:lnTo>
                  <a:lnTo>
                    <a:pt x="206" y="2"/>
                  </a:lnTo>
                  <a:lnTo>
                    <a:pt x="222" y="4"/>
                  </a:lnTo>
                  <a:lnTo>
                    <a:pt x="237" y="8"/>
                  </a:lnTo>
                  <a:lnTo>
                    <a:pt x="250" y="12"/>
                  </a:lnTo>
                  <a:lnTo>
                    <a:pt x="265" y="17"/>
                  </a:lnTo>
                  <a:lnTo>
                    <a:pt x="278" y="24"/>
                  </a:lnTo>
                  <a:lnTo>
                    <a:pt x="292" y="30"/>
                  </a:lnTo>
                  <a:lnTo>
                    <a:pt x="304" y="37"/>
                  </a:lnTo>
                  <a:lnTo>
                    <a:pt x="317" y="45"/>
                  </a:lnTo>
                  <a:lnTo>
                    <a:pt x="329" y="54"/>
                  </a:lnTo>
                  <a:lnTo>
                    <a:pt x="340" y="64"/>
                  </a:lnTo>
                  <a:lnTo>
                    <a:pt x="363" y="84"/>
                  </a:lnTo>
                  <a:lnTo>
                    <a:pt x="385" y="108"/>
                  </a:lnTo>
                  <a:lnTo>
                    <a:pt x="405" y="132"/>
                  </a:lnTo>
                  <a:lnTo>
                    <a:pt x="424" y="159"/>
                  </a:lnTo>
                  <a:lnTo>
                    <a:pt x="442" y="187"/>
                  </a:lnTo>
                  <a:lnTo>
                    <a:pt x="460" y="216"/>
                  </a:lnTo>
                  <a:lnTo>
                    <a:pt x="477" y="246"/>
                  </a:lnTo>
                  <a:lnTo>
                    <a:pt x="494" y="278"/>
                  </a:lnTo>
                  <a:lnTo>
                    <a:pt x="524" y="341"/>
                  </a:lnTo>
                  <a:lnTo>
                    <a:pt x="583" y="465"/>
                  </a:lnTo>
                  <a:lnTo>
                    <a:pt x="611" y="523"/>
                  </a:lnTo>
                  <a:lnTo>
                    <a:pt x="626" y="549"/>
                  </a:lnTo>
                  <a:lnTo>
                    <a:pt x="640" y="574"/>
                  </a:lnTo>
                  <a:lnTo>
                    <a:pt x="655" y="597"/>
                  </a:lnTo>
                  <a:lnTo>
                    <a:pt x="671" y="617"/>
                  </a:lnTo>
                  <a:lnTo>
                    <a:pt x="686" y="636"/>
                  </a:lnTo>
                  <a:lnTo>
                    <a:pt x="703" y="651"/>
                  </a:lnTo>
                  <a:lnTo>
                    <a:pt x="711" y="658"/>
                  </a:lnTo>
                  <a:lnTo>
                    <a:pt x="720" y="663"/>
                  </a:lnTo>
                  <a:lnTo>
                    <a:pt x="729" y="669"/>
                  </a:lnTo>
                  <a:lnTo>
                    <a:pt x="738" y="673"/>
                  </a:lnTo>
                  <a:lnTo>
                    <a:pt x="747" y="677"/>
                  </a:lnTo>
                  <a:lnTo>
                    <a:pt x="756" y="679"/>
                  </a:lnTo>
                  <a:lnTo>
                    <a:pt x="766" y="680"/>
                  </a:lnTo>
                  <a:lnTo>
                    <a:pt x="776" y="68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9" name="Freeform 83">
              <a:extLst>
                <a:ext uri="{FF2B5EF4-FFF2-40B4-BE49-F238E27FC236}">
                  <a16:creationId xmlns:a16="http://schemas.microsoft.com/office/drawing/2014/main" id="{9F292306-DA35-4E7C-BAD6-89A93DE66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7146" y="2696673"/>
              <a:ext cx="1601318" cy="667024"/>
            </a:xfrm>
            <a:custGeom>
              <a:avLst/>
              <a:gdLst>
                <a:gd name="T0" fmla="*/ 816 w 1183"/>
                <a:gd name="T1" fmla="*/ 681 h 699"/>
                <a:gd name="T2" fmla="*/ 852 w 1183"/>
                <a:gd name="T3" fmla="*/ 670 h 699"/>
                <a:gd name="T4" fmla="*/ 885 w 1183"/>
                <a:gd name="T5" fmla="*/ 646 h 699"/>
                <a:gd name="T6" fmla="*/ 917 w 1183"/>
                <a:gd name="T7" fmla="*/ 613 h 699"/>
                <a:gd name="T8" fmla="*/ 956 w 1183"/>
                <a:gd name="T9" fmla="*/ 554 h 699"/>
                <a:gd name="T10" fmla="*/ 1012 w 1183"/>
                <a:gd name="T11" fmla="*/ 448 h 699"/>
                <a:gd name="T12" fmla="*/ 1090 w 1183"/>
                <a:gd name="T13" fmla="*/ 289 h 699"/>
                <a:gd name="T14" fmla="*/ 1134 w 1183"/>
                <a:gd name="T15" fmla="*/ 213 h 699"/>
                <a:gd name="T16" fmla="*/ 1183 w 1183"/>
                <a:gd name="T17" fmla="*/ 316 h 699"/>
                <a:gd name="T18" fmla="*/ 1112 w 1183"/>
                <a:gd name="T19" fmla="*/ 454 h 699"/>
                <a:gd name="T20" fmla="*/ 1053 w 1183"/>
                <a:gd name="T21" fmla="*/ 549 h 699"/>
                <a:gd name="T22" fmla="*/ 995 w 1183"/>
                <a:gd name="T23" fmla="*/ 616 h 699"/>
                <a:gd name="T24" fmla="*/ 957 w 1183"/>
                <a:gd name="T25" fmla="*/ 649 h 699"/>
                <a:gd name="T26" fmla="*/ 914 w 1183"/>
                <a:gd name="T27" fmla="*/ 674 h 699"/>
                <a:gd name="T28" fmla="*/ 870 w 1183"/>
                <a:gd name="T29" fmla="*/ 691 h 699"/>
                <a:gd name="T30" fmla="*/ 820 w 1183"/>
                <a:gd name="T31" fmla="*/ 699 h 699"/>
                <a:gd name="T32" fmla="*/ 786 w 1183"/>
                <a:gd name="T33" fmla="*/ 699 h 699"/>
                <a:gd name="T34" fmla="*/ 740 w 1183"/>
                <a:gd name="T35" fmla="*/ 691 h 699"/>
                <a:gd name="T36" fmla="*/ 699 w 1183"/>
                <a:gd name="T37" fmla="*/ 675 h 699"/>
                <a:gd name="T38" fmla="*/ 660 w 1183"/>
                <a:gd name="T39" fmla="*/ 654 h 699"/>
                <a:gd name="T40" fmla="*/ 614 w 1183"/>
                <a:gd name="T41" fmla="*/ 615 h 699"/>
                <a:gd name="T42" fmla="*/ 553 w 1183"/>
                <a:gd name="T43" fmla="*/ 540 h 699"/>
                <a:gd name="T44" fmla="*/ 500 w 1183"/>
                <a:gd name="T45" fmla="*/ 453 h 699"/>
                <a:gd name="T46" fmla="*/ 453 w 1183"/>
                <a:gd name="T47" fmla="*/ 358 h 699"/>
                <a:gd name="T48" fmla="*/ 351 w 1183"/>
                <a:gd name="T49" fmla="*/ 150 h 699"/>
                <a:gd name="T50" fmla="*/ 306 w 1183"/>
                <a:gd name="T51" fmla="*/ 82 h 699"/>
                <a:gd name="T52" fmla="*/ 266 w 1183"/>
                <a:gd name="T53" fmla="*/ 41 h 699"/>
                <a:gd name="T54" fmla="*/ 239 w 1183"/>
                <a:gd name="T55" fmla="*/ 26 h 699"/>
                <a:gd name="T56" fmla="*/ 211 w 1183"/>
                <a:gd name="T57" fmla="*/ 19 h 699"/>
                <a:gd name="T58" fmla="*/ 190 w 1183"/>
                <a:gd name="T59" fmla="*/ 19 h 699"/>
                <a:gd name="T60" fmla="*/ 157 w 1183"/>
                <a:gd name="T61" fmla="*/ 28 h 699"/>
                <a:gd name="T62" fmla="*/ 127 w 1183"/>
                <a:gd name="T63" fmla="*/ 46 h 699"/>
                <a:gd name="T64" fmla="*/ 99 w 1183"/>
                <a:gd name="T65" fmla="*/ 74 h 699"/>
                <a:gd name="T66" fmla="*/ 45 w 1183"/>
                <a:gd name="T67" fmla="*/ 151 h 699"/>
                <a:gd name="T68" fmla="*/ 23 w 1183"/>
                <a:gd name="T69" fmla="*/ 120 h 699"/>
                <a:gd name="T70" fmla="*/ 21 w 1183"/>
                <a:gd name="T71" fmla="*/ 71 h 699"/>
                <a:gd name="T72" fmla="*/ 78 w 1183"/>
                <a:gd name="T73" fmla="*/ 30 h 699"/>
                <a:gd name="T74" fmla="*/ 115 w 1183"/>
                <a:gd name="T75" fmla="*/ 13 h 699"/>
                <a:gd name="T76" fmla="*/ 157 w 1183"/>
                <a:gd name="T77" fmla="*/ 3 h 699"/>
                <a:gd name="T78" fmla="*/ 201 w 1183"/>
                <a:gd name="T79" fmla="*/ 0 h 699"/>
                <a:gd name="T80" fmla="*/ 233 w 1183"/>
                <a:gd name="T81" fmla="*/ 2 h 699"/>
                <a:gd name="T82" fmla="*/ 277 w 1183"/>
                <a:gd name="T83" fmla="*/ 12 h 699"/>
                <a:gd name="T84" fmla="*/ 318 w 1183"/>
                <a:gd name="T85" fmla="*/ 30 h 699"/>
                <a:gd name="T86" fmla="*/ 356 w 1183"/>
                <a:gd name="T87" fmla="*/ 55 h 699"/>
                <a:gd name="T88" fmla="*/ 412 w 1183"/>
                <a:gd name="T89" fmla="*/ 107 h 699"/>
                <a:gd name="T90" fmla="*/ 469 w 1183"/>
                <a:gd name="T91" fmla="*/ 187 h 699"/>
                <a:gd name="T92" fmla="*/ 520 w 1183"/>
                <a:gd name="T93" fmla="*/ 278 h 699"/>
                <a:gd name="T94" fmla="*/ 622 w 1183"/>
                <a:gd name="T95" fmla="*/ 495 h 699"/>
                <a:gd name="T96" fmla="*/ 665 w 1183"/>
                <a:gd name="T97" fmla="*/ 575 h 699"/>
                <a:gd name="T98" fmla="*/ 711 w 1183"/>
                <a:gd name="T99" fmla="*/ 636 h 699"/>
                <a:gd name="T100" fmla="*/ 745 w 1183"/>
                <a:gd name="T101" fmla="*/ 664 h 699"/>
                <a:gd name="T102" fmla="*/ 773 w 1183"/>
                <a:gd name="T103" fmla="*/ 677 h 699"/>
                <a:gd name="T104" fmla="*/ 802 w 1183"/>
                <a:gd name="T105" fmla="*/ 681 h 6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3" h="699">
                  <a:moveTo>
                    <a:pt x="802" y="681"/>
                  </a:moveTo>
                  <a:lnTo>
                    <a:pt x="802" y="681"/>
                  </a:lnTo>
                  <a:lnTo>
                    <a:pt x="816" y="681"/>
                  </a:lnTo>
                  <a:lnTo>
                    <a:pt x="828" y="679"/>
                  </a:lnTo>
                  <a:lnTo>
                    <a:pt x="840" y="674"/>
                  </a:lnTo>
                  <a:lnTo>
                    <a:pt x="852" y="670"/>
                  </a:lnTo>
                  <a:lnTo>
                    <a:pt x="863" y="663"/>
                  </a:lnTo>
                  <a:lnTo>
                    <a:pt x="874" y="655"/>
                  </a:lnTo>
                  <a:lnTo>
                    <a:pt x="885" y="646"/>
                  </a:lnTo>
                  <a:lnTo>
                    <a:pt x="895" y="636"/>
                  </a:lnTo>
                  <a:lnTo>
                    <a:pt x="907" y="625"/>
                  </a:lnTo>
                  <a:lnTo>
                    <a:pt x="917" y="613"/>
                  </a:lnTo>
                  <a:lnTo>
                    <a:pt x="927" y="599"/>
                  </a:lnTo>
                  <a:lnTo>
                    <a:pt x="936" y="586"/>
                  </a:lnTo>
                  <a:lnTo>
                    <a:pt x="956" y="554"/>
                  </a:lnTo>
                  <a:lnTo>
                    <a:pt x="974" y="522"/>
                  </a:lnTo>
                  <a:lnTo>
                    <a:pt x="993" y="486"/>
                  </a:lnTo>
                  <a:lnTo>
                    <a:pt x="1012" y="448"/>
                  </a:lnTo>
                  <a:lnTo>
                    <a:pt x="1050" y="370"/>
                  </a:lnTo>
                  <a:lnTo>
                    <a:pt x="1070" y="329"/>
                  </a:lnTo>
                  <a:lnTo>
                    <a:pt x="1090" y="289"/>
                  </a:lnTo>
                  <a:lnTo>
                    <a:pt x="1111" y="251"/>
                  </a:lnTo>
                  <a:lnTo>
                    <a:pt x="1134" y="213"/>
                  </a:lnTo>
                  <a:lnTo>
                    <a:pt x="1158" y="263"/>
                  </a:lnTo>
                  <a:lnTo>
                    <a:pt x="1183" y="316"/>
                  </a:lnTo>
                  <a:lnTo>
                    <a:pt x="1148" y="385"/>
                  </a:lnTo>
                  <a:lnTo>
                    <a:pt x="1131" y="420"/>
                  </a:lnTo>
                  <a:lnTo>
                    <a:pt x="1112" y="454"/>
                  </a:lnTo>
                  <a:lnTo>
                    <a:pt x="1093" y="486"/>
                  </a:lnTo>
                  <a:lnTo>
                    <a:pt x="1074" y="519"/>
                  </a:lnTo>
                  <a:lnTo>
                    <a:pt x="1053" y="549"/>
                  </a:lnTo>
                  <a:lnTo>
                    <a:pt x="1030" y="577"/>
                  </a:lnTo>
                  <a:lnTo>
                    <a:pt x="1008" y="604"/>
                  </a:lnTo>
                  <a:lnTo>
                    <a:pt x="995" y="616"/>
                  </a:lnTo>
                  <a:lnTo>
                    <a:pt x="983" y="627"/>
                  </a:lnTo>
                  <a:lnTo>
                    <a:pt x="970" y="639"/>
                  </a:lnTo>
                  <a:lnTo>
                    <a:pt x="957" y="649"/>
                  </a:lnTo>
                  <a:lnTo>
                    <a:pt x="944" y="658"/>
                  </a:lnTo>
                  <a:lnTo>
                    <a:pt x="929" y="667"/>
                  </a:lnTo>
                  <a:lnTo>
                    <a:pt x="914" y="674"/>
                  </a:lnTo>
                  <a:lnTo>
                    <a:pt x="900" y="681"/>
                  </a:lnTo>
                  <a:lnTo>
                    <a:pt x="885" y="687"/>
                  </a:lnTo>
                  <a:lnTo>
                    <a:pt x="870" y="691"/>
                  </a:lnTo>
                  <a:lnTo>
                    <a:pt x="854" y="695"/>
                  </a:lnTo>
                  <a:lnTo>
                    <a:pt x="837" y="698"/>
                  </a:lnTo>
                  <a:lnTo>
                    <a:pt x="820" y="699"/>
                  </a:lnTo>
                  <a:lnTo>
                    <a:pt x="802" y="699"/>
                  </a:lnTo>
                  <a:lnTo>
                    <a:pt x="786" y="699"/>
                  </a:lnTo>
                  <a:lnTo>
                    <a:pt x="771" y="697"/>
                  </a:lnTo>
                  <a:lnTo>
                    <a:pt x="755" y="695"/>
                  </a:lnTo>
                  <a:lnTo>
                    <a:pt x="740" y="691"/>
                  </a:lnTo>
                  <a:lnTo>
                    <a:pt x="727" y="687"/>
                  </a:lnTo>
                  <a:lnTo>
                    <a:pt x="712" y="682"/>
                  </a:lnTo>
                  <a:lnTo>
                    <a:pt x="699" y="675"/>
                  </a:lnTo>
                  <a:lnTo>
                    <a:pt x="685" y="669"/>
                  </a:lnTo>
                  <a:lnTo>
                    <a:pt x="673" y="662"/>
                  </a:lnTo>
                  <a:lnTo>
                    <a:pt x="660" y="654"/>
                  </a:lnTo>
                  <a:lnTo>
                    <a:pt x="648" y="645"/>
                  </a:lnTo>
                  <a:lnTo>
                    <a:pt x="637" y="635"/>
                  </a:lnTo>
                  <a:lnTo>
                    <a:pt x="614" y="615"/>
                  </a:lnTo>
                  <a:lnTo>
                    <a:pt x="592" y="591"/>
                  </a:lnTo>
                  <a:lnTo>
                    <a:pt x="572" y="567"/>
                  </a:lnTo>
                  <a:lnTo>
                    <a:pt x="553" y="540"/>
                  </a:lnTo>
                  <a:lnTo>
                    <a:pt x="535" y="512"/>
                  </a:lnTo>
                  <a:lnTo>
                    <a:pt x="517" y="483"/>
                  </a:lnTo>
                  <a:lnTo>
                    <a:pt x="500" y="453"/>
                  </a:lnTo>
                  <a:lnTo>
                    <a:pt x="484" y="422"/>
                  </a:lnTo>
                  <a:lnTo>
                    <a:pt x="453" y="358"/>
                  </a:lnTo>
                  <a:lnTo>
                    <a:pt x="395" y="234"/>
                  </a:lnTo>
                  <a:lnTo>
                    <a:pt x="366" y="177"/>
                  </a:lnTo>
                  <a:lnTo>
                    <a:pt x="351" y="150"/>
                  </a:lnTo>
                  <a:lnTo>
                    <a:pt x="337" y="125"/>
                  </a:lnTo>
                  <a:lnTo>
                    <a:pt x="322" y="102"/>
                  </a:lnTo>
                  <a:lnTo>
                    <a:pt x="306" y="82"/>
                  </a:lnTo>
                  <a:lnTo>
                    <a:pt x="291" y="64"/>
                  </a:lnTo>
                  <a:lnTo>
                    <a:pt x="275" y="48"/>
                  </a:lnTo>
                  <a:lnTo>
                    <a:pt x="266" y="41"/>
                  </a:lnTo>
                  <a:lnTo>
                    <a:pt x="257" y="36"/>
                  </a:lnTo>
                  <a:lnTo>
                    <a:pt x="248" y="30"/>
                  </a:lnTo>
                  <a:lnTo>
                    <a:pt x="239" y="26"/>
                  </a:lnTo>
                  <a:lnTo>
                    <a:pt x="230" y="22"/>
                  </a:lnTo>
                  <a:lnTo>
                    <a:pt x="221" y="20"/>
                  </a:lnTo>
                  <a:lnTo>
                    <a:pt x="211" y="19"/>
                  </a:lnTo>
                  <a:lnTo>
                    <a:pt x="201" y="18"/>
                  </a:lnTo>
                  <a:lnTo>
                    <a:pt x="190" y="19"/>
                  </a:lnTo>
                  <a:lnTo>
                    <a:pt x="178" y="20"/>
                  </a:lnTo>
                  <a:lnTo>
                    <a:pt x="167" y="23"/>
                  </a:lnTo>
                  <a:lnTo>
                    <a:pt x="157" y="28"/>
                  </a:lnTo>
                  <a:lnTo>
                    <a:pt x="147" y="32"/>
                  </a:lnTo>
                  <a:lnTo>
                    <a:pt x="137" y="39"/>
                  </a:lnTo>
                  <a:lnTo>
                    <a:pt x="127" y="46"/>
                  </a:lnTo>
                  <a:lnTo>
                    <a:pt x="117" y="55"/>
                  </a:lnTo>
                  <a:lnTo>
                    <a:pt x="108" y="64"/>
                  </a:lnTo>
                  <a:lnTo>
                    <a:pt x="99" y="74"/>
                  </a:lnTo>
                  <a:lnTo>
                    <a:pt x="79" y="96"/>
                  </a:lnTo>
                  <a:lnTo>
                    <a:pt x="63" y="122"/>
                  </a:lnTo>
                  <a:lnTo>
                    <a:pt x="45" y="151"/>
                  </a:lnTo>
                  <a:lnTo>
                    <a:pt x="34" y="134"/>
                  </a:lnTo>
                  <a:lnTo>
                    <a:pt x="23" y="120"/>
                  </a:lnTo>
                  <a:lnTo>
                    <a:pt x="0" y="91"/>
                  </a:lnTo>
                  <a:lnTo>
                    <a:pt x="21" y="71"/>
                  </a:lnTo>
                  <a:lnTo>
                    <a:pt x="43" y="53"/>
                  </a:lnTo>
                  <a:lnTo>
                    <a:pt x="66" y="37"/>
                  </a:lnTo>
                  <a:lnTo>
                    <a:pt x="78" y="30"/>
                  </a:lnTo>
                  <a:lnTo>
                    <a:pt x="91" y="23"/>
                  </a:lnTo>
                  <a:lnTo>
                    <a:pt x="103" y="18"/>
                  </a:lnTo>
                  <a:lnTo>
                    <a:pt x="115" y="13"/>
                  </a:lnTo>
                  <a:lnTo>
                    <a:pt x="129" y="9"/>
                  </a:lnTo>
                  <a:lnTo>
                    <a:pt x="142" y="6"/>
                  </a:lnTo>
                  <a:lnTo>
                    <a:pt x="157" y="3"/>
                  </a:lnTo>
                  <a:lnTo>
                    <a:pt x="172" y="1"/>
                  </a:lnTo>
                  <a:lnTo>
                    <a:pt x="186" y="0"/>
                  </a:lnTo>
                  <a:lnTo>
                    <a:pt x="201" y="0"/>
                  </a:lnTo>
                  <a:lnTo>
                    <a:pt x="218" y="1"/>
                  </a:lnTo>
                  <a:lnTo>
                    <a:pt x="233" y="2"/>
                  </a:lnTo>
                  <a:lnTo>
                    <a:pt x="248" y="4"/>
                  </a:lnTo>
                  <a:lnTo>
                    <a:pt x="263" y="8"/>
                  </a:lnTo>
                  <a:lnTo>
                    <a:pt x="277" y="12"/>
                  </a:lnTo>
                  <a:lnTo>
                    <a:pt x="292" y="18"/>
                  </a:lnTo>
                  <a:lnTo>
                    <a:pt x="305" y="23"/>
                  </a:lnTo>
                  <a:lnTo>
                    <a:pt x="318" y="30"/>
                  </a:lnTo>
                  <a:lnTo>
                    <a:pt x="331" y="38"/>
                  </a:lnTo>
                  <a:lnTo>
                    <a:pt x="344" y="46"/>
                  </a:lnTo>
                  <a:lnTo>
                    <a:pt x="356" y="55"/>
                  </a:lnTo>
                  <a:lnTo>
                    <a:pt x="367" y="64"/>
                  </a:lnTo>
                  <a:lnTo>
                    <a:pt x="390" y="85"/>
                  </a:lnTo>
                  <a:lnTo>
                    <a:pt x="412" y="107"/>
                  </a:lnTo>
                  <a:lnTo>
                    <a:pt x="432" y="132"/>
                  </a:lnTo>
                  <a:lnTo>
                    <a:pt x="451" y="159"/>
                  </a:lnTo>
                  <a:lnTo>
                    <a:pt x="469" y="187"/>
                  </a:lnTo>
                  <a:lnTo>
                    <a:pt x="487" y="216"/>
                  </a:lnTo>
                  <a:lnTo>
                    <a:pt x="504" y="246"/>
                  </a:lnTo>
                  <a:lnTo>
                    <a:pt x="520" y="278"/>
                  </a:lnTo>
                  <a:lnTo>
                    <a:pt x="550" y="342"/>
                  </a:lnTo>
                  <a:lnTo>
                    <a:pt x="608" y="466"/>
                  </a:lnTo>
                  <a:lnTo>
                    <a:pt x="622" y="495"/>
                  </a:lnTo>
                  <a:lnTo>
                    <a:pt x="636" y="523"/>
                  </a:lnTo>
                  <a:lnTo>
                    <a:pt x="650" y="550"/>
                  </a:lnTo>
                  <a:lnTo>
                    <a:pt x="665" y="575"/>
                  </a:lnTo>
                  <a:lnTo>
                    <a:pt x="680" y="597"/>
                  </a:lnTo>
                  <a:lnTo>
                    <a:pt x="695" y="618"/>
                  </a:lnTo>
                  <a:lnTo>
                    <a:pt x="711" y="636"/>
                  </a:lnTo>
                  <a:lnTo>
                    <a:pt x="728" y="652"/>
                  </a:lnTo>
                  <a:lnTo>
                    <a:pt x="737" y="659"/>
                  </a:lnTo>
                  <a:lnTo>
                    <a:pt x="745" y="664"/>
                  </a:lnTo>
                  <a:lnTo>
                    <a:pt x="754" y="669"/>
                  </a:lnTo>
                  <a:lnTo>
                    <a:pt x="763" y="673"/>
                  </a:lnTo>
                  <a:lnTo>
                    <a:pt x="773" y="677"/>
                  </a:lnTo>
                  <a:lnTo>
                    <a:pt x="782" y="679"/>
                  </a:lnTo>
                  <a:lnTo>
                    <a:pt x="792" y="681"/>
                  </a:lnTo>
                  <a:lnTo>
                    <a:pt x="802" y="6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10" name="Freeform 84">
              <a:extLst>
                <a:ext uri="{FF2B5EF4-FFF2-40B4-BE49-F238E27FC236}">
                  <a16:creationId xmlns:a16="http://schemas.microsoft.com/office/drawing/2014/main" id="{12FC802D-EED0-4392-AF5D-64A62A9B8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807" y="2709078"/>
              <a:ext cx="272076" cy="143138"/>
            </a:xfrm>
            <a:custGeom>
              <a:avLst/>
              <a:gdLst>
                <a:gd name="T0" fmla="*/ 45 w 201"/>
                <a:gd name="T1" fmla="*/ 150 h 150"/>
                <a:gd name="T2" fmla="*/ 45 w 201"/>
                <a:gd name="T3" fmla="*/ 150 h 150"/>
                <a:gd name="T4" fmla="*/ 62 w 201"/>
                <a:gd name="T5" fmla="*/ 122 h 150"/>
                <a:gd name="T6" fmla="*/ 80 w 201"/>
                <a:gd name="T7" fmla="*/ 97 h 150"/>
                <a:gd name="T8" fmla="*/ 98 w 201"/>
                <a:gd name="T9" fmla="*/ 74 h 150"/>
                <a:gd name="T10" fmla="*/ 108 w 201"/>
                <a:gd name="T11" fmla="*/ 64 h 150"/>
                <a:gd name="T12" fmla="*/ 117 w 201"/>
                <a:gd name="T13" fmla="*/ 55 h 150"/>
                <a:gd name="T14" fmla="*/ 127 w 201"/>
                <a:gd name="T15" fmla="*/ 46 h 150"/>
                <a:gd name="T16" fmla="*/ 137 w 201"/>
                <a:gd name="T17" fmla="*/ 40 h 150"/>
                <a:gd name="T18" fmla="*/ 147 w 201"/>
                <a:gd name="T19" fmla="*/ 33 h 150"/>
                <a:gd name="T20" fmla="*/ 157 w 201"/>
                <a:gd name="T21" fmla="*/ 27 h 150"/>
                <a:gd name="T22" fmla="*/ 167 w 201"/>
                <a:gd name="T23" fmla="*/ 24 h 150"/>
                <a:gd name="T24" fmla="*/ 179 w 201"/>
                <a:gd name="T25" fmla="*/ 21 h 150"/>
                <a:gd name="T26" fmla="*/ 190 w 201"/>
                <a:gd name="T27" fmla="*/ 18 h 150"/>
                <a:gd name="T28" fmla="*/ 201 w 201"/>
                <a:gd name="T29" fmla="*/ 18 h 150"/>
                <a:gd name="T30" fmla="*/ 201 w 201"/>
                <a:gd name="T31" fmla="*/ 0 h 150"/>
                <a:gd name="T32" fmla="*/ 201 w 201"/>
                <a:gd name="T33" fmla="*/ 0 h 150"/>
                <a:gd name="T34" fmla="*/ 186 w 201"/>
                <a:gd name="T35" fmla="*/ 0 h 150"/>
                <a:gd name="T36" fmla="*/ 171 w 201"/>
                <a:gd name="T37" fmla="*/ 1 h 150"/>
                <a:gd name="T38" fmla="*/ 157 w 201"/>
                <a:gd name="T39" fmla="*/ 4 h 150"/>
                <a:gd name="T40" fmla="*/ 143 w 201"/>
                <a:gd name="T41" fmla="*/ 6 h 150"/>
                <a:gd name="T42" fmla="*/ 129 w 201"/>
                <a:gd name="T43" fmla="*/ 9 h 150"/>
                <a:gd name="T44" fmla="*/ 116 w 201"/>
                <a:gd name="T45" fmla="*/ 14 h 150"/>
                <a:gd name="T46" fmla="*/ 103 w 201"/>
                <a:gd name="T47" fmla="*/ 18 h 150"/>
                <a:gd name="T48" fmla="*/ 91 w 201"/>
                <a:gd name="T49" fmla="*/ 24 h 150"/>
                <a:gd name="T50" fmla="*/ 78 w 201"/>
                <a:gd name="T51" fmla="*/ 31 h 150"/>
                <a:gd name="T52" fmla="*/ 66 w 201"/>
                <a:gd name="T53" fmla="*/ 37 h 150"/>
                <a:gd name="T54" fmla="*/ 43 w 201"/>
                <a:gd name="T55" fmla="*/ 53 h 150"/>
                <a:gd name="T56" fmla="*/ 21 w 201"/>
                <a:gd name="T57" fmla="*/ 71 h 150"/>
                <a:gd name="T58" fmla="*/ 0 w 201"/>
                <a:gd name="T59" fmla="*/ 91 h 150"/>
                <a:gd name="T60" fmla="*/ 0 w 201"/>
                <a:gd name="T61" fmla="*/ 91 h 150"/>
                <a:gd name="T62" fmla="*/ 23 w 201"/>
                <a:gd name="T63" fmla="*/ 119 h 150"/>
                <a:gd name="T64" fmla="*/ 34 w 201"/>
                <a:gd name="T65" fmla="*/ 135 h 150"/>
                <a:gd name="T66" fmla="*/ 45 w 201"/>
                <a:gd name="T67" fmla="*/ 150 h 150"/>
                <a:gd name="T68" fmla="*/ 45 w 201"/>
                <a:gd name="T69" fmla="*/ 150 h 1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1" h="150">
                  <a:moveTo>
                    <a:pt x="45" y="150"/>
                  </a:moveTo>
                  <a:lnTo>
                    <a:pt x="45" y="150"/>
                  </a:lnTo>
                  <a:lnTo>
                    <a:pt x="62" y="122"/>
                  </a:lnTo>
                  <a:lnTo>
                    <a:pt x="80" y="97"/>
                  </a:lnTo>
                  <a:lnTo>
                    <a:pt x="98" y="74"/>
                  </a:lnTo>
                  <a:lnTo>
                    <a:pt x="108" y="64"/>
                  </a:lnTo>
                  <a:lnTo>
                    <a:pt x="117" y="55"/>
                  </a:lnTo>
                  <a:lnTo>
                    <a:pt x="127" y="46"/>
                  </a:lnTo>
                  <a:lnTo>
                    <a:pt x="137" y="40"/>
                  </a:lnTo>
                  <a:lnTo>
                    <a:pt x="147" y="33"/>
                  </a:lnTo>
                  <a:lnTo>
                    <a:pt x="157" y="27"/>
                  </a:lnTo>
                  <a:lnTo>
                    <a:pt x="167" y="24"/>
                  </a:lnTo>
                  <a:lnTo>
                    <a:pt x="179" y="21"/>
                  </a:lnTo>
                  <a:lnTo>
                    <a:pt x="190" y="18"/>
                  </a:lnTo>
                  <a:lnTo>
                    <a:pt x="201" y="18"/>
                  </a:lnTo>
                  <a:lnTo>
                    <a:pt x="201" y="0"/>
                  </a:lnTo>
                  <a:lnTo>
                    <a:pt x="186" y="0"/>
                  </a:lnTo>
                  <a:lnTo>
                    <a:pt x="171" y="1"/>
                  </a:lnTo>
                  <a:lnTo>
                    <a:pt x="157" y="4"/>
                  </a:lnTo>
                  <a:lnTo>
                    <a:pt x="143" y="6"/>
                  </a:lnTo>
                  <a:lnTo>
                    <a:pt x="129" y="9"/>
                  </a:lnTo>
                  <a:lnTo>
                    <a:pt x="116" y="14"/>
                  </a:lnTo>
                  <a:lnTo>
                    <a:pt x="103" y="18"/>
                  </a:lnTo>
                  <a:lnTo>
                    <a:pt x="91" y="24"/>
                  </a:lnTo>
                  <a:lnTo>
                    <a:pt x="78" y="31"/>
                  </a:lnTo>
                  <a:lnTo>
                    <a:pt x="66" y="37"/>
                  </a:lnTo>
                  <a:lnTo>
                    <a:pt x="43" y="53"/>
                  </a:lnTo>
                  <a:lnTo>
                    <a:pt x="21" y="71"/>
                  </a:lnTo>
                  <a:lnTo>
                    <a:pt x="0" y="91"/>
                  </a:lnTo>
                  <a:lnTo>
                    <a:pt x="23" y="119"/>
                  </a:lnTo>
                  <a:lnTo>
                    <a:pt x="34" y="135"/>
                  </a:lnTo>
                  <a:lnTo>
                    <a:pt x="45" y="1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11" name="Freeform 85">
              <a:extLst>
                <a:ext uri="{FF2B5EF4-FFF2-40B4-BE49-F238E27FC236}">
                  <a16:creationId xmlns:a16="http://schemas.microsoft.com/office/drawing/2014/main" id="{6CF0ED73-A6E7-41F1-AAE7-B820F4893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88894" y="2886570"/>
              <a:ext cx="515725" cy="465677"/>
            </a:xfrm>
            <a:custGeom>
              <a:avLst/>
              <a:gdLst>
                <a:gd name="T0" fmla="*/ 381 w 381"/>
                <a:gd name="T1" fmla="*/ 105 h 488"/>
                <a:gd name="T2" fmla="*/ 381 w 381"/>
                <a:gd name="T3" fmla="*/ 105 h 488"/>
                <a:gd name="T4" fmla="*/ 356 w 381"/>
                <a:gd name="T5" fmla="*/ 51 h 488"/>
                <a:gd name="T6" fmla="*/ 333 w 381"/>
                <a:gd name="T7" fmla="*/ 0 h 488"/>
                <a:gd name="T8" fmla="*/ 333 w 381"/>
                <a:gd name="T9" fmla="*/ 0 h 488"/>
                <a:gd name="T10" fmla="*/ 310 w 381"/>
                <a:gd name="T11" fmla="*/ 38 h 488"/>
                <a:gd name="T12" fmla="*/ 289 w 381"/>
                <a:gd name="T13" fmla="*/ 78 h 488"/>
                <a:gd name="T14" fmla="*/ 269 w 381"/>
                <a:gd name="T15" fmla="*/ 117 h 488"/>
                <a:gd name="T16" fmla="*/ 248 w 381"/>
                <a:gd name="T17" fmla="*/ 157 h 488"/>
                <a:gd name="T18" fmla="*/ 210 w 381"/>
                <a:gd name="T19" fmla="*/ 236 h 488"/>
                <a:gd name="T20" fmla="*/ 191 w 381"/>
                <a:gd name="T21" fmla="*/ 274 h 488"/>
                <a:gd name="T22" fmla="*/ 173 w 381"/>
                <a:gd name="T23" fmla="*/ 310 h 488"/>
                <a:gd name="T24" fmla="*/ 154 w 381"/>
                <a:gd name="T25" fmla="*/ 343 h 488"/>
                <a:gd name="T26" fmla="*/ 135 w 381"/>
                <a:gd name="T27" fmla="*/ 373 h 488"/>
                <a:gd name="T28" fmla="*/ 125 w 381"/>
                <a:gd name="T29" fmla="*/ 388 h 488"/>
                <a:gd name="T30" fmla="*/ 115 w 381"/>
                <a:gd name="T31" fmla="*/ 401 h 488"/>
                <a:gd name="T32" fmla="*/ 104 w 381"/>
                <a:gd name="T33" fmla="*/ 414 h 488"/>
                <a:gd name="T34" fmla="*/ 94 w 381"/>
                <a:gd name="T35" fmla="*/ 425 h 488"/>
                <a:gd name="T36" fmla="*/ 83 w 381"/>
                <a:gd name="T37" fmla="*/ 435 h 488"/>
                <a:gd name="T38" fmla="*/ 73 w 381"/>
                <a:gd name="T39" fmla="*/ 444 h 488"/>
                <a:gd name="T40" fmla="*/ 62 w 381"/>
                <a:gd name="T41" fmla="*/ 452 h 488"/>
                <a:gd name="T42" fmla="*/ 49 w 381"/>
                <a:gd name="T43" fmla="*/ 457 h 488"/>
                <a:gd name="T44" fmla="*/ 38 w 381"/>
                <a:gd name="T45" fmla="*/ 463 h 488"/>
                <a:gd name="T46" fmla="*/ 26 w 381"/>
                <a:gd name="T47" fmla="*/ 466 h 488"/>
                <a:gd name="T48" fmla="*/ 13 w 381"/>
                <a:gd name="T49" fmla="*/ 469 h 488"/>
                <a:gd name="T50" fmla="*/ 0 w 381"/>
                <a:gd name="T51" fmla="*/ 470 h 488"/>
                <a:gd name="T52" fmla="*/ 0 w 381"/>
                <a:gd name="T53" fmla="*/ 488 h 488"/>
                <a:gd name="T54" fmla="*/ 0 w 381"/>
                <a:gd name="T55" fmla="*/ 488 h 488"/>
                <a:gd name="T56" fmla="*/ 18 w 381"/>
                <a:gd name="T57" fmla="*/ 488 h 488"/>
                <a:gd name="T58" fmla="*/ 35 w 381"/>
                <a:gd name="T59" fmla="*/ 485 h 488"/>
                <a:gd name="T60" fmla="*/ 52 w 381"/>
                <a:gd name="T61" fmla="*/ 483 h 488"/>
                <a:gd name="T62" fmla="*/ 67 w 381"/>
                <a:gd name="T63" fmla="*/ 479 h 488"/>
                <a:gd name="T64" fmla="*/ 83 w 381"/>
                <a:gd name="T65" fmla="*/ 474 h 488"/>
                <a:gd name="T66" fmla="*/ 99 w 381"/>
                <a:gd name="T67" fmla="*/ 469 h 488"/>
                <a:gd name="T68" fmla="*/ 113 w 381"/>
                <a:gd name="T69" fmla="*/ 462 h 488"/>
                <a:gd name="T70" fmla="*/ 128 w 381"/>
                <a:gd name="T71" fmla="*/ 454 h 488"/>
                <a:gd name="T72" fmla="*/ 142 w 381"/>
                <a:gd name="T73" fmla="*/ 446 h 488"/>
                <a:gd name="T74" fmla="*/ 155 w 381"/>
                <a:gd name="T75" fmla="*/ 436 h 488"/>
                <a:gd name="T76" fmla="*/ 169 w 381"/>
                <a:gd name="T77" fmla="*/ 426 h 488"/>
                <a:gd name="T78" fmla="*/ 181 w 381"/>
                <a:gd name="T79" fmla="*/ 416 h 488"/>
                <a:gd name="T80" fmla="*/ 193 w 381"/>
                <a:gd name="T81" fmla="*/ 404 h 488"/>
                <a:gd name="T82" fmla="*/ 206 w 381"/>
                <a:gd name="T83" fmla="*/ 391 h 488"/>
                <a:gd name="T84" fmla="*/ 229 w 381"/>
                <a:gd name="T85" fmla="*/ 366 h 488"/>
                <a:gd name="T86" fmla="*/ 251 w 381"/>
                <a:gd name="T87" fmla="*/ 336 h 488"/>
                <a:gd name="T88" fmla="*/ 272 w 381"/>
                <a:gd name="T89" fmla="*/ 306 h 488"/>
                <a:gd name="T90" fmla="*/ 292 w 381"/>
                <a:gd name="T91" fmla="*/ 275 h 488"/>
                <a:gd name="T92" fmla="*/ 311 w 381"/>
                <a:gd name="T93" fmla="*/ 241 h 488"/>
                <a:gd name="T94" fmla="*/ 329 w 381"/>
                <a:gd name="T95" fmla="*/ 208 h 488"/>
                <a:gd name="T96" fmla="*/ 347 w 381"/>
                <a:gd name="T97" fmla="*/ 173 h 488"/>
                <a:gd name="T98" fmla="*/ 381 w 381"/>
                <a:gd name="T99" fmla="*/ 105 h 488"/>
                <a:gd name="T100" fmla="*/ 381 w 381"/>
                <a:gd name="T101" fmla="*/ 105 h 48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1" h="488">
                  <a:moveTo>
                    <a:pt x="381" y="105"/>
                  </a:moveTo>
                  <a:lnTo>
                    <a:pt x="381" y="105"/>
                  </a:lnTo>
                  <a:lnTo>
                    <a:pt x="356" y="51"/>
                  </a:lnTo>
                  <a:lnTo>
                    <a:pt x="333" y="0"/>
                  </a:lnTo>
                  <a:lnTo>
                    <a:pt x="310" y="38"/>
                  </a:lnTo>
                  <a:lnTo>
                    <a:pt x="289" y="78"/>
                  </a:lnTo>
                  <a:lnTo>
                    <a:pt x="269" y="117"/>
                  </a:lnTo>
                  <a:lnTo>
                    <a:pt x="248" y="157"/>
                  </a:lnTo>
                  <a:lnTo>
                    <a:pt x="210" y="236"/>
                  </a:lnTo>
                  <a:lnTo>
                    <a:pt x="191" y="274"/>
                  </a:lnTo>
                  <a:lnTo>
                    <a:pt x="173" y="310"/>
                  </a:lnTo>
                  <a:lnTo>
                    <a:pt x="154" y="343"/>
                  </a:lnTo>
                  <a:lnTo>
                    <a:pt x="135" y="373"/>
                  </a:lnTo>
                  <a:lnTo>
                    <a:pt x="125" y="388"/>
                  </a:lnTo>
                  <a:lnTo>
                    <a:pt x="115" y="401"/>
                  </a:lnTo>
                  <a:lnTo>
                    <a:pt x="104" y="414"/>
                  </a:lnTo>
                  <a:lnTo>
                    <a:pt x="94" y="425"/>
                  </a:lnTo>
                  <a:lnTo>
                    <a:pt x="83" y="435"/>
                  </a:lnTo>
                  <a:lnTo>
                    <a:pt x="73" y="444"/>
                  </a:lnTo>
                  <a:lnTo>
                    <a:pt x="62" y="452"/>
                  </a:lnTo>
                  <a:lnTo>
                    <a:pt x="49" y="457"/>
                  </a:lnTo>
                  <a:lnTo>
                    <a:pt x="38" y="463"/>
                  </a:lnTo>
                  <a:lnTo>
                    <a:pt x="26" y="466"/>
                  </a:lnTo>
                  <a:lnTo>
                    <a:pt x="13" y="469"/>
                  </a:lnTo>
                  <a:lnTo>
                    <a:pt x="0" y="470"/>
                  </a:lnTo>
                  <a:lnTo>
                    <a:pt x="0" y="488"/>
                  </a:lnTo>
                  <a:lnTo>
                    <a:pt x="18" y="488"/>
                  </a:lnTo>
                  <a:lnTo>
                    <a:pt x="35" y="485"/>
                  </a:lnTo>
                  <a:lnTo>
                    <a:pt x="52" y="483"/>
                  </a:lnTo>
                  <a:lnTo>
                    <a:pt x="67" y="479"/>
                  </a:lnTo>
                  <a:lnTo>
                    <a:pt x="83" y="474"/>
                  </a:lnTo>
                  <a:lnTo>
                    <a:pt x="99" y="469"/>
                  </a:lnTo>
                  <a:lnTo>
                    <a:pt x="113" y="462"/>
                  </a:lnTo>
                  <a:lnTo>
                    <a:pt x="128" y="454"/>
                  </a:lnTo>
                  <a:lnTo>
                    <a:pt x="142" y="446"/>
                  </a:lnTo>
                  <a:lnTo>
                    <a:pt x="155" y="436"/>
                  </a:lnTo>
                  <a:lnTo>
                    <a:pt x="169" y="426"/>
                  </a:lnTo>
                  <a:lnTo>
                    <a:pt x="181" y="416"/>
                  </a:lnTo>
                  <a:lnTo>
                    <a:pt x="193" y="404"/>
                  </a:lnTo>
                  <a:lnTo>
                    <a:pt x="206" y="391"/>
                  </a:lnTo>
                  <a:lnTo>
                    <a:pt x="229" y="366"/>
                  </a:lnTo>
                  <a:lnTo>
                    <a:pt x="251" y="336"/>
                  </a:lnTo>
                  <a:lnTo>
                    <a:pt x="272" y="306"/>
                  </a:lnTo>
                  <a:lnTo>
                    <a:pt x="292" y="275"/>
                  </a:lnTo>
                  <a:lnTo>
                    <a:pt x="311" y="241"/>
                  </a:lnTo>
                  <a:lnTo>
                    <a:pt x="329" y="208"/>
                  </a:lnTo>
                  <a:lnTo>
                    <a:pt x="347" y="173"/>
                  </a:lnTo>
                  <a:lnTo>
                    <a:pt x="381" y="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12" name="Freeform 86">
              <a:extLst>
                <a:ext uri="{FF2B5EF4-FFF2-40B4-BE49-F238E27FC236}">
                  <a16:creationId xmlns:a16="http://schemas.microsoft.com/office/drawing/2014/main" id="{B032AD68-2B1F-4F3A-8E8C-A7A54854E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0921" y="2704307"/>
              <a:ext cx="1095068" cy="600226"/>
            </a:xfrm>
            <a:custGeom>
              <a:avLst/>
              <a:gdLst>
                <a:gd name="T0" fmla="*/ 0 w 809"/>
                <a:gd name="T1" fmla="*/ 384 h 629"/>
                <a:gd name="T2" fmla="*/ 49 w 809"/>
                <a:gd name="T3" fmla="*/ 487 h 629"/>
                <a:gd name="T4" fmla="*/ 71 w 809"/>
                <a:gd name="T5" fmla="*/ 449 h 629"/>
                <a:gd name="T6" fmla="*/ 113 w 809"/>
                <a:gd name="T7" fmla="*/ 371 h 629"/>
                <a:gd name="T8" fmla="*/ 170 w 809"/>
                <a:gd name="T9" fmla="*/ 252 h 629"/>
                <a:gd name="T10" fmla="*/ 208 w 809"/>
                <a:gd name="T11" fmla="*/ 179 h 629"/>
                <a:gd name="T12" fmla="*/ 246 w 809"/>
                <a:gd name="T13" fmla="*/ 114 h 629"/>
                <a:gd name="T14" fmla="*/ 265 w 809"/>
                <a:gd name="T15" fmla="*/ 87 h 629"/>
                <a:gd name="T16" fmla="*/ 287 w 809"/>
                <a:gd name="T17" fmla="*/ 64 h 629"/>
                <a:gd name="T18" fmla="*/ 308 w 809"/>
                <a:gd name="T19" fmla="*/ 45 h 629"/>
                <a:gd name="T20" fmla="*/ 331 w 809"/>
                <a:gd name="T21" fmla="*/ 30 h 629"/>
                <a:gd name="T22" fmla="*/ 354 w 809"/>
                <a:gd name="T23" fmla="*/ 21 h 629"/>
                <a:gd name="T24" fmla="*/ 380 w 809"/>
                <a:gd name="T25" fmla="*/ 19 h 629"/>
                <a:gd name="T26" fmla="*/ 380 w 809"/>
                <a:gd name="T27" fmla="*/ 19 h 629"/>
                <a:gd name="T28" fmla="*/ 412 w 809"/>
                <a:gd name="T29" fmla="*/ 23 h 629"/>
                <a:gd name="T30" fmla="*/ 441 w 809"/>
                <a:gd name="T31" fmla="*/ 38 h 629"/>
                <a:gd name="T32" fmla="*/ 468 w 809"/>
                <a:gd name="T33" fmla="*/ 60 h 629"/>
                <a:gd name="T34" fmla="*/ 494 w 809"/>
                <a:gd name="T35" fmla="*/ 91 h 629"/>
                <a:gd name="T36" fmla="*/ 517 w 809"/>
                <a:gd name="T37" fmla="*/ 126 h 629"/>
                <a:gd name="T38" fmla="*/ 541 w 809"/>
                <a:gd name="T39" fmla="*/ 167 h 629"/>
                <a:gd name="T40" fmla="*/ 587 w 809"/>
                <a:gd name="T41" fmla="*/ 260 h 629"/>
                <a:gd name="T42" fmla="*/ 658 w 809"/>
                <a:gd name="T43" fmla="*/ 412 h 629"/>
                <a:gd name="T44" fmla="*/ 697 w 809"/>
                <a:gd name="T45" fmla="*/ 486 h 629"/>
                <a:gd name="T46" fmla="*/ 725 w 809"/>
                <a:gd name="T47" fmla="*/ 532 h 629"/>
                <a:gd name="T48" fmla="*/ 757 w 809"/>
                <a:gd name="T49" fmla="*/ 574 h 629"/>
                <a:gd name="T50" fmla="*/ 790 w 809"/>
                <a:gd name="T51" fmla="*/ 613 h 629"/>
                <a:gd name="T52" fmla="*/ 809 w 809"/>
                <a:gd name="T53" fmla="*/ 510 h 629"/>
                <a:gd name="T54" fmla="*/ 790 w 809"/>
                <a:gd name="T55" fmla="*/ 471 h 629"/>
                <a:gd name="T56" fmla="*/ 732 w 809"/>
                <a:gd name="T57" fmla="*/ 346 h 629"/>
                <a:gd name="T58" fmla="*/ 690 w 809"/>
                <a:gd name="T59" fmla="*/ 261 h 629"/>
                <a:gd name="T60" fmla="*/ 644 w 809"/>
                <a:gd name="T61" fmla="*/ 181 h 629"/>
                <a:gd name="T62" fmla="*/ 618 w 809"/>
                <a:gd name="T63" fmla="*/ 144 h 629"/>
                <a:gd name="T64" fmla="*/ 591 w 809"/>
                <a:gd name="T65" fmla="*/ 110 h 629"/>
                <a:gd name="T66" fmla="*/ 562 w 809"/>
                <a:gd name="T67" fmla="*/ 79 h 629"/>
                <a:gd name="T68" fmla="*/ 532 w 809"/>
                <a:gd name="T69" fmla="*/ 52 h 629"/>
                <a:gd name="T70" fmla="*/ 498 w 809"/>
                <a:gd name="T71" fmla="*/ 31 h 629"/>
                <a:gd name="T72" fmla="*/ 461 w 809"/>
                <a:gd name="T73" fmla="*/ 14 h 629"/>
                <a:gd name="T74" fmla="*/ 423 w 809"/>
                <a:gd name="T75" fmla="*/ 4 h 629"/>
                <a:gd name="T76" fmla="*/ 380 w 809"/>
                <a:gd name="T77" fmla="*/ 0 h 629"/>
                <a:gd name="T78" fmla="*/ 380 w 809"/>
                <a:gd name="T79" fmla="*/ 1 h 629"/>
                <a:gd name="T80" fmla="*/ 345 w 809"/>
                <a:gd name="T81" fmla="*/ 2 h 629"/>
                <a:gd name="T82" fmla="*/ 313 w 809"/>
                <a:gd name="T83" fmla="*/ 9 h 629"/>
                <a:gd name="T84" fmla="*/ 282 w 809"/>
                <a:gd name="T85" fmla="*/ 20 h 629"/>
                <a:gd name="T86" fmla="*/ 253 w 809"/>
                <a:gd name="T87" fmla="*/ 33 h 629"/>
                <a:gd name="T88" fmla="*/ 225 w 809"/>
                <a:gd name="T89" fmla="*/ 51 h 629"/>
                <a:gd name="T90" fmla="*/ 199 w 809"/>
                <a:gd name="T91" fmla="*/ 73 h 629"/>
                <a:gd name="T92" fmla="*/ 176 w 809"/>
                <a:gd name="T93" fmla="*/ 96 h 629"/>
                <a:gd name="T94" fmla="*/ 129 w 809"/>
                <a:gd name="T95" fmla="*/ 151 h 629"/>
                <a:gd name="T96" fmla="*/ 89 w 809"/>
                <a:gd name="T97" fmla="*/ 214 h 629"/>
                <a:gd name="T98" fmla="*/ 52 w 809"/>
                <a:gd name="T99" fmla="*/ 280 h 629"/>
                <a:gd name="T100" fmla="*/ 0 w 809"/>
                <a:gd name="T101" fmla="*/ 384 h 6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09" h="629">
                  <a:moveTo>
                    <a:pt x="0" y="384"/>
                  </a:moveTo>
                  <a:lnTo>
                    <a:pt x="0" y="384"/>
                  </a:lnTo>
                  <a:lnTo>
                    <a:pt x="24" y="437"/>
                  </a:lnTo>
                  <a:lnTo>
                    <a:pt x="49" y="487"/>
                  </a:lnTo>
                  <a:lnTo>
                    <a:pt x="71" y="449"/>
                  </a:lnTo>
                  <a:lnTo>
                    <a:pt x="92" y="411"/>
                  </a:lnTo>
                  <a:lnTo>
                    <a:pt x="113" y="371"/>
                  </a:lnTo>
                  <a:lnTo>
                    <a:pt x="133" y="330"/>
                  </a:lnTo>
                  <a:lnTo>
                    <a:pt x="170" y="252"/>
                  </a:lnTo>
                  <a:lnTo>
                    <a:pt x="189" y="215"/>
                  </a:lnTo>
                  <a:lnTo>
                    <a:pt x="208" y="179"/>
                  </a:lnTo>
                  <a:lnTo>
                    <a:pt x="227" y="145"/>
                  </a:lnTo>
                  <a:lnTo>
                    <a:pt x="246" y="114"/>
                  </a:lnTo>
                  <a:lnTo>
                    <a:pt x="256" y="101"/>
                  </a:lnTo>
                  <a:lnTo>
                    <a:pt x="265" y="87"/>
                  </a:lnTo>
                  <a:lnTo>
                    <a:pt x="277" y="75"/>
                  </a:lnTo>
                  <a:lnTo>
                    <a:pt x="287" y="64"/>
                  </a:lnTo>
                  <a:lnTo>
                    <a:pt x="297" y="54"/>
                  </a:lnTo>
                  <a:lnTo>
                    <a:pt x="308" y="45"/>
                  </a:lnTo>
                  <a:lnTo>
                    <a:pt x="319" y="37"/>
                  </a:lnTo>
                  <a:lnTo>
                    <a:pt x="331" y="30"/>
                  </a:lnTo>
                  <a:lnTo>
                    <a:pt x="343" y="26"/>
                  </a:lnTo>
                  <a:lnTo>
                    <a:pt x="354" y="21"/>
                  </a:lnTo>
                  <a:lnTo>
                    <a:pt x="368" y="19"/>
                  </a:lnTo>
                  <a:lnTo>
                    <a:pt x="380" y="19"/>
                  </a:lnTo>
                  <a:lnTo>
                    <a:pt x="396" y="20"/>
                  </a:lnTo>
                  <a:lnTo>
                    <a:pt x="412" y="23"/>
                  </a:lnTo>
                  <a:lnTo>
                    <a:pt x="426" y="30"/>
                  </a:lnTo>
                  <a:lnTo>
                    <a:pt x="441" y="38"/>
                  </a:lnTo>
                  <a:lnTo>
                    <a:pt x="454" y="49"/>
                  </a:lnTo>
                  <a:lnTo>
                    <a:pt x="468" y="60"/>
                  </a:lnTo>
                  <a:lnTo>
                    <a:pt x="481" y="75"/>
                  </a:lnTo>
                  <a:lnTo>
                    <a:pt x="494" y="91"/>
                  </a:lnTo>
                  <a:lnTo>
                    <a:pt x="506" y="107"/>
                  </a:lnTo>
                  <a:lnTo>
                    <a:pt x="517" y="126"/>
                  </a:lnTo>
                  <a:lnTo>
                    <a:pt x="530" y="147"/>
                  </a:lnTo>
                  <a:lnTo>
                    <a:pt x="541" y="167"/>
                  </a:lnTo>
                  <a:lnTo>
                    <a:pt x="563" y="212"/>
                  </a:lnTo>
                  <a:lnTo>
                    <a:pt x="587" y="260"/>
                  </a:lnTo>
                  <a:lnTo>
                    <a:pt x="633" y="361"/>
                  </a:lnTo>
                  <a:lnTo>
                    <a:pt x="658" y="412"/>
                  </a:lnTo>
                  <a:lnTo>
                    <a:pt x="684" y="461"/>
                  </a:lnTo>
                  <a:lnTo>
                    <a:pt x="697" y="486"/>
                  </a:lnTo>
                  <a:lnTo>
                    <a:pt x="710" y="510"/>
                  </a:lnTo>
                  <a:lnTo>
                    <a:pt x="725" y="532"/>
                  </a:lnTo>
                  <a:lnTo>
                    <a:pt x="741" y="554"/>
                  </a:lnTo>
                  <a:lnTo>
                    <a:pt x="757" y="574"/>
                  </a:lnTo>
                  <a:lnTo>
                    <a:pt x="773" y="595"/>
                  </a:lnTo>
                  <a:lnTo>
                    <a:pt x="790" y="613"/>
                  </a:lnTo>
                  <a:lnTo>
                    <a:pt x="808" y="629"/>
                  </a:lnTo>
                  <a:lnTo>
                    <a:pt x="809" y="510"/>
                  </a:lnTo>
                  <a:lnTo>
                    <a:pt x="790" y="471"/>
                  </a:lnTo>
                  <a:lnTo>
                    <a:pt x="771" y="431"/>
                  </a:lnTo>
                  <a:lnTo>
                    <a:pt x="732" y="346"/>
                  </a:lnTo>
                  <a:lnTo>
                    <a:pt x="712" y="303"/>
                  </a:lnTo>
                  <a:lnTo>
                    <a:pt x="690" y="261"/>
                  </a:lnTo>
                  <a:lnTo>
                    <a:pt x="668" y="220"/>
                  </a:lnTo>
                  <a:lnTo>
                    <a:pt x="644" y="181"/>
                  </a:lnTo>
                  <a:lnTo>
                    <a:pt x="632" y="162"/>
                  </a:lnTo>
                  <a:lnTo>
                    <a:pt x="618" y="144"/>
                  </a:lnTo>
                  <a:lnTo>
                    <a:pt x="605" y="126"/>
                  </a:lnTo>
                  <a:lnTo>
                    <a:pt x="591" y="110"/>
                  </a:lnTo>
                  <a:lnTo>
                    <a:pt x="578" y="94"/>
                  </a:lnTo>
                  <a:lnTo>
                    <a:pt x="562" y="79"/>
                  </a:lnTo>
                  <a:lnTo>
                    <a:pt x="548" y="66"/>
                  </a:lnTo>
                  <a:lnTo>
                    <a:pt x="532" y="52"/>
                  </a:lnTo>
                  <a:lnTo>
                    <a:pt x="515" y="41"/>
                  </a:lnTo>
                  <a:lnTo>
                    <a:pt x="498" y="31"/>
                  </a:lnTo>
                  <a:lnTo>
                    <a:pt x="480" y="22"/>
                  </a:lnTo>
                  <a:lnTo>
                    <a:pt x="461" y="14"/>
                  </a:lnTo>
                  <a:lnTo>
                    <a:pt x="442" y="9"/>
                  </a:lnTo>
                  <a:lnTo>
                    <a:pt x="423" y="4"/>
                  </a:lnTo>
                  <a:lnTo>
                    <a:pt x="401" y="1"/>
                  </a:lnTo>
                  <a:lnTo>
                    <a:pt x="380" y="0"/>
                  </a:lnTo>
                  <a:lnTo>
                    <a:pt x="380" y="1"/>
                  </a:lnTo>
                  <a:lnTo>
                    <a:pt x="363" y="1"/>
                  </a:lnTo>
                  <a:lnTo>
                    <a:pt x="345" y="2"/>
                  </a:lnTo>
                  <a:lnTo>
                    <a:pt x="329" y="5"/>
                  </a:lnTo>
                  <a:lnTo>
                    <a:pt x="313" y="9"/>
                  </a:lnTo>
                  <a:lnTo>
                    <a:pt x="297" y="13"/>
                  </a:lnTo>
                  <a:lnTo>
                    <a:pt x="282" y="20"/>
                  </a:lnTo>
                  <a:lnTo>
                    <a:pt x="268" y="27"/>
                  </a:lnTo>
                  <a:lnTo>
                    <a:pt x="253" y="33"/>
                  </a:lnTo>
                  <a:lnTo>
                    <a:pt x="240" y="42"/>
                  </a:lnTo>
                  <a:lnTo>
                    <a:pt x="225" y="51"/>
                  </a:lnTo>
                  <a:lnTo>
                    <a:pt x="213" y="61"/>
                  </a:lnTo>
                  <a:lnTo>
                    <a:pt x="199" y="73"/>
                  </a:lnTo>
                  <a:lnTo>
                    <a:pt x="187" y="84"/>
                  </a:lnTo>
                  <a:lnTo>
                    <a:pt x="176" y="96"/>
                  </a:lnTo>
                  <a:lnTo>
                    <a:pt x="152" y="123"/>
                  </a:lnTo>
                  <a:lnTo>
                    <a:pt x="129" y="151"/>
                  </a:lnTo>
                  <a:lnTo>
                    <a:pt x="109" y="181"/>
                  </a:lnTo>
                  <a:lnTo>
                    <a:pt x="89" y="214"/>
                  </a:lnTo>
                  <a:lnTo>
                    <a:pt x="70" y="246"/>
                  </a:lnTo>
                  <a:lnTo>
                    <a:pt x="52" y="280"/>
                  </a:lnTo>
                  <a:lnTo>
                    <a:pt x="34" y="315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13" name="Freeform 87">
              <a:extLst>
                <a:ext uri="{FF2B5EF4-FFF2-40B4-BE49-F238E27FC236}">
                  <a16:creationId xmlns:a16="http://schemas.microsoft.com/office/drawing/2014/main" id="{D84FE758-913A-4F48-A432-39830D7AF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52115" y="2691860"/>
              <a:ext cx="1093817" cy="668019"/>
            </a:xfrm>
            <a:custGeom>
              <a:avLst/>
              <a:gdLst>
                <a:gd name="T0" fmla="*/ 789 w 977"/>
                <a:gd name="T1" fmla="*/ 682 h 700"/>
                <a:gd name="T2" fmla="*/ 821 w 977"/>
                <a:gd name="T3" fmla="*/ 673 h 700"/>
                <a:gd name="T4" fmla="*/ 850 w 977"/>
                <a:gd name="T5" fmla="*/ 654 h 700"/>
                <a:gd name="T6" fmla="*/ 880 w 977"/>
                <a:gd name="T7" fmla="*/ 626 h 700"/>
                <a:gd name="T8" fmla="*/ 932 w 977"/>
                <a:gd name="T9" fmla="*/ 549 h 700"/>
                <a:gd name="T10" fmla="*/ 977 w 977"/>
                <a:gd name="T11" fmla="*/ 609 h 700"/>
                <a:gd name="T12" fmla="*/ 935 w 977"/>
                <a:gd name="T13" fmla="*/ 647 h 700"/>
                <a:gd name="T14" fmla="*/ 887 w 977"/>
                <a:gd name="T15" fmla="*/ 676 h 700"/>
                <a:gd name="T16" fmla="*/ 848 w 977"/>
                <a:gd name="T17" fmla="*/ 691 h 700"/>
                <a:gd name="T18" fmla="*/ 807 w 977"/>
                <a:gd name="T19" fmla="*/ 698 h 700"/>
                <a:gd name="T20" fmla="*/ 776 w 977"/>
                <a:gd name="T21" fmla="*/ 700 h 700"/>
                <a:gd name="T22" fmla="*/ 729 w 977"/>
                <a:gd name="T23" fmla="*/ 695 h 700"/>
                <a:gd name="T24" fmla="*/ 686 w 977"/>
                <a:gd name="T25" fmla="*/ 683 h 700"/>
                <a:gd name="T26" fmla="*/ 647 w 977"/>
                <a:gd name="T27" fmla="*/ 663 h 700"/>
                <a:gd name="T28" fmla="*/ 610 w 977"/>
                <a:gd name="T29" fmla="*/ 636 h 700"/>
                <a:gd name="T30" fmla="*/ 546 w 977"/>
                <a:gd name="T31" fmla="*/ 567 h 700"/>
                <a:gd name="T32" fmla="*/ 491 w 977"/>
                <a:gd name="T33" fmla="*/ 483 h 700"/>
                <a:gd name="T34" fmla="*/ 427 w 977"/>
                <a:gd name="T35" fmla="*/ 359 h 700"/>
                <a:gd name="T36" fmla="*/ 341 w 977"/>
                <a:gd name="T37" fmla="*/ 176 h 700"/>
                <a:gd name="T38" fmla="*/ 297 w 977"/>
                <a:gd name="T39" fmla="*/ 102 h 700"/>
                <a:gd name="T40" fmla="*/ 250 w 977"/>
                <a:gd name="T41" fmla="*/ 49 h 700"/>
                <a:gd name="T42" fmla="*/ 223 w 977"/>
                <a:gd name="T43" fmla="*/ 31 h 700"/>
                <a:gd name="T44" fmla="*/ 195 w 977"/>
                <a:gd name="T45" fmla="*/ 21 h 700"/>
                <a:gd name="T46" fmla="*/ 175 w 977"/>
                <a:gd name="T47" fmla="*/ 18 h 700"/>
                <a:gd name="T48" fmla="*/ 137 w 977"/>
                <a:gd name="T49" fmla="*/ 25 h 700"/>
                <a:gd name="T50" fmla="*/ 102 w 977"/>
                <a:gd name="T51" fmla="*/ 45 h 700"/>
                <a:gd name="T52" fmla="*/ 69 w 977"/>
                <a:gd name="T53" fmla="*/ 78 h 700"/>
                <a:gd name="T54" fmla="*/ 39 w 977"/>
                <a:gd name="T55" fmla="*/ 118 h 700"/>
                <a:gd name="T56" fmla="*/ 1 w 977"/>
                <a:gd name="T57" fmla="*/ 68 h 700"/>
                <a:gd name="T58" fmla="*/ 39 w 977"/>
                <a:gd name="T59" fmla="*/ 40 h 700"/>
                <a:gd name="T60" fmla="*/ 103 w 977"/>
                <a:gd name="T61" fmla="*/ 11 h 700"/>
                <a:gd name="T62" fmla="*/ 176 w 977"/>
                <a:gd name="T63" fmla="*/ 0 h 700"/>
                <a:gd name="T64" fmla="*/ 207 w 977"/>
                <a:gd name="T65" fmla="*/ 3 h 700"/>
                <a:gd name="T66" fmla="*/ 251 w 977"/>
                <a:gd name="T67" fmla="*/ 13 h 700"/>
                <a:gd name="T68" fmla="*/ 292 w 977"/>
                <a:gd name="T69" fmla="*/ 31 h 700"/>
                <a:gd name="T70" fmla="*/ 329 w 977"/>
                <a:gd name="T71" fmla="*/ 55 h 700"/>
                <a:gd name="T72" fmla="*/ 385 w 977"/>
                <a:gd name="T73" fmla="*/ 108 h 700"/>
                <a:gd name="T74" fmla="*/ 443 w 977"/>
                <a:gd name="T75" fmla="*/ 188 h 700"/>
                <a:gd name="T76" fmla="*/ 494 w 977"/>
                <a:gd name="T77" fmla="*/ 278 h 700"/>
                <a:gd name="T78" fmla="*/ 611 w 977"/>
                <a:gd name="T79" fmla="*/ 524 h 700"/>
                <a:gd name="T80" fmla="*/ 656 w 977"/>
                <a:gd name="T81" fmla="*/ 598 h 700"/>
                <a:gd name="T82" fmla="*/ 703 w 977"/>
                <a:gd name="T83" fmla="*/ 651 h 700"/>
                <a:gd name="T84" fmla="*/ 729 w 977"/>
                <a:gd name="T85" fmla="*/ 669 h 700"/>
                <a:gd name="T86" fmla="*/ 757 w 977"/>
                <a:gd name="T87" fmla="*/ 679 h 700"/>
                <a:gd name="T88" fmla="*/ 776 w 977"/>
                <a:gd name="T89" fmla="*/ 682 h 7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894 w 10000"/>
                <a:gd name="connsiteY65" fmla="*/ 271 h 10000"/>
                <a:gd name="connsiteX66" fmla="*/ 1791 w 10000"/>
                <a:gd name="connsiteY66" fmla="*/ 257 h 10000"/>
                <a:gd name="connsiteX67" fmla="*/ 1668 w 10000"/>
                <a:gd name="connsiteY67" fmla="*/ 271 h 10000"/>
                <a:gd name="connsiteX68" fmla="*/ 1525 w 10000"/>
                <a:gd name="connsiteY68" fmla="*/ 314 h 10000"/>
                <a:gd name="connsiteX69" fmla="*/ 1402 w 10000"/>
                <a:gd name="connsiteY69" fmla="*/ 357 h 10000"/>
                <a:gd name="connsiteX70" fmla="*/ 1279 w 10000"/>
                <a:gd name="connsiteY70" fmla="*/ 443 h 10000"/>
                <a:gd name="connsiteX71" fmla="*/ 1157 w 10000"/>
                <a:gd name="connsiteY71" fmla="*/ 529 h 10000"/>
                <a:gd name="connsiteX72" fmla="*/ 1044 w 10000"/>
                <a:gd name="connsiteY72" fmla="*/ 643 h 10000"/>
                <a:gd name="connsiteX73" fmla="*/ 931 w 10000"/>
                <a:gd name="connsiteY73" fmla="*/ 786 h 10000"/>
                <a:gd name="connsiteX74" fmla="*/ 809 w 10000"/>
                <a:gd name="connsiteY74" fmla="*/ 929 h 10000"/>
                <a:gd name="connsiteX75" fmla="*/ 706 w 10000"/>
                <a:gd name="connsiteY75" fmla="*/ 1114 h 10000"/>
                <a:gd name="connsiteX76" fmla="*/ 604 w 10000"/>
                <a:gd name="connsiteY76" fmla="*/ 1286 h 10000"/>
                <a:gd name="connsiteX77" fmla="*/ 491 w 10000"/>
                <a:gd name="connsiteY77" fmla="*/ 1486 h 10000"/>
                <a:gd name="connsiteX78" fmla="*/ 399 w 10000"/>
                <a:gd name="connsiteY78" fmla="*/ 1686 h 10000"/>
                <a:gd name="connsiteX79" fmla="*/ 194 w 10000"/>
                <a:gd name="connsiteY79" fmla="*/ 2157 h 10000"/>
                <a:gd name="connsiteX80" fmla="*/ 0 w 10000"/>
                <a:gd name="connsiteY80" fmla="*/ 2643 h 10000"/>
                <a:gd name="connsiteX81" fmla="*/ 10 w 10000"/>
                <a:gd name="connsiteY81" fmla="*/ 971 h 10000"/>
                <a:gd name="connsiteX82" fmla="*/ 205 w 10000"/>
                <a:gd name="connsiteY82" fmla="*/ 757 h 10000"/>
                <a:gd name="connsiteX83" fmla="*/ 399 w 10000"/>
                <a:gd name="connsiteY83" fmla="*/ 571 h 10000"/>
                <a:gd name="connsiteX84" fmla="*/ 604 w 10000"/>
                <a:gd name="connsiteY84" fmla="*/ 386 h 10000"/>
                <a:gd name="connsiteX85" fmla="*/ 819 w 10000"/>
                <a:gd name="connsiteY85" fmla="*/ 257 h 10000"/>
                <a:gd name="connsiteX86" fmla="*/ 1054 w 10000"/>
                <a:gd name="connsiteY86" fmla="*/ 157 h 10000"/>
                <a:gd name="connsiteX87" fmla="*/ 1300 w 10000"/>
                <a:gd name="connsiteY87" fmla="*/ 71 h 10000"/>
                <a:gd name="connsiteX88" fmla="*/ 1535 w 10000"/>
                <a:gd name="connsiteY88" fmla="*/ 29 h 10000"/>
                <a:gd name="connsiteX89" fmla="*/ 1801 w 10000"/>
                <a:gd name="connsiteY89" fmla="*/ 0 h 10000"/>
                <a:gd name="connsiteX90" fmla="*/ 1965 w 10000"/>
                <a:gd name="connsiteY90" fmla="*/ 0 h 10000"/>
                <a:gd name="connsiteX91" fmla="*/ 2119 w 10000"/>
                <a:gd name="connsiteY91" fmla="*/ 43 h 10000"/>
                <a:gd name="connsiteX92" fmla="*/ 2272 w 10000"/>
                <a:gd name="connsiteY92" fmla="*/ 71 h 10000"/>
                <a:gd name="connsiteX93" fmla="*/ 2426 w 10000"/>
                <a:gd name="connsiteY93" fmla="*/ 114 h 10000"/>
                <a:gd name="connsiteX94" fmla="*/ 2569 w 10000"/>
                <a:gd name="connsiteY94" fmla="*/ 186 h 10000"/>
                <a:gd name="connsiteX95" fmla="*/ 2712 w 10000"/>
                <a:gd name="connsiteY95" fmla="*/ 257 h 10000"/>
                <a:gd name="connsiteX96" fmla="*/ 2845 w 10000"/>
                <a:gd name="connsiteY96" fmla="*/ 343 h 10000"/>
                <a:gd name="connsiteX97" fmla="*/ 2989 w 10000"/>
                <a:gd name="connsiteY97" fmla="*/ 443 h 10000"/>
                <a:gd name="connsiteX98" fmla="*/ 3112 w 10000"/>
                <a:gd name="connsiteY98" fmla="*/ 529 h 10000"/>
                <a:gd name="connsiteX99" fmla="*/ 3234 w 10000"/>
                <a:gd name="connsiteY99" fmla="*/ 657 h 10000"/>
                <a:gd name="connsiteX100" fmla="*/ 3367 w 10000"/>
                <a:gd name="connsiteY100" fmla="*/ 786 h 10000"/>
                <a:gd name="connsiteX101" fmla="*/ 3490 w 10000"/>
                <a:gd name="connsiteY101" fmla="*/ 914 h 10000"/>
                <a:gd name="connsiteX102" fmla="*/ 3726 w 10000"/>
                <a:gd name="connsiteY102" fmla="*/ 1200 h 10000"/>
                <a:gd name="connsiteX103" fmla="*/ 3941 w 10000"/>
                <a:gd name="connsiteY103" fmla="*/ 1543 h 10000"/>
                <a:gd name="connsiteX104" fmla="*/ 4145 w 10000"/>
                <a:gd name="connsiteY104" fmla="*/ 1900 h 10000"/>
                <a:gd name="connsiteX105" fmla="*/ 4340 w 10000"/>
                <a:gd name="connsiteY105" fmla="*/ 2286 h 10000"/>
                <a:gd name="connsiteX106" fmla="*/ 4534 w 10000"/>
                <a:gd name="connsiteY106" fmla="*/ 2686 h 10000"/>
                <a:gd name="connsiteX107" fmla="*/ 4708 w 10000"/>
                <a:gd name="connsiteY107" fmla="*/ 3100 h 10000"/>
                <a:gd name="connsiteX108" fmla="*/ 4893 w 10000"/>
                <a:gd name="connsiteY108" fmla="*/ 3529 h 10000"/>
                <a:gd name="connsiteX109" fmla="*/ 5056 w 10000"/>
                <a:gd name="connsiteY109" fmla="*/ 3971 h 10000"/>
                <a:gd name="connsiteX110" fmla="*/ 5363 w 10000"/>
                <a:gd name="connsiteY110" fmla="*/ 4871 h 10000"/>
                <a:gd name="connsiteX111" fmla="*/ 5967 w 10000"/>
                <a:gd name="connsiteY111" fmla="*/ 6657 h 10000"/>
                <a:gd name="connsiteX112" fmla="*/ 6254 w 10000"/>
                <a:gd name="connsiteY112" fmla="*/ 7486 h 10000"/>
                <a:gd name="connsiteX113" fmla="*/ 6407 w 10000"/>
                <a:gd name="connsiteY113" fmla="*/ 7843 h 10000"/>
                <a:gd name="connsiteX114" fmla="*/ 6551 w 10000"/>
                <a:gd name="connsiteY114" fmla="*/ 8214 h 10000"/>
                <a:gd name="connsiteX115" fmla="*/ 6714 w 10000"/>
                <a:gd name="connsiteY115" fmla="*/ 8543 h 10000"/>
                <a:gd name="connsiteX116" fmla="*/ 6868 w 10000"/>
                <a:gd name="connsiteY116" fmla="*/ 8829 h 10000"/>
                <a:gd name="connsiteX117" fmla="*/ 7021 w 10000"/>
                <a:gd name="connsiteY117" fmla="*/ 9100 h 10000"/>
                <a:gd name="connsiteX118" fmla="*/ 7195 w 10000"/>
                <a:gd name="connsiteY118" fmla="*/ 9300 h 10000"/>
                <a:gd name="connsiteX119" fmla="*/ 7288 w 10000"/>
                <a:gd name="connsiteY119" fmla="*/ 9400 h 10000"/>
                <a:gd name="connsiteX120" fmla="*/ 7369 w 10000"/>
                <a:gd name="connsiteY120" fmla="*/ 9500 h 10000"/>
                <a:gd name="connsiteX121" fmla="*/ 7462 w 10000"/>
                <a:gd name="connsiteY121" fmla="*/ 9557 h 10000"/>
                <a:gd name="connsiteX122" fmla="*/ 7554 w 10000"/>
                <a:gd name="connsiteY122" fmla="*/ 9629 h 10000"/>
                <a:gd name="connsiteX123" fmla="*/ 7646 w 10000"/>
                <a:gd name="connsiteY123" fmla="*/ 9671 h 10000"/>
                <a:gd name="connsiteX124" fmla="*/ 7748 w 10000"/>
                <a:gd name="connsiteY124" fmla="*/ 9700 h 10000"/>
                <a:gd name="connsiteX125" fmla="*/ 7851 w 10000"/>
                <a:gd name="connsiteY125" fmla="*/ 9743 h 10000"/>
                <a:gd name="connsiteX126" fmla="*/ 7943 w 10000"/>
                <a:gd name="connsiteY126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119 w 10000"/>
                <a:gd name="connsiteY90" fmla="*/ 43 h 10000"/>
                <a:gd name="connsiteX91" fmla="*/ 2272 w 10000"/>
                <a:gd name="connsiteY91" fmla="*/ 71 h 10000"/>
                <a:gd name="connsiteX92" fmla="*/ 2426 w 10000"/>
                <a:gd name="connsiteY92" fmla="*/ 114 h 10000"/>
                <a:gd name="connsiteX93" fmla="*/ 2569 w 10000"/>
                <a:gd name="connsiteY93" fmla="*/ 186 h 10000"/>
                <a:gd name="connsiteX94" fmla="*/ 2712 w 10000"/>
                <a:gd name="connsiteY94" fmla="*/ 257 h 10000"/>
                <a:gd name="connsiteX95" fmla="*/ 2845 w 10000"/>
                <a:gd name="connsiteY95" fmla="*/ 343 h 10000"/>
                <a:gd name="connsiteX96" fmla="*/ 2989 w 10000"/>
                <a:gd name="connsiteY96" fmla="*/ 443 h 10000"/>
                <a:gd name="connsiteX97" fmla="*/ 3112 w 10000"/>
                <a:gd name="connsiteY97" fmla="*/ 529 h 10000"/>
                <a:gd name="connsiteX98" fmla="*/ 3234 w 10000"/>
                <a:gd name="connsiteY98" fmla="*/ 657 h 10000"/>
                <a:gd name="connsiteX99" fmla="*/ 3367 w 10000"/>
                <a:gd name="connsiteY99" fmla="*/ 786 h 10000"/>
                <a:gd name="connsiteX100" fmla="*/ 3490 w 10000"/>
                <a:gd name="connsiteY100" fmla="*/ 914 h 10000"/>
                <a:gd name="connsiteX101" fmla="*/ 3726 w 10000"/>
                <a:gd name="connsiteY101" fmla="*/ 1200 h 10000"/>
                <a:gd name="connsiteX102" fmla="*/ 3941 w 10000"/>
                <a:gd name="connsiteY102" fmla="*/ 1543 h 10000"/>
                <a:gd name="connsiteX103" fmla="*/ 4145 w 10000"/>
                <a:gd name="connsiteY103" fmla="*/ 1900 h 10000"/>
                <a:gd name="connsiteX104" fmla="*/ 4340 w 10000"/>
                <a:gd name="connsiteY104" fmla="*/ 2286 h 10000"/>
                <a:gd name="connsiteX105" fmla="*/ 4534 w 10000"/>
                <a:gd name="connsiteY105" fmla="*/ 2686 h 10000"/>
                <a:gd name="connsiteX106" fmla="*/ 4708 w 10000"/>
                <a:gd name="connsiteY106" fmla="*/ 3100 h 10000"/>
                <a:gd name="connsiteX107" fmla="*/ 4893 w 10000"/>
                <a:gd name="connsiteY107" fmla="*/ 3529 h 10000"/>
                <a:gd name="connsiteX108" fmla="*/ 5056 w 10000"/>
                <a:gd name="connsiteY108" fmla="*/ 3971 h 10000"/>
                <a:gd name="connsiteX109" fmla="*/ 5363 w 10000"/>
                <a:gd name="connsiteY109" fmla="*/ 4871 h 10000"/>
                <a:gd name="connsiteX110" fmla="*/ 5967 w 10000"/>
                <a:gd name="connsiteY110" fmla="*/ 6657 h 10000"/>
                <a:gd name="connsiteX111" fmla="*/ 6254 w 10000"/>
                <a:gd name="connsiteY111" fmla="*/ 7486 h 10000"/>
                <a:gd name="connsiteX112" fmla="*/ 6407 w 10000"/>
                <a:gd name="connsiteY112" fmla="*/ 7843 h 10000"/>
                <a:gd name="connsiteX113" fmla="*/ 6551 w 10000"/>
                <a:gd name="connsiteY113" fmla="*/ 8214 h 10000"/>
                <a:gd name="connsiteX114" fmla="*/ 6714 w 10000"/>
                <a:gd name="connsiteY114" fmla="*/ 8543 h 10000"/>
                <a:gd name="connsiteX115" fmla="*/ 6868 w 10000"/>
                <a:gd name="connsiteY115" fmla="*/ 8829 h 10000"/>
                <a:gd name="connsiteX116" fmla="*/ 7021 w 10000"/>
                <a:gd name="connsiteY116" fmla="*/ 9100 h 10000"/>
                <a:gd name="connsiteX117" fmla="*/ 7195 w 10000"/>
                <a:gd name="connsiteY117" fmla="*/ 9300 h 10000"/>
                <a:gd name="connsiteX118" fmla="*/ 7288 w 10000"/>
                <a:gd name="connsiteY118" fmla="*/ 9400 h 10000"/>
                <a:gd name="connsiteX119" fmla="*/ 7369 w 10000"/>
                <a:gd name="connsiteY119" fmla="*/ 9500 h 10000"/>
                <a:gd name="connsiteX120" fmla="*/ 7462 w 10000"/>
                <a:gd name="connsiteY120" fmla="*/ 9557 h 10000"/>
                <a:gd name="connsiteX121" fmla="*/ 7554 w 10000"/>
                <a:gd name="connsiteY121" fmla="*/ 9629 h 10000"/>
                <a:gd name="connsiteX122" fmla="*/ 7646 w 10000"/>
                <a:gd name="connsiteY122" fmla="*/ 9671 h 10000"/>
                <a:gd name="connsiteX123" fmla="*/ 7748 w 10000"/>
                <a:gd name="connsiteY123" fmla="*/ 9700 h 10000"/>
                <a:gd name="connsiteX124" fmla="*/ 7851 w 10000"/>
                <a:gd name="connsiteY124" fmla="*/ 9743 h 10000"/>
                <a:gd name="connsiteX125" fmla="*/ 7943 w 10000"/>
                <a:gd name="connsiteY125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996 w 10000"/>
                <a:gd name="connsiteY64" fmla="*/ 300 h 10000"/>
                <a:gd name="connsiteX65" fmla="*/ 1791 w 10000"/>
                <a:gd name="connsiteY65" fmla="*/ 257 h 10000"/>
                <a:gd name="connsiteX66" fmla="*/ 1668 w 10000"/>
                <a:gd name="connsiteY66" fmla="*/ 271 h 10000"/>
                <a:gd name="connsiteX67" fmla="*/ 1525 w 10000"/>
                <a:gd name="connsiteY67" fmla="*/ 314 h 10000"/>
                <a:gd name="connsiteX68" fmla="*/ 1402 w 10000"/>
                <a:gd name="connsiteY68" fmla="*/ 357 h 10000"/>
                <a:gd name="connsiteX69" fmla="*/ 1279 w 10000"/>
                <a:gd name="connsiteY69" fmla="*/ 443 h 10000"/>
                <a:gd name="connsiteX70" fmla="*/ 1157 w 10000"/>
                <a:gd name="connsiteY70" fmla="*/ 529 h 10000"/>
                <a:gd name="connsiteX71" fmla="*/ 1044 w 10000"/>
                <a:gd name="connsiteY71" fmla="*/ 643 h 10000"/>
                <a:gd name="connsiteX72" fmla="*/ 931 w 10000"/>
                <a:gd name="connsiteY72" fmla="*/ 786 h 10000"/>
                <a:gd name="connsiteX73" fmla="*/ 809 w 10000"/>
                <a:gd name="connsiteY73" fmla="*/ 929 h 10000"/>
                <a:gd name="connsiteX74" fmla="*/ 706 w 10000"/>
                <a:gd name="connsiteY74" fmla="*/ 1114 h 10000"/>
                <a:gd name="connsiteX75" fmla="*/ 604 w 10000"/>
                <a:gd name="connsiteY75" fmla="*/ 1286 h 10000"/>
                <a:gd name="connsiteX76" fmla="*/ 491 w 10000"/>
                <a:gd name="connsiteY76" fmla="*/ 1486 h 10000"/>
                <a:gd name="connsiteX77" fmla="*/ 399 w 10000"/>
                <a:gd name="connsiteY77" fmla="*/ 1686 h 10000"/>
                <a:gd name="connsiteX78" fmla="*/ 194 w 10000"/>
                <a:gd name="connsiteY78" fmla="*/ 2157 h 10000"/>
                <a:gd name="connsiteX79" fmla="*/ 0 w 10000"/>
                <a:gd name="connsiteY79" fmla="*/ 2643 h 10000"/>
                <a:gd name="connsiteX80" fmla="*/ 10 w 10000"/>
                <a:gd name="connsiteY80" fmla="*/ 971 h 10000"/>
                <a:gd name="connsiteX81" fmla="*/ 205 w 10000"/>
                <a:gd name="connsiteY81" fmla="*/ 757 h 10000"/>
                <a:gd name="connsiteX82" fmla="*/ 399 w 10000"/>
                <a:gd name="connsiteY82" fmla="*/ 571 h 10000"/>
                <a:gd name="connsiteX83" fmla="*/ 604 w 10000"/>
                <a:gd name="connsiteY83" fmla="*/ 386 h 10000"/>
                <a:gd name="connsiteX84" fmla="*/ 819 w 10000"/>
                <a:gd name="connsiteY84" fmla="*/ 257 h 10000"/>
                <a:gd name="connsiteX85" fmla="*/ 1054 w 10000"/>
                <a:gd name="connsiteY85" fmla="*/ 157 h 10000"/>
                <a:gd name="connsiteX86" fmla="*/ 1300 w 10000"/>
                <a:gd name="connsiteY86" fmla="*/ 71 h 10000"/>
                <a:gd name="connsiteX87" fmla="*/ 1535 w 10000"/>
                <a:gd name="connsiteY87" fmla="*/ 29 h 10000"/>
                <a:gd name="connsiteX88" fmla="*/ 1801 w 10000"/>
                <a:gd name="connsiteY88" fmla="*/ 0 h 10000"/>
                <a:gd name="connsiteX89" fmla="*/ 1965 w 10000"/>
                <a:gd name="connsiteY89" fmla="*/ 0 h 10000"/>
                <a:gd name="connsiteX90" fmla="*/ 2272 w 10000"/>
                <a:gd name="connsiteY90" fmla="*/ 71 h 10000"/>
                <a:gd name="connsiteX91" fmla="*/ 2426 w 10000"/>
                <a:gd name="connsiteY91" fmla="*/ 114 h 10000"/>
                <a:gd name="connsiteX92" fmla="*/ 2569 w 10000"/>
                <a:gd name="connsiteY92" fmla="*/ 186 h 10000"/>
                <a:gd name="connsiteX93" fmla="*/ 2712 w 10000"/>
                <a:gd name="connsiteY93" fmla="*/ 257 h 10000"/>
                <a:gd name="connsiteX94" fmla="*/ 2845 w 10000"/>
                <a:gd name="connsiteY94" fmla="*/ 343 h 10000"/>
                <a:gd name="connsiteX95" fmla="*/ 2989 w 10000"/>
                <a:gd name="connsiteY95" fmla="*/ 443 h 10000"/>
                <a:gd name="connsiteX96" fmla="*/ 3112 w 10000"/>
                <a:gd name="connsiteY96" fmla="*/ 529 h 10000"/>
                <a:gd name="connsiteX97" fmla="*/ 3234 w 10000"/>
                <a:gd name="connsiteY97" fmla="*/ 657 h 10000"/>
                <a:gd name="connsiteX98" fmla="*/ 3367 w 10000"/>
                <a:gd name="connsiteY98" fmla="*/ 786 h 10000"/>
                <a:gd name="connsiteX99" fmla="*/ 3490 w 10000"/>
                <a:gd name="connsiteY99" fmla="*/ 914 h 10000"/>
                <a:gd name="connsiteX100" fmla="*/ 3726 w 10000"/>
                <a:gd name="connsiteY100" fmla="*/ 1200 h 10000"/>
                <a:gd name="connsiteX101" fmla="*/ 3941 w 10000"/>
                <a:gd name="connsiteY101" fmla="*/ 1543 h 10000"/>
                <a:gd name="connsiteX102" fmla="*/ 4145 w 10000"/>
                <a:gd name="connsiteY102" fmla="*/ 1900 h 10000"/>
                <a:gd name="connsiteX103" fmla="*/ 4340 w 10000"/>
                <a:gd name="connsiteY103" fmla="*/ 2286 h 10000"/>
                <a:gd name="connsiteX104" fmla="*/ 4534 w 10000"/>
                <a:gd name="connsiteY104" fmla="*/ 2686 h 10000"/>
                <a:gd name="connsiteX105" fmla="*/ 4708 w 10000"/>
                <a:gd name="connsiteY105" fmla="*/ 3100 h 10000"/>
                <a:gd name="connsiteX106" fmla="*/ 4893 w 10000"/>
                <a:gd name="connsiteY106" fmla="*/ 3529 h 10000"/>
                <a:gd name="connsiteX107" fmla="*/ 5056 w 10000"/>
                <a:gd name="connsiteY107" fmla="*/ 3971 h 10000"/>
                <a:gd name="connsiteX108" fmla="*/ 5363 w 10000"/>
                <a:gd name="connsiteY108" fmla="*/ 4871 h 10000"/>
                <a:gd name="connsiteX109" fmla="*/ 5967 w 10000"/>
                <a:gd name="connsiteY109" fmla="*/ 6657 h 10000"/>
                <a:gd name="connsiteX110" fmla="*/ 6254 w 10000"/>
                <a:gd name="connsiteY110" fmla="*/ 7486 h 10000"/>
                <a:gd name="connsiteX111" fmla="*/ 6407 w 10000"/>
                <a:gd name="connsiteY111" fmla="*/ 7843 h 10000"/>
                <a:gd name="connsiteX112" fmla="*/ 6551 w 10000"/>
                <a:gd name="connsiteY112" fmla="*/ 8214 h 10000"/>
                <a:gd name="connsiteX113" fmla="*/ 6714 w 10000"/>
                <a:gd name="connsiteY113" fmla="*/ 8543 h 10000"/>
                <a:gd name="connsiteX114" fmla="*/ 6868 w 10000"/>
                <a:gd name="connsiteY114" fmla="*/ 8829 h 10000"/>
                <a:gd name="connsiteX115" fmla="*/ 7021 w 10000"/>
                <a:gd name="connsiteY115" fmla="*/ 9100 h 10000"/>
                <a:gd name="connsiteX116" fmla="*/ 7195 w 10000"/>
                <a:gd name="connsiteY116" fmla="*/ 9300 h 10000"/>
                <a:gd name="connsiteX117" fmla="*/ 7288 w 10000"/>
                <a:gd name="connsiteY117" fmla="*/ 9400 h 10000"/>
                <a:gd name="connsiteX118" fmla="*/ 7369 w 10000"/>
                <a:gd name="connsiteY118" fmla="*/ 9500 h 10000"/>
                <a:gd name="connsiteX119" fmla="*/ 7462 w 10000"/>
                <a:gd name="connsiteY119" fmla="*/ 9557 h 10000"/>
                <a:gd name="connsiteX120" fmla="*/ 7554 w 10000"/>
                <a:gd name="connsiteY120" fmla="*/ 9629 h 10000"/>
                <a:gd name="connsiteX121" fmla="*/ 7646 w 10000"/>
                <a:gd name="connsiteY121" fmla="*/ 9671 h 10000"/>
                <a:gd name="connsiteX122" fmla="*/ 7748 w 10000"/>
                <a:gd name="connsiteY122" fmla="*/ 9700 h 10000"/>
                <a:gd name="connsiteX123" fmla="*/ 7851 w 10000"/>
                <a:gd name="connsiteY123" fmla="*/ 9743 h 10000"/>
                <a:gd name="connsiteX124" fmla="*/ 7943 w 10000"/>
                <a:gd name="connsiteY124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1965 w 10000"/>
                <a:gd name="connsiteY88" fmla="*/ 0 h 10000"/>
                <a:gd name="connsiteX89" fmla="*/ 2272 w 10000"/>
                <a:gd name="connsiteY89" fmla="*/ 71 h 10000"/>
                <a:gd name="connsiteX90" fmla="*/ 2426 w 10000"/>
                <a:gd name="connsiteY90" fmla="*/ 114 h 10000"/>
                <a:gd name="connsiteX91" fmla="*/ 2569 w 10000"/>
                <a:gd name="connsiteY91" fmla="*/ 186 h 10000"/>
                <a:gd name="connsiteX92" fmla="*/ 2712 w 10000"/>
                <a:gd name="connsiteY92" fmla="*/ 257 h 10000"/>
                <a:gd name="connsiteX93" fmla="*/ 2845 w 10000"/>
                <a:gd name="connsiteY93" fmla="*/ 343 h 10000"/>
                <a:gd name="connsiteX94" fmla="*/ 2989 w 10000"/>
                <a:gd name="connsiteY94" fmla="*/ 443 h 10000"/>
                <a:gd name="connsiteX95" fmla="*/ 3112 w 10000"/>
                <a:gd name="connsiteY95" fmla="*/ 529 h 10000"/>
                <a:gd name="connsiteX96" fmla="*/ 3234 w 10000"/>
                <a:gd name="connsiteY96" fmla="*/ 657 h 10000"/>
                <a:gd name="connsiteX97" fmla="*/ 3367 w 10000"/>
                <a:gd name="connsiteY97" fmla="*/ 786 h 10000"/>
                <a:gd name="connsiteX98" fmla="*/ 3490 w 10000"/>
                <a:gd name="connsiteY98" fmla="*/ 914 h 10000"/>
                <a:gd name="connsiteX99" fmla="*/ 3726 w 10000"/>
                <a:gd name="connsiteY99" fmla="*/ 1200 h 10000"/>
                <a:gd name="connsiteX100" fmla="*/ 3941 w 10000"/>
                <a:gd name="connsiteY100" fmla="*/ 1543 h 10000"/>
                <a:gd name="connsiteX101" fmla="*/ 4145 w 10000"/>
                <a:gd name="connsiteY101" fmla="*/ 1900 h 10000"/>
                <a:gd name="connsiteX102" fmla="*/ 4340 w 10000"/>
                <a:gd name="connsiteY102" fmla="*/ 2286 h 10000"/>
                <a:gd name="connsiteX103" fmla="*/ 4534 w 10000"/>
                <a:gd name="connsiteY103" fmla="*/ 2686 h 10000"/>
                <a:gd name="connsiteX104" fmla="*/ 4708 w 10000"/>
                <a:gd name="connsiteY104" fmla="*/ 3100 h 10000"/>
                <a:gd name="connsiteX105" fmla="*/ 4893 w 10000"/>
                <a:gd name="connsiteY105" fmla="*/ 3529 h 10000"/>
                <a:gd name="connsiteX106" fmla="*/ 5056 w 10000"/>
                <a:gd name="connsiteY106" fmla="*/ 3971 h 10000"/>
                <a:gd name="connsiteX107" fmla="*/ 5363 w 10000"/>
                <a:gd name="connsiteY107" fmla="*/ 4871 h 10000"/>
                <a:gd name="connsiteX108" fmla="*/ 5967 w 10000"/>
                <a:gd name="connsiteY108" fmla="*/ 6657 h 10000"/>
                <a:gd name="connsiteX109" fmla="*/ 6254 w 10000"/>
                <a:gd name="connsiteY109" fmla="*/ 7486 h 10000"/>
                <a:gd name="connsiteX110" fmla="*/ 6407 w 10000"/>
                <a:gd name="connsiteY110" fmla="*/ 7843 h 10000"/>
                <a:gd name="connsiteX111" fmla="*/ 6551 w 10000"/>
                <a:gd name="connsiteY111" fmla="*/ 8214 h 10000"/>
                <a:gd name="connsiteX112" fmla="*/ 6714 w 10000"/>
                <a:gd name="connsiteY112" fmla="*/ 8543 h 10000"/>
                <a:gd name="connsiteX113" fmla="*/ 6868 w 10000"/>
                <a:gd name="connsiteY113" fmla="*/ 8829 h 10000"/>
                <a:gd name="connsiteX114" fmla="*/ 7021 w 10000"/>
                <a:gd name="connsiteY114" fmla="*/ 9100 h 10000"/>
                <a:gd name="connsiteX115" fmla="*/ 7195 w 10000"/>
                <a:gd name="connsiteY115" fmla="*/ 9300 h 10000"/>
                <a:gd name="connsiteX116" fmla="*/ 7288 w 10000"/>
                <a:gd name="connsiteY116" fmla="*/ 9400 h 10000"/>
                <a:gd name="connsiteX117" fmla="*/ 7369 w 10000"/>
                <a:gd name="connsiteY117" fmla="*/ 9500 h 10000"/>
                <a:gd name="connsiteX118" fmla="*/ 7462 w 10000"/>
                <a:gd name="connsiteY118" fmla="*/ 9557 h 10000"/>
                <a:gd name="connsiteX119" fmla="*/ 7554 w 10000"/>
                <a:gd name="connsiteY119" fmla="*/ 9629 h 10000"/>
                <a:gd name="connsiteX120" fmla="*/ 7646 w 10000"/>
                <a:gd name="connsiteY120" fmla="*/ 9671 h 10000"/>
                <a:gd name="connsiteX121" fmla="*/ 7748 w 10000"/>
                <a:gd name="connsiteY121" fmla="*/ 9700 h 10000"/>
                <a:gd name="connsiteX122" fmla="*/ 7851 w 10000"/>
                <a:gd name="connsiteY122" fmla="*/ 9743 h 10000"/>
                <a:gd name="connsiteX123" fmla="*/ 7943 w 10000"/>
                <a:gd name="connsiteY123" fmla="*/ 9743 h 10000"/>
                <a:gd name="connsiteX0" fmla="*/ 7943 w 10000"/>
                <a:gd name="connsiteY0" fmla="*/ 9743 h 10000"/>
                <a:gd name="connsiteX1" fmla="*/ 7943 w 10000"/>
                <a:gd name="connsiteY1" fmla="*/ 9743 h 10000"/>
                <a:gd name="connsiteX2" fmla="*/ 8076 w 10000"/>
                <a:gd name="connsiteY2" fmla="*/ 9743 h 10000"/>
                <a:gd name="connsiteX3" fmla="*/ 8178 w 10000"/>
                <a:gd name="connsiteY3" fmla="*/ 9700 h 10000"/>
                <a:gd name="connsiteX4" fmla="*/ 8291 w 10000"/>
                <a:gd name="connsiteY4" fmla="*/ 9657 h 10000"/>
                <a:gd name="connsiteX5" fmla="*/ 8403 w 10000"/>
                <a:gd name="connsiteY5" fmla="*/ 9614 h 10000"/>
                <a:gd name="connsiteX6" fmla="*/ 8506 w 10000"/>
                <a:gd name="connsiteY6" fmla="*/ 9529 h 10000"/>
                <a:gd name="connsiteX7" fmla="*/ 8608 w 10000"/>
                <a:gd name="connsiteY7" fmla="*/ 9429 h 10000"/>
                <a:gd name="connsiteX8" fmla="*/ 8700 w 10000"/>
                <a:gd name="connsiteY8" fmla="*/ 9343 h 10000"/>
                <a:gd name="connsiteX9" fmla="*/ 8802 w 10000"/>
                <a:gd name="connsiteY9" fmla="*/ 9214 h 10000"/>
                <a:gd name="connsiteX10" fmla="*/ 8915 w 10000"/>
                <a:gd name="connsiteY10" fmla="*/ 9086 h 10000"/>
                <a:gd name="connsiteX11" fmla="*/ 9007 w 10000"/>
                <a:gd name="connsiteY11" fmla="*/ 8943 h 10000"/>
                <a:gd name="connsiteX12" fmla="*/ 9191 w 10000"/>
                <a:gd name="connsiteY12" fmla="*/ 8614 h 10000"/>
                <a:gd name="connsiteX13" fmla="*/ 9376 w 10000"/>
                <a:gd name="connsiteY13" fmla="*/ 8243 h 10000"/>
                <a:gd name="connsiteX14" fmla="*/ 9539 w 10000"/>
                <a:gd name="connsiteY14" fmla="*/ 7843 h 10000"/>
                <a:gd name="connsiteX15" fmla="*/ 9775 w 10000"/>
                <a:gd name="connsiteY15" fmla="*/ 8286 h 10000"/>
                <a:gd name="connsiteX16" fmla="*/ 10000 w 10000"/>
                <a:gd name="connsiteY16" fmla="*/ 8700 h 10000"/>
                <a:gd name="connsiteX17" fmla="*/ 9785 w 10000"/>
                <a:gd name="connsiteY17" fmla="*/ 8986 h 10000"/>
                <a:gd name="connsiteX18" fmla="*/ 9570 w 10000"/>
                <a:gd name="connsiteY18" fmla="*/ 9243 h 10000"/>
                <a:gd name="connsiteX19" fmla="*/ 9324 w 10000"/>
                <a:gd name="connsiteY19" fmla="*/ 9471 h 10000"/>
                <a:gd name="connsiteX20" fmla="*/ 9212 w 10000"/>
                <a:gd name="connsiteY20" fmla="*/ 9557 h 10000"/>
                <a:gd name="connsiteX21" fmla="*/ 9079 w 10000"/>
                <a:gd name="connsiteY21" fmla="*/ 9657 h 10000"/>
                <a:gd name="connsiteX22" fmla="*/ 8946 w 10000"/>
                <a:gd name="connsiteY22" fmla="*/ 9743 h 10000"/>
                <a:gd name="connsiteX23" fmla="*/ 8823 w 10000"/>
                <a:gd name="connsiteY23" fmla="*/ 9800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4 h 10000"/>
                <a:gd name="connsiteX35" fmla="*/ 7021 w 10000"/>
                <a:gd name="connsiteY35" fmla="*/ 9757 h 10000"/>
                <a:gd name="connsiteX36" fmla="*/ 6888 w 10000"/>
                <a:gd name="connsiteY36" fmla="*/ 9657 h 10000"/>
                <a:gd name="connsiteX37" fmla="*/ 6745 w 10000"/>
                <a:gd name="connsiteY37" fmla="*/ 9557 h 10000"/>
                <a:gd name="connsiteX38" fmla="*/ 6622 w 10000"/>
                <a:gd name="connsiteY38" fmla="*/ 9471 h 10000"/>
                <a:gd name="connsiteX39" fmla="*/ 6479 w 10000"/>
                <a:gd name="connsiteY39" fmla="*/ 9343 h 10000"/>
                <a:gd name="connsiteX40" fmla="*/ 6366 w 10000"/>
                <a:gd name="connsiteY40" fmla="*/ 9229 h 10000"/>
                <a:gd name="connsiteX41" fmla="*/ 6244 w 10000"/>
                <a:gd name="connsiteY41" fmla="*/ 9086 h 10000"/>
                <a:gd name="connsiteX42" fmla="*/ 6008 w 10000"/>
                <a:gd name="connsiteY42" fmla="*/ 8786 h 10000"/>
                <a:gd name="connsiteX43" fmla="*/ 5793 w 10000"/>
                <a:gd name="connsiteY43" fmla="*/ 8457 h 10000"/>
                <a:gd name="connsiteX44" fmla="*/ 5589 w 10000"/>
                <a:gd name="connsiteY44" fmla="*/ 8100 h 10000"/>
                <a:gd name="connsiteX45" fmla="*/ 5394 w 10000"/>
                <a:gd name="connsiteY45" fmla="*/ 7714 h 10000"/>
                <a:gd name="connsiteX46" fmla="*/ 5200 w 10000"/>
                <a:gd name="connsiteY46" fmla="*/ 7314 h 10000"/>
                <a:gd name="connsiteX47" fmla="*/ 5026 w 10000"/>
                <a:gd name="connsiteY47" fmla="*/ 6900 h 10000"/>
                <a:gd name="connsiteX48" fmla="*/ 4852 w 10000"/>
                <a:gd name="connsiteY48" fmla="*/ 6471 h 10000"/>
                <a:gd name="connsiteX49" fmla="*/ 4688 w 10000"/>
                <a:gd name="connsiteY49" fmla="*/ 6029 h 10000"/>
                <a:gd name="connsiteX50" fmla="*/ 4371 w 10000"/>
                <a:gd name="connsiteY50" fmla="*/ 5129 h 10000"/>
                <a:gd name="connsiteX51" fmla="*/ 3777 w 10000"/>
                <a:gd name="connsiteY51" fmla="*/ 3357 h 10000"/>
                <a:gd name="connsiteX52" fmla="*/ 3644 w 10000"/>
                <a:gd name="connsiteY52" fmla="*/ 2914 h 10000"/>
                <a:gd name="connsiteX53" fmla="*/ 3490 w 10000"/>
                <a:gd name="connsiteY53" fmla="*/ 2514 h 10000"/>
                <a:gd name="connsiteX54" fmla="*/ 3347 w 10000"/>
                <a:gd name="connsiteY54" fmla="*/ 2157 h 10000"/>
                <a:gd name="connsiteX55" fmla="*/ 3193 w 10000"/>
                <a:gd name="connsiteY55" fmla="*/ 1786 h 10000"/>
                <a:gd name="connsiteX56" fmla="*/ 3040 w 10000"/>
                <a:gd name="connsiteY56" fmla="*/ 1457 h 10000"/>
                <a:gd name="connsiteX57" fmla="*/ 2886 w 10000"/>
                <a:gd name="connsiteY57" fmla="*/ 1171 h 10000"/>
                <a:gd name="connsiteX58" fmla="*/ 2723 w 10000"/>
                <a:gd name="connsiteY58" fmla="*/ 900 h 10000"/>
                <a:gd name="connsiteX59" fmla="*/ 2559 w 10000"/>
                <a:gd name="connsiteY59" fmla="*/ 700 h 10000"/>
                <a:gd name="connsiteX60" fmla="*/ 2467 w 10000"/>
                <a:gd name="connsiteY60" fmla="*/ 600 h 10000"/>
                <a:gd name="connsiteX61" fmla="*/ 2375 w 10000"/>
                <a:gd name="connsiteY61" fmla="*/ 500 h 10000"/>
                <a:gd name="connsiteX62" fmla="*/ 2282 w 10000"/>
                <a:gd name="connsiteY62" fmla="*/ 443 h 10000"/>
                <a:gd name="connsiteX63" fmla="*/ 2190 w 10000"/>
                <a:gd name="connsiteY63" fmla="*/ 371 h 10000"/>
                <a:gd name="connsiteX64" fmla="*/ 1791 w 10000"/>
                <a:gd name="connsiteY64" fmla="*/ 257 h 10000"/>
                <a:gd name="connsiteX65" fmla="*/ 1668 w 10000"/>
                <a:gd name="connsiteY65" fmla="*/ 271 h 10000"/>
                <a:gd name="connsiteX66" fmla="*/ 1525 w 10000"/>
                <a:gd name="connsiteY66" fmla="*/ 314 h 10000"/>
                <a:gd name="connsiteX67" fmla="*/ 1402 w 10000"/>
                <a:gd name="connsiteY67" fmla="*/ 357 h 10000"/>
                <a:gd name="connsiteX68" fmla="*/ 1279 w 10000"/>
                <a:gd name="connsiteY68" fmla="*/ 443 h 10000"/>
                <a:gd name="connsiteX69" fmla="*/ 1157 w 10000"/>
                <a:gd name="connsiteY69" fmla="*/ 529 h 10000"/>
                <a:gd name="connsiteX70" fmla="*/ 1044 w 10000"/>
                <a:gd name="connsiteY70" fmla="*/ 643 h 10000"/>
                <a:gd name="connsiteX71" fmla="*/ 931 w 10000"/>
                <a:gd name="connsiteY71" fmla="*/ 786 h 10000"/>
                <a:gd name="connsiteX72" fmla="*/ 809 w 10000"/>
                <a:gd name="connsiteY72" fmla="*/ 929 h 10000"/>
                <a:gd name="connsiteX73" fmla="*/ 706 w 10000"/>
                <a:gd name="connsiteY73" fmla="*/ 1114 h 10000"/>
                <a:gd name="connsiteX74" fmla="*/ 604 w 10000"/>
                <a:gd name="connsiteY74" fmla="*/ 1286 h 10000"/>
                <a:gd name="connsiteX75" fmla="*/ 491 w 10000"/>
                <a:gd name="connsiteY75" fmla="*/ 1486 h 10000"/>
                <a:gd name="connsiteX76" fmla="*/ 399 w 10000"/>
                <a:gd name="connsiteY76" fmla="*/ 1686 h 10000"/>
                <a:gd name="connsiteX77" fmla="*/ 194 w 10000"/>
                <a:gd name="connsiteY77" fmla="*/ 2157 h 10000"/>
                <a:gd name="connsiteX78" fmla="*/ 0 w 10000"/>
                <a:gd name="connsiteY78" fmla="*/ 2643 h 10000"/>
                <a:gd name="connsiteX79" fmla="*/ 10 w 10000"/>
                <a:gd name="connsiteY79" fmla="*/ 971 h 10000"/>
                <a:gd name="connsiteX80" fmla="*/ 205 w 10000"/>
                <a:gd name="connsiteY80" fmla="*/ 757 h 10000"/>
                <a:gd name="connsiteX81" fmla="*/ 399 w 10000"/>
                <a:gd name="connsiteY81" fmla="*/ 571 h 10000"/>
                <a:gd name="connsiteX82" fmla="*/ 604 w 10000"/>
                <a:gd name="connsiteY82" fmla="*/ 386 h 10000"/>
                <a:gd name="connsiteX83" fmla="*/ 819 w 10000"/>
                <a:gd name="connsiteY83" fmla="*/ 257 h 10000"/>
                <a:gd name="connsiteX84" fmla="*/ 1054 w 10000"/>
                <a:gd name="connsiteY84" fmla="*/ 157 h 10000"/>
                <a:gd name="connsiteX85" fmla="*/ 1300 w 10000"/>
                <a:gd name="connsiteY85" fmla="*/ 71 h 10000"/>
                <a:gd name="connsiteX86" fmla="*/ 1535 w 10000"/>
                <a:gd name="connsiteY86" fmla="*/ 29 h 10000"/>
                <a:gd name="connsiteX87" fmla="*/ 1801 w 10000"/>
                <a:gd name="connsiteY87" fmla="*/ 0 h 10000"/>
                <a:gd name="connsiteX88" fmla="*/ 2272 w 10000"/>
                <a:gd name="connsiteY88" fmla="*/ 71 h 10000"/>
                <a:gd name="connsiteX89" fmla="*/ 2426 w 10000"/>
                <a:gd name="connsiteY89" fmla="*/ 114 h 10000"/>
                <a:gd name="connsiteX90" fmla="*/ 2569 w 10000"/>
                <a:gd name="connsiteY90" fmla="*/ 186 h 10000"/>
                <a:gd name="connsiteX91" fmla="*/ 2712 w 10000"/>
                <a:gd name="connsiteY91" fmla="*/ 257 h 10000"/>
                <a:gd name="connsiteX92" fmla="*/ 2845 w 10000"/>
                <a:gd name="connsiteY92" fmla="*/ 343 h 10000"/>
                <a:gd name="connsiteX93" fmla="*/ 2989 w 10000"/>
                <a:gd name="connsiteY93" fmla="*/ 443 h 10000"/>
                <a:gd name="connsiteX94" fmla="*/ 3112 w 10000"/>
                <a:gd name="connsiteY94" fmla="*/ 529 h 10000"/>
                <a:gd name="connsiteX95" fmla="*/ 3234 w 10000"/>
                <a:gd name="connsiteY95" fmla="*/ 657 h 10000"/>
                <a:gd name="connsiteX96" fmla="*/ 3367 w 10000"/>
                <a:gd name="connsiteY96" fmla="*/ 786 h 10000"/>
                <a:gd name="connsiteX97" fmla="*/ 3490 w 10000"/>
                <a:gd name="connsiteY97" fmla="*/ 914 h 10000"/>
                <a:gd name="connsiteX98" fmla="*/ 3726 w 10000"/>
                <a:gd name="connsiteY98" fmla="*/ 1200 h 10000"/>
                <a:gd name="connsiteX99" fmla="*/ 3941 w 10000"/>
                <a:gd name="connsiteY99" fmla="*/ 1543 h 10000"/>
                <a:gd name="connsiteX100" fmla="*/ 4145 w 10000"/>
                <a:gd name="connsiteY100" fmla="*/ 1900 h 10000"/>
                <a:gd name="connsiteX101" fmla="*/ 4340 w 10000"/>
                <a:gd name="connsiteY101" fmla="*/ 2286 h 10000"/>
                <a:gd name="connsiteX102" fmla="*/ 4534 w 10000"/>
                <a:gd name="connsiteY102" fmla="*/ 2686 h 10000"/>
                <a:gd name="connsiteX103" fmla="*/ 4708 w 10000"/>
                <a:gd name="connsiteY103" fmla="*/ 3100 h 10000"/>
                <a:gd name="connsiteX104" fmla="*/ 4893 w 10000"/>
                <a:gd name="connsiteY104" fmla="*/ 3529 h 10000"/>
                <a:gd name="connsiteX105" fmla="*/ 5056 w 10000"/>
                <a:gd name="connsiteY105" fmla="*/ 3971 h 10000"/>
                <a:gd name="connsiteX106" fmla="*/ 5363 w 10000"/>
                <a:gd name="connsiteY106" fmla="*/ 4871 h 10000"/>
                <a:gd name="connsiteX107" fmla="*/ 5967 w 10000"/>
                <a:gd name="connsiteY107" fmla="*/ 6657 h 10000"/>
                <a:gd name="connsiteX108" fmla="*/ 6254 w 10000"/>
                <a:gd name="connsiteY108" fmla="*/ 7486 h 10000"/>
                <a:gd name="connsiteX109" fmla="*/ 6407 w 10000"/>
                <a:gd name="connsiteY109" fmla="*/ 7843 h 10000"/>
                <a:gd name="connsiteX110" fmla="*/ 6551 w 10000"/>
                <a:gd name="connsiteY110" fmla="*/ 8214 h 10000"/>
                <a:gd name="connsiteX111" fmla="*/ 6714 w 10000"/>
                <a:gd name="connsiteY111" fmla="*/ 8543 h 10000"/>
                <a:gd name="connsiteX112" fmla="*/ 6868 w 10000"/>
                <a:gd name="connsiteY112" fmla="*/ 8829 h 10000"/>
                <a:gd name="connsiteX113" fmla="*/ 7021 w 10000"/>
                <a:gd name="connsiteY113" fmla="*/ 9100 h 10000"/>
                <a:gd name="connsiteX114" fmla="*/ 7195 w 10000"/>
                <a:gd name="connsiteY114" fmla="*/ 9300 h 10000"/>
                <a:gd name="connsiteX115" fmla="*/ 7288 w 10000"/>
                <a:gd name="connsiteY115" fmla="*/ 9400 h 10000"/>
                <a:gd name="connsiteX116" fmla="*/ 7369 w 10000"/>
                <a:gd name="connsiteY116" fmla="*/ 9500 h 10000"/>
                <a:gd name="connsiteX117" fmla="*/ 7462 w 10000"/>
                <a:gd name="connsiteY117" fmla="*/ 9557 h 10000"/>
                <a:gd name="connsiteX118" fmla="*/ 7554 w 10000"/>
                <a:gd name="connsiteY118" fmla="*/ 9629 h 10000"/>
                <a:gd name="connsiteX119" fmla="*/ 7646 w 10000"/>
                <a:gd name="connsiteY119" fmla="*/ 9671 h 10000"/>
                <a:gd name="connsiteX120" fmla="*/ 7748 w 10000"/>
                <a:gd name="connsiteY120" fmla="*/ 9700 h 10000"/>
                <a:gd name="connsiteX121" fmla="*/ 7851 w 10000"/>
                <a:gd name="connsiteY121" fmla="*/ 9743 h 10000"/>
                <a:gd name="connsiteX122" fmla="*/ 7943 w 10000"/>
                <a:gd name="connsiteY122" fmla="*/ 9743 h 10000"/>
                <a:gd name="connsiteX0" fmla="*/ 7943 w 10000"/>
                <a:gd name="connsiteY0" fmla="*/ 9714 h 9971"/>
                <a:gd name="connsiteX1" fmla="*/ 7943 w 10000"/>
                <a:gd name="connsiteY1" fmla="*/ 9714 h 9971"/>
                <a:gd name="connsiteX2" fmla="*/ 8076 w 10000"/>
                <a:gd name="connsiteY2" fmla="*/ 9714 h 9971"/>
                <a:gd name="connsiteX3" fmla="*/ 8178 w 10000"/>
                <a:gd name="connsiteY3" fmla="*/ 9671 h 9971"/>
                <a:gd name="connsiteX4" fmla="*/ 8291 w 10000"/>
                <a:gd name="connsiteY4" fmla="*/ 9628 h 9971"/>
                <a:gd name="connsiteX5" fmla="*/ 8403 w 10000"/>
                <a:gd name="connsiteY5" fmla="*/ 9585 h 9971"/>
                <a:gd name="connsiteX6" fmla="*/ 8506 w 10000"/>
                <a:gd name="connsiteY6" fmla="*/ 9500 h 9971"/>
                <a:gd name="connsiteX7" fmla="*/ 8608 w 10000"/>
                <a:gd name="connsiteY7" fmla="*/ 9400 h 9971"/>
                <a:gd name="connsiteX8" fmla="*/ 8700 w 10000"/>
                <a:gd name="connsiteY8" fmla="*/ 9314 h 9971"/>
                <a:gd name="connsiteX9" fmla="*/ 8802 w 10000"/>
                <a:gd name="connsiteY9" fmla="*/ 9185 h 9971"/>
                <a:gd name="connsiteX10" fmla="*/ 8915 w 10000"/>
                <a:gd name="connsiteY10" fmla="*/ 9057 h 9971"/>
                <a:gd name="connsiteX11" fmla="*/ 9007 w 10000"/>
                <a:gd name="connsiteY11" fmla="*/ 8914 h 9971"/>
                <a:gd name="connsiteX12" fmla="*/ 9191 w 10000"/>
                <a:gd name="connsiteY12" fmla="*/ 8585 h 9971"/>
                <a:gd name="connsiteX13" fmla="*/ 9376 w 10000"/>
                <a:gd name="connsiteY13" fmla="*/ 8214 h 9971"/>
                <a:gd name="connsiteX14" fmla="*/ 9539 w 10000"/>
                <a:gd name="connsiteY14" fmla="*/ 7814 h 9971"/>
                <a:gd name="connsiteX15" fmla="*/ 9775 w 10000"/>
                <a:gd name="connsiteY15" fmla="*/ 8257 h 9971"/>
                <a:gd name="connsiteX16" fmla="*/ 10000 w 10000"/>
                <a:gd name="connsiteY16" fmla="*/ 8671 h 9971"/>
                <a:gd name="connsiteX17" fmla="*/ 9785 w 10000"/>
                <a:gd name="connsiteY17" fmla="*/ 8957 h 9971"/>
                <a:gd name="connsiteX18" fmla="*/ 9570 w 10000"/>
                <a:gd name="connsiteY18" fmla="*/ 9214 h 9971"/>
                <a:gd name="connsiteX19" fmla="*/ 9324 w 10000"/>
                <a:gd name="connsiteY19" fmla="*/ 9442 h 9971"/>
                <a:gd name="connsiteX20" fmla="*/ 9212 w 10000"/>
                <a:gd name="connsiteY20" fmla="*/ 9528 h 9971"/>
                <a:gd name="connsiteX21" fmla="*/ 9079 w 10000"/>
                <a:gd name="connsiteY21" fmla="*/ 9628 h 9971"/>
                <a:gd name="connsiteX22" fmla="*/ 8946 w 10000"/>
                <a:gd name="connsiteY22" fmla="*/ 9714 h 9971"/>
                <a:gd name="connsiteX23" fmla="*/ 8823 w 10000"/>
                <a:gd name="connsiteY23" fmla="*/ 9771 h 9971"/>
                <a:gd name="connsiteX24" fmla="*/ 8680 w 10000"/>
                <a:gd name="connsiteY24" fmla="*/ 9842 h 9971"/>
                <a:gd name="connsiteX25" fmla="*/ 8547 w 10000"/>
                <a:gd name="connsiteY25" fmla="*/ 9885 h 9971"/>
                <a:gd name="connsiteX26" fmla="*/ 8403 w 10000"/>
                <a:gd name="connsiteY26" fmla="*/ 9914 h 9971"/>
                <a:gd name="connsiteX27" fmla="*/ 8260 w 10000"/>
                <a:gd name="connsiteY27" fmla="*/ 9942 h 9971"/>
                <a:gd name="connsiteX28" fmla="*/ 8106 w 10000"/>
                <a:gd name="connsiteY28" fmla="*/ 9971 h 9971"/>
                <a:gd name="connsiteX29" fmla="*/ 7943 w 10000"/>
                <a:gd name="connsiteY29" fmla="*/ 9971 h 9971"/>
                <a:gd name="connsiteX30" fmla="*/ 7779 w 10000"/>
                <a:gd name="connsiteY30" fmla="*/ 9971 h 9971"/>
                <a:gd name="connsiteX31" fmla="*/ 7625 w 10000"/>
                <a:gd name="connsiteY31" fmla="*/ 9928 h 9971"/>
                <a:gd name="connsiteX32" fmla="*/ 7462 w 10000"/>
                <a:gd name="connsiteY32" fmla="*/ 9900 h 9971"/>
                <a:gd name="connsiteX33" fmla="*/ 7308 w 10000"/>
                <a:gd name="connsiteY33" fmla="*/ 9857 h 9971"/>
                <a:gd name="connsiteX34" fmla="*/ 7165 w 10000"/>
                <a:gd name="connsiteY34" fmla="*/ 9785 h 9971"/>
                <a:gd name="connsiteX35" fmla="*/ 7021 w 10000"/>
                <a:gd name="connsiteY35" fmla="*/ 9728 h 9971"/>
                <a:gd name="connsiteX36" fmla="*/ 6888 w 10000"/>
                <a:gd name="connsiteY36" fmla="*/ 9628 h 9971"/>
                <a:gd name="connsiteX37" fmla="*/ 6745 w 10000"/>
                <a:gd name="connsiteY37" fmla="*/ 9528 h 9971"/>
                <a:gd name="connsiteX38" fmla="*/ 6622 w 10000"/>
                <a:gd name="connsiteY38" fmla="*/ 9442 h 9971"/>
                <a:gd name="connsiteX39" fmla="*/ 6479 w 10000"/>
                <a:gd name="connsiteY39" fmla="*/ 9314 h 9971"/>
                <a:gd name="connsiteX40" fmla="*/ 6366 w 10000"/>
                <a:gd name="connsiteY40" fmla="*/ 9200 h 9971"/>
                <a:gd name="connsiteX41" fmla="*/ 6244 w 10000"/>
                <a:gd name="connsiteY41" fmla="*/ 9057 h 9971"/>
                <a:gd name="connsiteX42" fmla="*/ 6008 w 10000"/>
                <a:gd name="connsiteY42" fmla="*/ 8757 h 9971"/>
                <a:gd name="connsiteX43" fmla="*/ 5793 w 10000"/>
                <a:gd name="connsiteY43" fmla="*/ 8428 h 9971"/>
                <a:gd name="connsiteX44" fmla="*/ 5589 w 10000"/>
                <a:gd name="connsiteY44" fmla="*/ 8071 h 9971"/>
                <a:gd name="connsiteX45" fmla="*/ 5394 w 10000"/>
                <a:gd name="connsiteY45" fmla="*/ 7685 h 9971"/>
                <a:gd name="connsiteX46" fmla="*/ 5200 w 10000"/>
                <a:gd name="connsiteY46" fmla="*/ 7285 h 9971"/>
                <a:gd name="connsiteX47" fmla="*/ 5026 w 10000"/>
                <a:gd name="connsiteY47" fmla="*/ 6871 h 9971"/>
                <a:gd name="connsiteX48" fmla="*/ 4852 w 10000"/>
                <a:gd name="connsiteY48" fmla="*/ 6442 h 9971"/>
                <a:gd name="connsiteX49" fmla="*/ 4688 w 10000"/>
                <a:gd name="connsiteY49" fmla="*/ 6000 h 9971"/>
                <a:gd name="connsiteX50" fmla="*/ 4371 w 10000"/>
                <a:gd name="connsiteY50" fmla="*/ 5100 h 9971"/>
                <a:gd name="connsiteX51" fmla="*/ 3777 w 10000"/>
                <a:gd name="connsiteY51" fmla="*/ 3328 h 9971"/>
                <a:gd name="connsiteX52" fmla="*/ 3644 w 10000"/>
                <a:gd name="connsiteY52" fmla="*/ 2885 h 9971"/>
                <a:gd name="connsiteX53" fmla="*/ 3490 w 10000"/>
                <a:gd name="connsiteY53" fmla="*/ 2485 h 9971"/>
                <a:gd name="connsiteX54" fmla="*/ 3347 w 10000"/>
                <a:gd name="connsiteY54" fmla="*/ 2128 h 9971"/>
                <a:gd name="connsiteX55" fmla="*/ 3193 w 10000"/>
                <a:gd name="connsiteY55" fmla="*/ 1757 h 9971"/>
                <a:gd name="connsiteX56" fmla="*/ 3040 w 10000"/>
                <a:gd name="connsiteY56" fmla="*/ 1428 h 9971"/>
                <a:gd name="connsiteX57" fmla="*/ 2886 w 10000"/>
                <a:gd name="connsiteY57" fmla="*/ 1142 h 9971"/>
                <a:gd name="connsiteX58" fmla="*/ 2723 w 10000"/>
                <a:gd name="connsiteY58" fmla="*/ 871 h 9971"/>
                <a:gd name="connsiteX59" fmla="*/ 2559 w 10000"/>
                <a:gd name="connsiteY59" fmla="*/ 671 h 9971"/>
                <a:gd name="connsiteX60" fmla="*/ 2467 w 10000"/>
                <a:gd name="connsiteY60" fmla="*/ 571 h 9971"/>
                <a:gd name="connsiteX61" fmla="*/ 2375 w 10000"/>
                <a:gd name="connsiteY61" fmla="*/ 471 h 9971"/>
                <a:gd name="connsiteX62" fmla="*/ 2282 w 10000"/>
                <a:gd name="connsiteY62" fmla="*/ 414 h 9971"/>
                <a:gd name="connsiteX63" fmla="*/ 2190 w 10000"/>
                <a:gd name="connsiteY63" fmla="*/ 342 h 9971"/>
                <a:gd name="connsiteX64" fmla="*/ 1791 w 10000"/>
                <a:gd name="connsiteY64" fmla="*/ 228 h 9971"/>
                <a:gd name="connsiteX65" fmla="*/ 1668 w 10000"/>
                <a:gd name="connsiteY65" fmla="*/ 242 h 9971"/>
                <a:gd name="connsiteX66" fmla="*/ 1525 w 10000"/>
                <a:gd name="connsiteY66" fmla="*/ 285 h 9971"/>
                <a:gd name="connsiteX67" fmla="*/ 1402 w 10000"/>
                <a:gd name="connsiteY67" fmla="*/ 328 h 9971"/>
                <a:gd name="connsiteX68" fmla="*/ 1279 w 10000"/>
                <a:gd name="connsiteY68" fmla="*/ 414 h 9971"/>
                <a:gd name="connsiteX69" fmla="*/ 1157 w 10000"/>
                <a:gd name="connsiteY69" fmla="*/ 500 h 9971"/>
                <a:gd name="connsiteX70" fmla="*/ 1044 w 10000"/>
                <a:gd name="connsiteY70" fmla="*/ 614 h 9971"/>
                <a:gd name="connsiteX71" fmla="*/ 931 w 10000"/>
                <a:gd name="connsiteY71" fmla="*/ 757 h 9971"/>
                <a:gd name="connsiteX72" fmla="*/ 809 w 10000"/>
                <a:gd name="connsiteY72" fmla="*/ 900 h 9971"/>
                <a:gd name="connsiteX73" fmla="*/ 706 w 10000"/>
                <a:gd name="connsiteY73" fmla="*/ 1085 h 9971"/>
                <a:gd name="connsiteX74" fmla="*/ 604 w 10000"/>
                <a:gd name="connsiteY74" fmla="*/ 1257 h 9971"/>
                <a:gd name="connsiteX75" fmla="*/ 491 w 10000"/>
                <a:gd name="connsiteY75" fmla="*/ 1457 h 9971"/>
                <a:gd name="connsiteX76" fmla="*/ 399 w 10000"/>
                <a:gd name="connsiteY76" fmla="*/ 1657 h 9971"/>
                <a:gd name="connsiteX77" fmla="*/ 194 w 10000"/>
                <a:gd name="connsiteY77" fmla="*/ 2128 h 9971"/>
                <a:gd name="connsiteX78" fmla="*/ 0 w 10000"/>
                <a:gd name="connsiteY78" fmla="*/ 2614 h 9971"/>
                <a:gd name="connsiteX79" fmla="*/ 10 w 10000"/>
                <a:gd name="connsiteY79" fmla="*/ 942 h 9971"/>
                <a:gd name="connsiteX80" fmla="*/ 205 w 10000"/>
                <a:gd name="connsiteY80" fmla="*/ 728 h 9971"/>
                <a:gd name="connsiteX81" fmla="*/ 399 w 10000"/>
                <a:gd name="connsiteY81" fmla="*/ 542 h 9971"/>
                <a:gd name="connsiteX82" fmla="*/ 604 w 10000"/>
                <a:gd name="connsiteY82" fmla="*/ 357 h 9971"/>
                <a:gd name="connsiteX83" fmla="*/ 819 w 10000"/>
                <a:gd name="connsiteY83" fmla="*/ 228 h 9971"/>
                <a:gd name="connsiteX84" fmla="*/ 1054 w 10000"/>
                <a:gd name="connsiteY84" fmla="*/ 128 h 9971"/>
                <a:gd name="connsiteX85" fmla="*/ 1300 w 10000"/>
                <a:gd name="connsiteY85" fmla="*/ 42 h 9971"/>
                <a:gd name="connsiteX86" fmla="*/ 1535 w 10000"/>
                <a:gd name="connsiteY86" fmla="*/ 0 h 9971"/>
                <a:gd name="connsiteX87" fmla="*/ 2272 w 10000"/>
                <a:gd name="connsiteY87" fmla="*/ 42 h 9971"/>
                <a:gd name="connsiteX88" fmla="*/ 2426 w 10000"/>
                <a:gd name="connsiteY88" fmla="*/ 85 h 9971"/>
                <a:gd name="connsiteX89" fmla="*/ 2569 w 10000"/>
                <a:gd name="connsiteY89" fmla="*/ 157 h 9971"/>
                <a:gd name="connsiteX90" fmla="*/ 2712 w 10000"/>
                <a:gd name="connsiteY90" fmla="*/ 228 h 9971"/>
                <a:gd name="connsiteX91" fmla="*/ 2845 w 10000"/>
                <a:gd name="connsiteY91" fmla="*/ 314 h 9971"/>
                <a:gd name="connsiteX92" fmla="*/ 2989 w 10000"/>
                <a:gd name="connsiteY92" fmla="*/ 414 h 9971"/>
                <a:gd name="connsiteX93" fmla="*/ 3112 w 10000"/>
                <a:gd name="connsiteY93" fmla="*/ 500 h 9971"/>
                <a:gd name="connsiteX94" fmla="*/ 3234 w 10000"/>
                <a:gd name="connsiteY94" fmla="*/ 628 h 9971"/>
                <a:gd name="connsiteX95" fmla="*/ 3367 w 10000"/>
                <a:gd name="connsiteY95" fmla="*/ 757 h 9971"/>
                <a:gd name="connsiteX96" fmla="*/ 3490 w 10000"/>
                <a:gd name="connsiteY96" fmla="*/ 885 h 9971"/>
                <a:gd name="connsiteX97" fmla="*/ 3726 w 10000"/>
                <a:gd name="connsiteY97" fmla="*/ 1171 h 9971"/>
                <a:gd name="connsiteX98" fmla="*/ 3941 w 10000"/>
                <a:gd name="connsiteY98" fmla="*/ 1514 h 9971"/>
                <a:gd name="connsiteX99" fmla="*/ 4145 w 10000"/>
                <a:gd name="connsiteY99" fmla="*/ 1871 h 9971"/>
                <a:gd name="connsiteX100" fmla="*/ 4340 w 10000"/>
                <a:gd name="connsiteY100" fmla="*/ 2257 h 9971"/>
                <a:gd name="connsiteX101" fmla="*/ 4534 w 10000"/>
                <a:gd name="connsiteY101" fmla="*/ 2657 h 9971"/>
                <a:gd name="connsiteX102" fmla="*/ 4708 w 10000"/>
                <a:gd name="connsiteY102" fmla="*/ 3071 h 9971"/>
                <a:gd name="connsiteX103" fmla="*/ 4893 w 10000"/>
                <a:gd name="connsiteY103" fmla="*/ 3500 h 9971"/>
                <a:gd name="connsiteX104" fmla="*/ 5056 w 10000"/>
                <a:gd name="connsiteY104" fmla="*/ 3942 h 9971"/>
                <a:gd name="connsiteX105" fmla="*/ 5363 w 10000"/>
                <a:gd name="connsiteY105" fmla="*/ 4842 h 9971"/>
                <a:gd name="connsiteX106" fmla="*/ 5967 w 10000"/>
                <a:gd name="connsiteY106" fmla="*/ 6628 h 9971"/>
                <a:gd name="connsiteX107" fmla="*/ 6254 w 10000"/>
                <a:gd name="connsiteY107" fmla="*/ 7457 h 9971"/>
                <a:gd name="connsiteX108" fmla="*/ 6407 w 10000"/>
                <a:gd name="connsiteY108" fmla="*/ 7814 h 9971"/>
                <a:gd name="connsiteX109" fmla="*/ 6551 w 10000"/>
                <a:gd name="connsiteY109" fmla="*/ 8185 h 9971"/>
                <a:gd name="connsiteX110" fmla="*/ 6714 w 10000"/>
                <a:gd name="connsiteY110" fmla="*/ 8514 h 9971"/>
                <a:gd name="connsiteX111" fmla="*/ 6868 w 10000"/>
                <a:gd name="connsiteY111" fmla="*/ 8800 h 9971"/>
                <a:gd name="connsiteX112" fmla="*/ 7021 w 10000"/>
                <a:gd name="connsiteY112" fmla="*/ 9071 h 9971"/>
                <a:gd name="connsiteX113" fmla="*/ 7195 w 10000"/>
                <a:gd name="connsiteY113" fmla="*/ 9271 h 9971"/>
                <a:gd name="connsiteX114" fmla="*/ 7288 w 10000"/>
                <a:gd name="connsiteY114" fmla="*/ 9371 h 9971"/>
                <a:gd name="connsiteX115" fmla="*/ 7369 w 10000"/>
                <a:gd name="connsiteY115" fmla="*/ 9471 h 9971"/>
                <a:gd name="connsiteX116" fmla="*/ 7462 w 10000"/>
                <a:gd name="connsiteY116" fmla="*/ 9528 h 9971"/>
                <a:gd name="connsiteX117" fmla="*/ 7554 w 10000"/>
                <a:gd name="connsiteY117" fmla="*/ 9600 h 9971"/>
                <a:gd name="connsiteX118" fmla="*/ 7646 w 10000"/>
                <a:gd name="connsiteY118" fmla="*/ 9642 h 9971"/>
                <a:gd name="connsiteX119" fmla="*/ 7748 w 10000"/>
                <a:gd name="connsiteY119" fmla="*/ 9671 h 9971"/>
                <a:gd name="connsiteX120" fmla="*/ 7851 w 10000"/>
                <a:gd name="connsiteY120" fmla="*/ 9714 h 9971"/>
                <a:gd name="connsiteX121" fmla="*/ 7943 w 10000"/>
                <a:gd name="connsiteY121" fmla="*/ 9714 h 9971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525 w 10000"/>
                <a:gd name="connsiteY65" fmla="*/ 286 h 10000"/>
                <a:gd name="connsiteX66" fmla="*/ 1402 w 10000"/>
                <a:gd name="connsiteY66" fmla="*/ 329 h 10000"/>
                <a:gd name="connsiteX67" fmla="*/ 1279 w 10000"/>
                <a:gd name="connsiteY67" fmla="*/ 415 h 10000"/>
                <a:gd name="connsiteX68" fmla="*/ 1157 w 10000"/>
                <a:gd name="connsiteY68" fmla="*/ 501 h 10000"/>
                <a:gd name="connsiteX69" fmla="*/ 1044 w 10000"/>
                <a:gd name="connsiteY69" fmla="*/ 616 h 10000"/>
                <a:gd name="connsiteX70" fmla="*/ 931 w 10000"/>
                <a:gd name="connsiteY70" fmla="*/ 759 h 10000"/>
                <a:gd name="connsiteX71" fmla="*/ 809 w 10000"/>
                <a:gd name="connsiteY71" fmla="*/ 903 h 10000"/>
                <a:gd name="connsiteX72" fmla="*/ 706 w 10000"/>
                <a:gd name="connsiteY72" fmla="*/ 1088 h 10000"/>
                <a:gd name="connsiteX73" fmla="*/ 604 w 10000"/>
                <a:gd name="connsiteY73" fmla="*/ 1261 h 10000"/>
                <a:gd name="connsiteX74" fmla="*/ 491 w 10000"/>
                <a:gd name="connsiteY74" fmla="*/ 1461 h 10000"/>
                <a:gd name="connsiteX75" fmla="*/ 399 w 10000"/>
                <a:gd name="connsiteY75" fmla="*/ 1662 h 10000"/>
                <a:gd name="connsiteX76" fmla="*/ 194 w 10000"/>
                <a:gd name="connsiteY76" fmla="*/ 2134 h 10000"/>
                <a:gd name="connsiteX77" fmla="*/ 0 w 10000"/>
                <a:gd name="connsiteY77" fmla="*/ 2622 h 10000"/>
                <a:gd name="connsiteX78" fmla="*/ 10 w 10000"/>
                <a:gd name="connsiteY78" fmla="*/ 945 h 10000"/>
                <a:gd name="connsiteX79" fmla="*/ 205 w 10000"/>
                <a:gd name="connsiteY79" fmla="*/ 730 h 10000"/>
                <a:gd name="connsiteX80" fmla="*/ 399 w 10000"/>
                <a:gd name="connsiteY80" fmla="*/ 544 h 10000"/>
                <a:gd name="connsiteX81" fmla="*/ 604 w 10000"/>
                <a:gd name="connsiteY81" fmla="*/ 358 h 10000"/>
                <a:gd name="connsiteX82" fmla="*/ 819 w 10000"/>
                <a:gd name="connsiteY82" fmla="*/ 229 h 10000"/>
                <a:gd name="connsiteX83" fmla="*/ 1054 w 10000"/>
                <a:gd name="connsiteY83" fmla="*/ 128 h 10000"/>
                <a:gd name="connsiteX84" fmla="*/ 1300 w 10000"/>
                <a:gd name="connsiteY84" fmla="*/ 42 h 10000"/>
                <a:gd name="connsiteX85" fmla="*/ 1535 w 10000"/>
                <a:gd name="connsiteY85" fmla="*/ 0 h 10000"/>
                <a:gd name="connsiteX86" fmla="*/ 2272 w 10000"/>
                <a:gd name="connsiteY86" fmla="*/ 42 h 10000"/>
                <a:gd name="connsiteX87" fmla="*/ 2426 w 10000"/>
                <a:gd name="connsiteY87" fmla="*/ 85 h 10000"/>
                <a:gd name="connsiteX88" fmla="*/ 2569 w 10000"/>
                <a:gd name="connsiteY88" fmla="*/ 157 h 10000"/>
                <a:gd name="connsiteX89" fmla="*/ 2712 w 10000"/>
                <a:gd name="connsiteY89" fmla="*/ 229 h 10000"/>
                <a:gd name="connsiteX90" fmla="*/ 2845 w 10000"/>
                <a:gd name="connsiteY90" fmla="*/ 315 h 10000"/>
                <a:gd name="connsiteX91" fmla="*/ 2989 w 10000"/>
                <a:gd name="connsiteY91" fmla="*/ 415 h 10000"/>
                <a:gd name="connsiteX92" fmla="*/ 3112 w 10000"/>
                <a:gd name="connsiteY92" fmla="*/ 501 h 10000"/>
                <a:gd name="connsiteX93" fmla="*/ 3234 w 10000"/>
                <a:gd name="connsiteY93" fmla="*/ 630 h 10000"/>
                <a:gd name="connsiteX94" fmla="*/ 3367 w 10000"/>
                <a:gd name="connsiteY94" fmla="*/ 759 h 10000"/>
                <a:gd name="connsiteX95" fmla="*/ 3490 w 10000"/>
                <a:gd name="connsiteY95" fmla="*/ 888 h 10000"/>
                <a:gd name="connsiteX96" fmla="*/ 3726 w 10000"/>
                <a:gd name="connsiteY96" fmla="*/ 1174 h 10000"/>
                <a:gd name="connsiteX97" fmla="*/ 3941 w 10000"/>
                <a:gd name="connsiteY97" fmla="*/ 1518 h 10000"/>
                <a:gd name="connsiteX98" fmla="*/ 4145 w 10000"/>
                <a:gd name="connsiteY98" fmla="*/ 1876 h 10000"/>
                <a:gd name="connsiteX99" fmla="*/ 4340 w 10000"/>
                <a:gd name="connsiteY99" fmla="*/ 2264 h 10000"/>
                <a:gd name="connsiteX100" fmla="*/ 4534 w 10000"/>
                <a:gd name="connsiteY100" fmla="*/ 2665 h 10000"/>
                <a:gd name="connsiteX101" fmla="*/ 4708 w 10000"/>
                <a:gd name="connsiteY101" fmla="*/ 3080 h 10000"/>
                <a:gd name="connsiteX102" fmla="*/ 4893 w 10000"/>
                <a:gd name="connsiteY102" fmla="*/ 3510 h 10000"/>
                <a:gd name="connsiteX103" fmla="*/ 5056 w 10000"/>
                <a:gd name="connsiteY103" fmla="*/ 3953 h 10000"/>
                <a:gd name="connsiteX104" fmla="*/ 5363 w 10000"/>
                <a:gd name="connsiteY104" fmla="*/ 4856 h 10000"/>
                <a:gd name="connsiteX105" fmla="*/ 5967 w 10000"/>
                <a:gd name="connsiteY105" fmla="*/ 6647 h 10000"/>
                <a:gd name="connsiteX106" fmla="*/ 6254 w 10000"/>
                <a:gd name="connsiteY106" fmla="*/ 7479 h 10000"/>
                <a:gd name="connsiteX107" fmla="*/ 6407 w 10000"/>
                <a:gd name="connsiteY107" fmla="*/ 7837 h 10000"/>
                <a:gd name="connsiteX108" fmla="*/ 6551 w 10000"/>
                <a:gd name="connsiteY108" fmla="*/ 8209 h 10000"/>
                <a:gd name="connsiteX109" fmla="*/ 6714 w 10000"/>
                <a:gd name="connsiteY109" fmla="*/ 8539 h 10000"/>
                <a:gd name="connsiteX110" fmla="*/ 6868 w 10000"/>
                <a:gd name="connsiteY110" fmla="*/ 8826 h 10000"/>
                <a:gd name="connsiteX111" fmla="*/ 7021 w 10000"/>
                <a:gd name="connsiteY111" fmla="*/ 9097 h 10000"/>
                <a:gd name="connsiteX112" fmla="*/ 7195 w 10000"/>
                <a:gd name="connsiteY112" fmla="*/ 9298 h 10000"/>
                <a:gd name="connsiteX113" fmla="*/ 7288 w 10000"/>
                <a:gd name="connsiteY113" fmla="*/ 9398 h 10000"/>
                <a:gd name="connsiteX114" fmla="*/ 7369 w 10000"/>
                <a:gd name="connsiteY114" fmla="*/ 9499 h 10000"/>
                <a:gd name="connsiteX115" fmla="*/ 7462 w 10000"/>
                <a:gd name="connsiteY115" fmla="*/ 9556 h 10000"/>
                <a:gd name="connsiteX116" fmla="*/ 7554 w 10000"/>
                <a:gd name="connsiteY116" fmla="*/ 9628 h 10000"/>
                <a:gd name="connsiteX117" fmla="*/ 7646 w 10000"/>
                <a:gd name="connsiteY117" fmla="*/ 9670 h 10000"/>
                <a:gd name="connsiteX118" fmla="*/ 7748 w 10000"/>
                <a:gd name="connsiteY118" fmla="*/ 9699 h 10000"/>
                <a:gd name="connsiteX119" fmla="*/ 7851 w 10000"/>
                <a:gd name="connsiteY119" fmla="*/ 9742 h 10000"/>
                <a:gd name="connsiteX120" fmla="*/ 7943 w 10000"/>
                <a:gd name="connsiteY120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668 w 10000"/>
                <a:gd name="connsiteY64" fmla="*/ 243 h 10000"/>
                <a:gd name="connsiteX65" fmla="*/ 1402 w 10000"/>
                <a:gd name="connsiteY65" fmla="*/ 329 h 10000"/>
                <a:gd name="connsiteX66" fmla="*/ 1279 w 10000"/>
                <a:gd name="connsiteY66" fmla="*/ 415 h 10000"/>
                <a:gd name="connsiteX67" fmla="*/ 1157 w 10000"/>
                <a:gd name="connsiteY67" fmla="*/ 501 h 10000"/>
                <a:gd name="connsiteX68" fmla="*/ 1044 w 10000"/>
                <a:gd name="connsiteY68" fmla="*/ 616 h 10000"/>
                <a:gd name="connsiteX69" fmla="*/ 931 w 10000"/>
                <a:gd name="connsiteY69" fmla="*/ 759 h 10000"/>
                <a:gd name="connsiteX70" fmla="*/ 809 w 10000"/>
                <a:gd name="connsiteY70" fmla="*/ 903 h 10000"/>
                <a:gd name="connsiteX71" fmla="*/ 706 w 10000"/>
                <a:gd name="connsiteY71" fmla="*/ 1088 h 10000"/>
                <a:gd name="connsiteX72" fmla="*/ 604 w 10000"/>
                <a:gd name="connsiteY72" fmla="*/ 1261 h 10000"/>
                <a:gd name="connsiteX73" fmla="*/ 491 w 10000"/>
                <a:gd name="connsiteY73" fmla="*/ 1461 h 10000"/>
                <a:gd name="connsiteX74" fmla="*/ 399 w 10000"/>
                <a:gd name="connsiteY74" fmla="*/ 1662 h 10000"/>
                <a:gd name="connsiteX75" fmla="*/ 194 w 10000"/>
                <a:gd name="connsiteY75" fmla="*/ 2134 h 10000"/>
                <a:gd name="connsiteX76" fmla="*/ 0 w 10000"/>
                <a:gd name="connsiteY76" fmla="*/ 2622 h 10000"/>
                <a:gd name="connsiteX77" fmla="*/ 10 w 10000"/>
                <a:gd name="connsiteY77" fmla="*/ 945 h 10000"/>
                <a:gd name="connsiteX78" fmla="*/ 205 w 10000"/>
                <a:gd name="connsiteY78" fmla="*/ 730 h 10000"/>
                <a:gd name="connsiteX79" fmla="*/ 399 w 10000"/>
                <a:gd name="connsiteY79" fmla="*/ 544 h 10000"/>
                <a:gd name="connsiteX80" fmla="*/ 604 w 10000"/>
                <a:gd name="connsiteY80" fmla="*/ 358 h 10000"/>
                <a:gd name="connsiteX81" fmla="*/ 819 w 10000"/>
                <a:gd name="connsiteY81" fmla="*/ 229 h 10000"/>
                <a:gd name="connsiteX82" fmla="*/ 1054 w 10000"/>
                <a:gd name="connsiteY82" fmla="*/ 128 h 10000"/>
                <a:gd name="connsiteX83" fmla="*/ 1300 w 10000"/>
                <a:gd name="connsiteY83" fmla="*/ 42 h 10000"/>
                <a:gd name="connsiteX84" fmla="*/ 1535 w 10000"/>
                <a:gd name="connsiteY84" fmla="*/ 0 h 10000"/>
                <a:gd name="connsiteX85" fmla="*/ 2272 w 10000"/>
                <a:gd name="connsiteY85" fmla="*/ 42 h 10000"/>
                <a:gd name="connsiteX86" fmla="*/ 2426 w 10000"/>
                <a:gd name="connsiteY86" fmla="*/ 85 h 10000"/>
                <a:gd name="connsiteX87" fmla="*/ 2569 w 10000"/>
                <a:gd name="connsiteY87" fmla="*/ 157 h 10000"/>
                <a:gd name="connsiteX88" fmla="*/ 2712 w 10000"/>
                <a:gd name="connsiteY88" fmla="*/ 229 h 10000"/>
                <a:gd name="connsiteX89" fmla="*/ 2845 w 10000"/>
                <a:gd name="connsiteY89" fmla="*/ 315 h 10000"/>
                <a:gd name="connsiteX90" fmla="*/ 2989 w 10000"/>
                <a:gd name="connsiteY90" fmla="*/ 415 h 10000"/>
                <a:gd name="connsiteX91" fmla="*/ 3112 w 10000"/>
                <a:gd name="connsiteY91" fmla="*/ 501 h 10000"/>
                <a:gd name="connsiteX92" fmla="*/ 3234 w 10000"/>
                <a:gd name="connsiteY92" fmla="*/ 630 h 10000"/>
                <a:gd name="connsiteX93" fmla="*/ 3367 w 10000"/>
                <a:gd name="connsiteY93" fmla="*/ 759 h 10000"/>
                <a:gd name="connsiteX94" fmla="*/ 3490 w 10000"/>
                <a:gd name="connsiteY94" fmla="*/ 888 h 10000"/>
                <a:gd name="connsiteX95" fmla="*/ 3726 w 10000"/>
                <a:gd name="connsiteY95" fmla="*/ 1174 h 10000"/>
                <a:gd name="connsiteX96" fmla="*/ 3941 w 10000"/>
                <a:gd name="connsiteY96" fmla="*/ 1518 h 10000"/>
                <a:gd name="connsiteX97" fmla="*/ 4145 w 10000"/>
                <a:gd name="connsiteY97" fmla="*/ 1876 h 10000"/>
                <a:gd name="connsiteX98" fmla="*/ 4340 w 10000"/>
                <a:gd name="connsiteY98" fmla="*/ 2264 h 10000"/>
                <a:gd name="connsiteX99" fmla="*/ 4534 w 10000"/>
                <a:gd name="connsiteY99" fmla="*/ 2665 h 10000"/>
                <a:gd name="connsiteX100" fmla="*/ 4708 w 10000"/>
                <a:gd name="connsiteY100" fmla="*/ 3080 h 10000"/>
                <a:gd name="connsiteX101" fmla="*/ 4893 w 10000"/>
                <a:gd name="connsiteY101" fmla="*/ 3510 h 10000"/>
                <a:gd name="connsiteX102" fmla="*/ 5056 w 10000"/>
                <a:gd name="connsiteY102" fmla="*/ 3953 h 10000"/>
                <a:gd name="connsiteX103" fmla="*/ 5363 w 10000"/>
                <a:gd name="connsiteY103" fmla="*/ 4856 h 10000"/>
                <a:gd name="connsiteX104" fmla="*/ 5967 w 10000"/>
                <a:gd name="connsiteY104" fmla="*/ 6647 h 10000"/>
                <a:gd name="connsiteX105" fmla="*/ 6254 w 10000"/>
                <a:gd name="connsiteY105" fmla="*/ 7479 h 10000"/>
                <a:gd name="connsiteX106" fmla="*/ 6407 w 10000"/>
                <a:gd name="connsiteY106" fmla="*/ 7837 h 10000"/>
                <a:gd name="connsiteX107" fmla="*/ 6551 w 10000"/>
                <a:gd name="connsiteY107" fmla="*/ 8209 h 10000"/>
                <a:gd name="connsiteX108" fmla="*/ 6714 w 10000"/>
                <a:gd name="connsiteY108" fmla="*/ 8539 h 10000"/>
                <a:gd name="connsiteX109" fmla="*/ 6868 w 10000"/>
                <a:gd name="connsiteY109" fmla="*/ 8826 h 10000"/>
                <a:gd name="connsiteX110" fmla="*/ 7021 w 10000"/>
                <a:gd name="connsiteY110" fmla="*/ 9097 h 10000"/>
                <a:gd name="connsiteX111" fmla="*/ 7195 w 10000"/>
                <a:gd name="connsiteY111" fmla="*/ 9298 h 10000"/>
                <a:gd name="connsiteX112" fmla="*/ 7288 w 10000"/>
                <a:gd name="connsiteY112" fmla="*/ 9398 h 10000"/>
                <a:gd name="connsiteX113" fmla="*/ 7369 w 10000"/>
                <a:gd name="connsiteY113" fmla="*/ 9499 h 10000"/>
                <a:gd name="connsiteX114" fmla="*/ 7462 w 10000"/>
                <a:gd name="connsiteY114" fmla="*/ 9556 h 10000"/>
                <a:gd name="connsiteX115" fmla="*/ 7554 w 10000"/>
                <a:gd name="connsiteY115" fmla="*/ 9628 h 10000"/>
                <a:gd name="connsiteX116" fmla="*/ 7646 w 10000"/>
                <a:gd name="connsiteY116" fmla="*/ 9670 h 10000"/>
                <a:gd name="connsiteX117" fmla="*/ 7748 w 10000"/>
                <a:gd name="connsiteY117" fmla="*/ 9699 h 10000"/>
                <a:gd name="connsiteX118" fmla="*/ 7851 w 10000"/>
                <a:gd name="connsiteY118" fmla="*/ 9742 h 10000"/>
                <a:gd name="connsiteX119" fmla="*/ 7943 w 10000"/>
                <a:gd name="connsiteY119" fmla="*/ 9742 h 10000"/>
                <a:gd name="connsiteX0" fmla="*/ 7943 w 10000"/>
                <a:gd name="connsiteY0" fmla="*/ 9742 h 10000"/>
                <a:gd name="connsiteX1" fmla="*/ 7943 w 10000"/>
                <a:gd name="connsiteY1" fmla="*/ 9742 h 10000"/>
                <a:gd name="connsiteX2" fmla="*/ 8076 w 10000"/>
                <a:gd name="connsiteY2" fmla="*/ 9742 h 10000"/>
                <a:gd name="connsiteX3" fmla="*/ 8178 w 10000"/>
                <a:gd name="connsiteY3" fmla="*/ 9699 h 10000"/>
                <a:gd name="connsiteX4" fmla="*/ 8291 w 10000"/>
                <a:gd name="connsiteY4" fmla="*/ 9656 h 10000"/>
                <a:gd name="connsiteX5" fmla="*/ 8403 w 10000"/>
                <a:gd name="connsiteY5" fmla="*/ 9613 h 10000"/>
                <a:gd name="connsiteX6" fmla="*/ 8506 w 10000"/>
                <a:gd name="connsiteY6" fmla="*/ 9528 h 10000"/>
                <a:gd name="connsiteX7" fmla="*/ 8608 w 10000"/>
                <a:gd name="connsiteY7" fmla="*/ 9427 h 10000"/>
                <a:gd name="connsiteX8" fmla="*/ 8700 w 10000"/>
                <a:gd name="connsiteY8" fmla="*/ 9341 h 10000"/>
                <a:gd name="connsiteX9" fmla="*/ 8802 w 10000"/>
                <a:gd name="connsiteY9" fmla="*/ 9212 h 10000"/>
                <a:gd name="connsiteX10" fmla="*/ 8915 w 10000"/>
                <a:gd name="connsiteY10" fmla="*/ 9083 h 10000"/>
                <a:gd name="connsiteX11" fmla="*/ 9007 w 10000"/>
                <a:gd name="connsiteY11" fmla="*/ 8940 h 10000"/>
                <a:gd name="connsiteX12" fmla="*/ 9191 w 10000"/>
                <a:gd name="connsiteY12" fmla="*/ 8610 h 10000"/>
                <a:gd name="connsiteX13" fmla="*/ 9376 w 10000"/>
                <a:gd name="connsiteY13" fmla="*/ 8238 h 10000"/>
                <a:gd name="connsiteX14" fmla="*/ 9539 w 10000"/>
                <a:gd name="connsiteY14" fmla="*/ 7837 h 10000"/>
                <a:gd name="connsiteX15" fmla="*/ 9775 w 10000"/>
                <a:gd name="connsiteY15" fmla="*/ 8281 h 10000"/>
                <a:gd name="connsiteX16" fmla="*/ 10000 w 10000"/>
                <a:gd name="connsiteY16" fmla="*/ 8696 h 10000"/>
                <a:gd name="connsiteX17" fmla="*/ 9785 w 10000"/>
                <a:gd name="connsiteY17" fmla="*/ 8983 h 10000"/>
                <a:gd name="connsiteX18" fmla="*/ 9570 w 10000"/>
                <a:gd name="connsiteY18" fmla="*/ 9241 h 10000"/>
                <a:gd name="connsiteX19" fmla="*/ 9324 w 10000"/>
                <a:gd name="connsiteY19" fmla="*/ 9469 h 10000"/>
                <a:gd name="connsiteX20" fmla="*/ 9212 w 10000"/>
                <a:gd name="connsiteY20" fmla="*/ 9556 h 10000"/>
                <a:gd name="connsiteX21" fmla="*/ 9079 w 10000"/>
                <a:gd name="connsiteY21" fmla="*/ 9656 h 10000"/>
                <a:gd name="connsiteX22" fmla="*/ 8946 w 10000"/>
                <a:gd name="connsiteY22" fmla="*/ 9742 h 10000"/>
                <a:gd name="connsiteX23" fmla="*/ 8823 w 10000"/>
                <a:gd name="connsiteY23" fmla="*/ 9799 h 10000"/>
                <a:gd name="connsiteX24" fmla="*/ 8680 w 10000"/>
                <a:gd name="connsiteY24" fmla="*/ 9871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3 h 10000"/>
                <a:gd name="connsiteX35" fmla="*/ 7021 w 10000"/>
                <a:gd name="connsiteY35" fmla="*/ 9756 h 10000"/>
                <a:gd name="connsiteX36" fmla="*/ 6888 w 10000"/>
                <a:gd name="connsiteY36" fmla="*/ 9656 h 10000"/>
                <a:gd name="connsiteX37" fmla="*/ 6745 w 10000"/>
                <a:gd name="connsiteY37" fmla="*/ 9556 h 10000"/>
                <a:gd name="connsiteX38" fmla="*/ 6622 w 10000"/>
                <a:gd name="connsiteY38" fmla="*/ 9469 h 10000"/>
                <a:gd name="connsiteX39" fmla="*/ 6479 w 10000"/>
                <a:gd name="connsiteY39" fmla="*/ 9341 h 10000"/>
                <a:gd name="connsiteX40" fmla="*/ 6366 w 10000"/>
                <a:gd name="connsiteY40" fmla="*/ 9227 h 10000"/>
                <a:gd name="connsiteX41" fmla="*/ 6244 w 10000"/>
                <a:gd name="connsiteY41" fmla="*/ 9083 h 10000"/>
                <a:gd name="connsiteX42" fmla="*/ 6008 w 10000"/>
                <a:gd name="connsiteY42" fmla="*/ 8782 h 10000"/>
                <a:gd name="connsiteX43" fmla="*/ 5793 w 10000"/>
                <a:gd name="connsiteY43" fmla="*/ 8453 h 10000"/>
                <a:gd name="connsiteX44" fmla="*/ 5589 w 10000"/>
                <a:gd name="connsiteY44" fmla="*/ 8094 h 10000"/>
                <a:gd name="connsiteX45" fmla="*/ 5394 w 10000"/>
                <a:gd name="connsiteY45" fmla="*/ 7707 h 10000"/>
                <a:gd name="connsiteX46" fmla="*/ 5200 w 10000"/>
                <a:gd name="connsiteY46" fmla="*/ 7306 h 10000"/>
                <a:gd name="connsiteX47" fmla="*/ 5026 w 10000"/>
                <a:gd name="connsiteY47" fmla="*/ 6891 h 10000"/>
                <a:gd name="connsiteX48" fmla="*/ 4852 w 10000"/>
                <a:gd name="connsiteY48" fmla="*/ 6461 h 10000"/>
                <a:gd name="connsiteX49" fmla="*/ 4688 w 10000"/>
                <a:gd name="connsiteY49" fmla="*/ 6017 h 10000"/>
                <a:gd name="connsiteX50" fmla="*/ 4371 w 10000"/>
                <a:gd name="connsiteY50" fmla="*/ 5115 h 10000"/>
                <a:gd name="connsiteX51" fmla="*/ 3777 w 10000"/>
                <a:gd name="connsiteY51" fmla="*/ 3338 h 10000"/>
                <a:gd name="connsiteX52" fmla="*/ 3644 w 10000"/>
                <a:gd name="connsiteY52" fmla="*/ 2893 h 10000"/>
                <a:gd name="connsiteX53" fmla="*/ 3490 w 10000"/>
                <a:gd name="connsiteY53" fmla="*/ 2492 h 10000"/>
                <a:gd name="connsiteX54" fmla="*/ 3347 w 10000"/>
                <a:gd name="connsiteY54" fmla="*/ 2134 h 10000"/>
                <a:gd name="connsiteX55" fmla="*/ 3193 w 10000"/>
                <a:gd name="connsiteY55" fmla="*/ 1762 h 10000"/>
                <a:gd name="connsiteX56" fmla="*/ 3040 w 10000"/>
                <a:gd name="connsiteY56" fmla="*/ 1432 h 10000"/>
                <a:gd name="connsiteX57" fmla="*/ 2886 w 10000"/>
                <a:gd name="connsiteY57" fmla="*/ 1145 h 10000"/>
                <a:gd name="connsiteX58" fmla="*/ 2723 w 10000"/>
                <a:gd name="connsiteY58" fmla="*/ 874 h 10000"/>
                <a:gd name="connsiteX59" fmla="*/ 2559 w 10000"/>
                <a:gd name="connsiteY59" fmla="*/ 673 h 10000"/>
                <a:gd name="connsiteX60" fmla="*/ 2467 w 10000"/>
                <a:gd name="connsiteY60" fmla="*/ 573 h 10000"/>
                <a:gd name="connsiteX61" fmla="*/ 2375 w 10000"/>
                <a:gd name="connsiteY61" fmla="*/ 472 h 10000"/>
                <a:gd name="connsiteX62" fmla="*/ 2282 w 10000"/>
                <a:gd name="connsiteY62" fmla="*/ 415 h 10000"/>
                <a:gd name="connsiteX63" fmla="*/ 2190 w 10000"/>
                <a:gd name="connsiteY63" fmla="*/ 343 h 10000"/>
                <a:gd name="connsiteX64" fmla="*/ 1402 w 10000"/>
                <a:gd name="connsiteY64" fmla="*/ 329 h 10000"/>
                <a:gd name="connsiteX65" fmla="*/ 1279 w 10000"/>
                <a:gd name="connsiteY65" fmla="*/ 415 h 10000"/>
                <a:gd name="connsiteX66" fmla="*/ 1157 w 10000"/>
                <a:gd name="connsiteY66" fmla="*/ 501 h 10000"/>
                <a:gd name="connsiteX67" fmla="*/ 1044 w 10000"/>
                <a:gd name="connsiteY67" fmla="*/ 616 h 10000"/>
                <a:gd name="connsiteX68" fmla="*/ 931 w 10000"/>
                <a:gd name="connsiteY68" fmla="*/ 759 h 10000"/>
                <a:gd name="connsiteX69" fmla="*/ 809 w 10000"/>
                <a:gd name="connsiteY69" fmla="*/ 903 h 10000"/>
                <a:gd name="connsiteX70" fmla="*/ 706 w 10000"/>
                <a:gd name="connsiteY70" fmla="*/ 1088 h 10000"/>
                <a:gd name="connsiteX71" fmla="*/ 604 w 10000"/>
                <a:gd name="connsiteY71" fmla="*/ 1261 h 10000"/>
                <a:gd name="connsiteX72" fmla="*/ 491 w 10000"/>
                <a:gd name="connsiteY72" fmla="*/ 1461 h 10000"/>
                <a:gd name="connsiteX73" fmla="*/ 399 w 10000"/>
                <a:gd name="connsiteY73" fmla="*/ 1662 h 10000"/>
                <a:gd name="connsiteX74" fmla="*/ 194 w 10000"/>
                <a:gd name="connsiteY74" fmla="*/ 2134 h 10000"/>
                <a:gd name="connsiteX75" fmla="*/ 0 w 10000"/>
                <a:gd name="connsiteY75" fmla="*/ 2622 h 10000"/>
                <a:gd name="connsiteX76" fmla="*/ 10 w 10000"/>
                <a:gd name="connsiteY76" fmla="*/ 945 h 10000"/>
                <a:gd name="connsiteX77" fmla="*/ 205 w 10000"/>
                <a:gd name="connsiteY77" fmla="*/ 730 h 10000"/>
                <a:gd name="connsiteX78" fmla="*/ 399 w 10000"/>
                <a:gd name="connsiteY78" fmla="*/ 544 h 10000"/>
                <a:gd name="connsiteX79" fmla="*/ 604 w 10000"/>
                <a:gd name="connsiteY79" fmla="*/ 358 h 10000"/>
                <a:gd name="connsiteX80" fmla="*/ 819 w 10000"/>
                <a:gd name="connsiteY80" fmla="*/ 229 h 10000"/>
                <a:gd name="connsiteX81" fmla="*/ 1054 w 10000"/>
                <a:gd name="connsiteY81" fmla="*/ 128 h 10000"/>
                <a:gd name="connsiteX82" fmla="*/ 1300 w 10000"/>
                <a:gd name="connsiteY82" fmla="*/ 42 h 10000"/>
                <a:gd name="connsiteX83" fmla="*/ 1535 w 10000"/>
                <a:gd name="connsiteY83" fmla="*/ 0 h 10000"/>
                <a:gd name="connsiteX84" fmla="*/ 2272 w 10000"/>
                <a:gd name="connsiteY84" fmla="*/ 42 h 10000"/>
                <a:gd name="connsiteX85" fmla="*/ 2426 w 10000"/>
                <a:gd name="connsiteY85" fmla="*/ 85 h 10000"/>
                <a:gd name="connsiteX86" fmla="*/ 2569 w 10000"/>
                <a:gd name="connsiteY86" fmla="*/ 157 h 10000"/>
                <a:gd name="connsiteX87" fmla="*/ 2712 w 10000"/>
                <a:gd name="connsiteY87" fmla="*/ 229 h 10000"/>
                <a:gd name="connsiteX88" fmla="*/ 2845 w 10000"/>
                <a:gd name="connsiteY88" fmla="*/ 315 h 10000"/>
                <a:gd name="connsiteX89" fmla="*/ 2989 w 10000"/>
                <a:gd name="connsiteY89" fmla="*/ 415 h 10000"/>
                <a:gd name="connsiteX90" fmla="*/ 3112 w 10000"/>
                <a:gd name="connsiteY90" fmla="*/ 501 h 10000"/>
                <a:gd name="connsiteX91" fmla="*/ 3234 w 10000"/>
                <a:gd name="connsiteY91" fmla="*/ 630 h 10000"/>
                <a:gd name="connsiteX92" fmla="*/ 3367 w 10000"/>
                <a:gd name="connsiteY92" fmla="*/ 759 h 10000"/>
                <a:gd name="connsiteX93" fmla="*/ 3490 w 10000"/>
                <a:gd name="connsiteY93" fmla="*/ 888 h 10000"/>
                <a:gd name="connsiteX94" fmla="*/ 3726 w 10000"/>
                <a:gd name="connsiteY94" fmla="*/ 1174 h 10000"/>
                <a:gd name="connsiteX95" fmla="*/ 3941 w 10000"/>
                <a:gd name="connsiteY95" fmla="*/ 1518 h 10000"/>
                <a:gd name="connsiteX96" fmla="*/ 4145 w 10000"/>
                <a:gd name="connsiteY96" fmla="*/ 1876 h 10000"/>
                <a:gd name="connsiteX97" fmla="*/ 4340 w 10000"/>
                <a:gd name="connsiteY97" fmla="*/ 2264 h 10000"/>
                <a:gd name="connsiteX98" fmla="*/ 4534 w 10000"/>
                <a:gd name="connsiteY98" fmla="*/ 2665 h 10000"/>
                <a:gd name="connsiteX99" fmla="*/ 4708 w 10000"/>
                <a:gd name="connsiteY99" fmla="*/ 3080 h 10000"/>
                <a:gd name="connsiteX100" fmla="*/ 4893 w 10000"/>
                <a:gd name="connsiteY100" fmla="*/ 3510 h 10000"/>
                <a:gd name="connsiteX101" fmla="*/ 5056 w 10000"/>
                <a:gd name="connsiteY101" fmla="*/ 3953 h 10000"/>
                <a:gd name="connsiteX102" fmla="*/ 5363 w 10000"/>
                <a:gd name="connsiteY102" fmla="*/ 4856 h 10000"/>
                <a:gd name="connsiteX103" fmla="*/ 5967 w 10000"/>
                <a:gd name="connsiteY103" fmla="*/ 6647 h 10000"/>
                <a:gd name="connsiteX104" fmla="*/ 6254 w 10000"/>
                <a:gd name="connsiteY104" fmla="*/ 7479 h 10000"/>
                <a:gd name="connsiteX105" fmla="*/ 6407 w 10000"/>
                <a:gd name="connsiteY105" fmla="*/ 7837 h 10000"/>
                <a:gd name="connsiteX106" fmla="*/ 6551 w 10000"/>
                <a:gd name="connsiteY106" fmla="*/ 8209 h 10000"/>
                <a:gd name="connsiteX107" fmla="*/ 6714 w 10000"/>
                <a:gd name="connsiteY107" fmla="*/ 8539 h 10000"/>
                <a:gd name="connsiteX108" fmla="*/ 6868 w 10000"/>
                <a:gd name="connsiteY108" fmla="*/ 8826 h 10000"/>
                <a:gd name="connsiteX109" fmla="*/ 7021 w 10000"/>
                <a:gd name="connsiteY109" fmla="*/ 9097 h 10000"/>
                <a:gd name="connsiteX110" fmla="*/ 7195 w 10000"/>
                <a:gd name="connsiteY110" fmla="*/ 9298 h 10000"/>
                <a:gd name="connsiteX111" fmla="*/ 7288 w 10000"/>
                <a:gd name="connsiteY111" fmla="*/ 9398 h 10000"/>
                <a:gd name="connsiteX112" fmla="*/ 7369 w 10000"/>
                <a:gd name="connsiteY112" fmla="*/ 9499 h 10000"/>
                <a:gd name="connsiteX113" fmla="*/ 7462 w 10000"/>
                <a:gd name="connsiteY113" fmla="*/ 9556 h 10000"/>
                <a:gd name="connsiteX114" fmla="*/ 7554 w 10000"/>
                <a:gd name="connsiteY114" fmla="*/ 9628 h 10000"/>
                <a:gd name="connsiteX115" fmla="*/ 7646 w 10000"/>
                <a:gd name="connsiteY115" fmla="*/ 9670 h 10000"/>
                <a:gd name="connsiteX116" fmla="*/ 7748 w 10000"/>
                <a:gd name="connsiteY116" fmla="*/ 9699 h 10000"/>
                <a:gd name="connsiteX117" fmla="*/ 7851 w 10000"/>
                <a:gd name="connsiteY117" fmla="*/ 9742 h 10000"/>
                <a:gd name="connsiteX118" fmla="*/ 7943 w 10000"/>
                <a:gd name="connsiteY118" fmla="*/ 9742 h 10000"/>
                <a:gd name="connsiteX0" fmla="*/ 7943 w 10000"/>
                <a:gd name="connsiteY0" fmla="*/ 9700 h 9958"/>
                <a:gd name="connsiteX1" fmla="*/ 7943 w 10000"/>
                <a:gd name="connsiteY1" fmla="*/ 9700 h 9958"/>
                <a:gd name="connsiteX2" fmla="*/ 8076 w 10000"/>
                <a:gd name="connsiteY2" fmla="*/ 9700 h 9958"/>
                <a:gd name="connsiteX3" fmla="*/ 8178 w 10000"/>
                <a:gd name="connsiteY3" fmla="*/ 9657 h 9958"/>
                <a:gd name="connsiteX4" fmla="*/ 8291 w 10000"/>
                <a:gd name="connsiteY4" fmla="*/ 9614 h 9958"/>
                <a:gd name="connsiteX5" fmla="*/ 8403 w 10000"/>
                <a:gd name="connsiteY5" fmla="*/ 9571 h 9958"/>
                <a:gd name="connsiteX6" fmla="*/ 8506 w 10000"/>
                <a:gd name="connsiteY6" fmla="*/ 9486 h 9958"/>
                <a:gd name="connsiteX7" fmla="*/ 8608 w 10000"/>
                <a:gd name="connsiteY7" fmla="*/ 9385 h 9958"/>
                <a:gd name="connsiteX8" fmla="*/ 8700 w 10000"/>
                <a:gd name="connsiteY8" fmla="*/ 9299 h 9958"/>
                <a:gd name="connsiteX9" fmla="*/ 8802 w 10000"/>
                <a:gd name="connsiteY9" fmla="*/ 9170 h 9958"/>
                <a:gd name="connsiteX10" fmla="*/ 8915 w 10000"/>
                <a:gd name="connsiteY10" fmla="*/ 9041 h 9958"/>
                <a:gd name="connsiteX11" fmla="*/ 9007 w 10000"/>
                <a:gd name="connsiteY11" fmla="*/ 8898 h 9958"/>
                <a:gd name="connsiteX12" fmla="*/ 9191 w 10000"/>
                <a:gd name="connsiteY12" fmla="*/ 8568 h 9958"/>
                <a:gd name="connsiteX13" fmla="*/ 9376 w 10000"/>
                <a:gd name="connsiteY13" fmla="*/ 8196 h 9958"/>
                <a:gd name="connsiteX14" fmla="*/ 9539 w 10000"/>
                <a:gd name="connsiteY14" fmla="*/ 7795 h 9958"/>
                <a:gd name="connsiteX15" fmla="*/ 9775 w 10000"/>
                <a:gd name="connsiteY15" fmla="*/ 8239 h 9958"/>
                <a:gd name="connsiteX16" fmla="*/ 10000 w 10000"/>
                <a:gd name="connsiteY16" fmla="*/ 8654 h 9958"/>
                <a:gd name="connsiteX17" fmla="*/ 9785 w 10000"/>
                <a:gd name="connsiteY17" fmla="*/ 8941 h 9958"/>
                <a:gd name="connsiteX18" fmla="*/ 9570 w 10000"/>
                <a:gd name="connsiteY18" fmla="*/ 9199 h 9958"/>
                <a:gd name="connsiteX19" fmla="*/ 9324 w 10000"/>
                <a:gd name="connsiteY19" fmla="*/ 9427 h 9958"/>
                <a:gd name="connsiteX20" fmla="*/ 9212 w 10000"/>
                <a:gd name="connsiteY20" fmla="*/ 9514 h 9958"/>
                <a:gd name="connsiteX21" fmla="*/ 9079 w 10000"/>
                <a:gd name="connsiteY21" fmla="*/ 9614 h 9958"/>
                <a:gd name="connsiteX22" fmla="*/ 8946 w 10000"/>
                <a:gd name="connsiteY22" fmla="*/ 9700 h 9958"/>
                <a:gd name="connsiteX23" fmla="*/ 8823 w 10000"/>
                <a:gd name="connsiteY23" fmla="*/ 9757 h 9958"/>
                <a:gd name="connsiteX24" fmla="*/ 8680 w 10000"/>
                <a:gd name="connsiteY24" fmla="*/ 9829 h 9958"/>
                <a:gd name="connsiteX25" fmla="*/ 8547 w 10000"/>
                <a:gd name="connsiteY25" fmla="*/ 9872 h 9958"/>
                <a:gd name="connsiteX26" fmla="*/ 8403 w 10000"/>
                <a:gd name="connsiteY26" fmla="*/ 9901 h 9958"/>
                <a:gd name="connsiteX27" fmla="*/ 8260 w 10000"/>
                <a:gd name="connsiteY27" fmla="*/ 9929 h 9958"/>
                <a:gd name="connsiteX28" fmla="*/ 8106 w 10000"/>
                <a:gd name="connsiteY28" fmla="*/ 9958 h 9958"/>
                <a:gd name="connsiteX29" fmla="*/ 7943 w 10000"/>
                <a:gd name="connsiteY29" fmla="*/ 9958 h 9958"/>
                <a:gd name="connsiteX30" fmla="*/ 7779 w 10000"/>
                <a:gd name="connsiteY30" fmla="*/ 9958 h 9958"/>
                <a:gd name="connsiteX31" fmla="*/ 7625 w 10000"/>
                <a:gd name="connsiteY31" fmla="*/ 9915 h 9958"/>
                <a:gd name="connsiteX32" fmla="*/ 7462 w 10000"/>
                <a:gd name="connsiteY32" fmla="*/ 9887 h 9958"/>
                <a:gd name="connsiteX33" fmla="*/ 7308 w 10000"/>
                <a:gd name="connsiteY33" fmla="*/ 9844 h 9958"/>
                <a:gd name="connsiteX34" fmla="*/ 7165 w 10000"/>
                <a:gd name="connsiteY34" fmla="*/ 9771 h 9958"/>
                <a:gd name="connsiteX35" fmla="*/ 7021 w 10000"/>
                <a:gd name="connsiteY35" fmla="*/ 9714 h 9958"/>
                <a:gd name="connsiteX36" fmla="*/ 6888 w 10000"/>
                <a:gd name="connsiteY36" fmla="*/ 9614 h 9958"/>
                <a:gd name="connsiteX37" fmla="*/ 6745 w 10000"/>
                <a:gd name="connsiteY37" fmla="*/ 9514 h 9958"/>
                <a:gd name="connsiteX38" fmla="*/ 6622 w 10000"/>
                <a:gd name="connsiteY38" fmla="*/ 9427 h 9958"/>
                <a:gd name="connsiteX39" fmla="*/ 6479 w 10000"/>
                <a:gd name="connsiteY39" fmla="*/ 9299 h 9958"/>
                <a:gd name="connsiteX40" fmla="*/ 6366 w 10000"/>
                <a:gd name="connsiteY40" fmla="*/ 9185 h 9958"/>
                <a:gd name="connsiteX41" fmla="*/ 6244 w 10000"/>
                <a:gd name="connsiteY41" fmla="*/ 9041 h 9958"/>
                <a:gd name="connsiteX42" fmla="*/ 6008 w 10000"/>
                <a:gd name="connsiteY42" fmla="*/ 8740 h 9958"/>
                <a:gd name="connsiteX43" fmla="*/ 5793 w 10000"/>
                <a:gd name="connsiteY43" fmla="*/ 8411 h 9958"/>
                <a:gd name="connsiteX44" fmla="*/ 5589 w 10000"/>
                <a:gd name="connsiteY44" fmla="*/ 8052 h 9958"/>
                <a:gd name="connsiteX45" fmla="*/ 5394 w 10000"/>
                <a:gd name="connsiteY45" fmla="*/ 7665 h 9958"/>
                <a:gd name="connsiteX46" fmla="*/ 5200 w 10000"/>
                <a:gd name="connsiteY46" fmla="*/ 7264 h 9958"/>
                <a:gd name="connsiteX47" fmla="*/ 5026 w 10000"/>
                <a:gd name="connsiteY47" fmla="*/ 6849 h 9958"/>
                <a:gd name="connsiteX48" fmla="*/ 4852 w 10000"/>
                <a:gd name="connsiteY48" fmla="*/ 6419 h 9958"/>
                <a:gd name="connsiteX49" fmla="*/ 4688 w 10000"/>
                <a:gd name="connsiteY49" fmla="*/ 5975 h 9958"/>
                <a:gd name="connsiteX50" fmla="*/ 4371 w 10000"/>
                <a:gd name="connsiteY50" fmla="*/ 5073 h 9958"/>
                <a:gd name="connsiteX51" fmla="*/ 3777 w 10000"/>
                <a:gd name="connsiteY51" fmla="*/ 3296 h 9958"/>
                <a:gd name="connsiteX52" fmla="*/ 3644 w 10000"/>
                <a:gd name="connsiteY52" fmla="*/ 2851 h 9958"/>
                <a:gd name="connsiteX53" fmla="*/ 3490 w 10000"/>
                <a:gd name="connsiteY53" fmla="*/ 2450 h 9958"/>
                <a:gd name="connsiteX54" fmla="*/ 3347 w 10000"/>
                <a:gd name="connsiteY54" fmla="*/ 2092 h 9958"/>
                <a:gd name="connsiteX55" fmla="*/ 3193 w 10000"/>
                <a:gd name="connsiteY55" fmla="*/ 1720 h 9958"/>
                <a:gd name="connsiteX56" fmla="*/ 3040 w 10000"/>
                <a:gd name="connsiteY56" fmla="*/ 1390 h 9958"/>
                <a:gd name="connsiteX57" fmla="*/ 2886 w 10000"/>
                <a:gd name="connsiteY57" fmla="*/ 1103 h 9958"/>
                <a:gd name="connsiteX58" fmla="*/ 2723 w 10000"/>
                <a:gd name="connsiteY58" fmla="*/ 832 h 9958"/>
                <a:gd name="connsiteX59" fmla="*/ 2559 w 10000"/>
                <a:gd name="connsiteY59" fmla="*/ 631 h 9958"/>
                <a:gd name="connsiteX60" fmla="*/ 2467 w 10000"/>
                <a:gd name="connsiteY60" fmla="*/ 531 h 9958"/>
                <a:gd name="connsiteX61" fmla="*/ 2375 w 10000"/>
                <a:gd name="connsiteY61" fmla="*/ 430 h 9958"/>
                <a:gd name="connsiteX62" fmla="*/ 2282 w 10000"/>
                <a:gd name="connsiteY62" fmla="*/ 373 h 9958"/>
                <a:gd name="connsiteX63" fmla="*/ 2190 w 10000"/>
                <a:gd name="connsiteY63" fmla="*/ 301 h 9958"/>
                <a:gd name="connsiteX64" fmla="*/ 1402 w 10000"/>
                <a:gd name="connsiteY64" fmla="*/ 287 h 9958"/>
                <a:gd name="connsiteX65" fmla="*/ 1279 w 10000"/>
                <a:gd name="connsiteY65" fmla="*/ 373 h 9958"/>
                <a:gd name="connsiteX66" fmla="*/ 1157 w 10000"/>
                <a:gd name="connsiteY66" fmla="*/ 459 h 9958"/>
                <a:gd name="connsiteX67" fmla="*/ 1044 w 10000"/>
                <a:gd name="connsiteY67" fmla="*/ 574 h 9958"/>
                <a:gd name="connsiteX68" fmla="*/ 931 w 10000"/>
                <a:gd name="connsiteY68" fmla="*/ 717 h 9958"/>
                <a:gd name="connsiteX69" fmla="*/ 809 w 10000"/>
                <a:gd name="connsiteY69" fmla="*/ 861 h 9958"/>
                <a:gd name="connsiteX70" fmla="*/ 706 w 10000"/>
                <a:gd name="connsiteY70" fmla="*/ 1046 h 9958"/>
                <a:gd name="connsiteX71" fmla="*/ 604 w 10000"/>
                <a:gd name="connsiteY71" fmla="*/ 1219 h 9958"/>
                <a:gd name="connsiteX72" fmla="*/ 491 w 10000"/>
                <a:gd name="connsiteY72" fmla="*/ 1419 h 9958"/>
                <a:gd name="connsiteX73" fmla="*/ 399 w 10000"/>
                <a:gd name="connsiteY73" fmla="*/ 1620 h 9958"/>
                <a:gd name="connsiteX74" fmla="*/ 194 w 10000"/>
                <a:gd name="connsiteY74" fmla="*/ 2092 h 9958"/>
                <a:gd name="connsiteX75" fmla="*/ 0 w 10000"/>
                <a:gd name="connsiteY75" fmla="*/ 2580 h 9958"/>
                <a:gd name="connsiteX76" fmla="*/ 10 w 10000"/>
                <a:gd name="connsiteY76" fmla="*/ 903 h 9958"/>
                <a:gd name="connsiteX77" fmla="*/ 205 w 10000"/>
                <a:gd name="connsiteY77" fmla="*/ 688 h 9958"/>
                <a:gd name="connsiteX78" fmla="*/ 399 w 10000"/>
                <a:gd name="connsiteY78" fmla="*/ 502 h 9958"/>
                <a:gd name="connsiteX79" fmla="*/ 604 w 10000"/>
                <a:gd name="connsiteY79" fmla="*/ 316 h 9958"/>
                <a:gd name="connsiteX80" fmla="*/ 819 w 10000"/>
                <a:gd name="connsiteY80" fmla="*/ 187 h 9958"/>
                <a:gd name="connsiteX81" fmla="*/ 1054 w 10000"/>
                <a:gd name="connsiteY81" fmla="*/ 86 h 9958"/>
                <a:gd name="connsiteX82" fmla="*/ 1300 w 10000"/>
                <a:gd name="connsiteY82" fmla="*/ 0 h 9958"/>
                <a:gd name="connsiteX83" fmla="*/ 2272 w 10000"/>
                <a:gd name="connsiteY83" fmla="*/ 0 h 9958"/>
                <a:gd name="connsiteX84" fmla="*/ 2426 w 10000"/>
                <a:gd name="connsiteY84" fmla="*/ 43 h 9958"/>
                <a:gd name="connsiteX85" fmla="*/ 2569 w 10000"/>
                <a:gd name="connsiteY85" fmla="*/ 115 h 9958"/>
                <a:gd name="connsiteX86" fmla="*/ 2712 w 10000"/>
                <a:gd name="connsiteY86" fmla="*/ 187 h 9958"/>
                <a:gd name="connsiteX87" fmla="*/ 2845 w 10000"/>
                <a:gd name="connsiteY87" fmla="*/ 273 h 9958"/>
                <a:gd name="connsiteX88" fmla="*/ 2989 w 10000"/>
                <a:gd name="connsiteY88" fmla="*/ 373 h 9958"/>
                <a:gd name="connsiteX89" fmla="*/ 3112 w 10000"/>
                <a:gd name="connsiteY89" fmla="*/ 459 h 9958"/>
                <a:gd name="connsiteX90" fmla="*/ 3234 w 10000"/>
                <a:gd name="connsiteY90" fmla="*/ 588 h 9958"/>
                <a:gd name="connsiteX91" fmla="*/ 3367 w 10000"/>
                <a:gd name="connsiteY91" fmla="*/ 717 h 9958"/>
                <a:gd name="connsiteX92" fmla="*/ 3490 w 10000"/>
                <a:gd name="connsiteY92" fmla="*/ 846 h 9958"/>
                <a:gd name="connsiteX93" fmla="*/ 3726 w 10000"/>
                <a:gd name="connsiteY93" fmla="*/ 1132 h 9958"/>
                <a:gd name="connsiteX94" fmla="*/ 3941 w 10000"/>
                <a:gd name="connsiteY94" fmla="*/ 1476 h 9958"/>
                <a:gd name="connsiteX95" fmla="*/ 4145 w 10000"/>
                <a:gd name="connsiteY95" fmla="*/ 1834 h 9958"/>
                <a:gd name="connsiteX96" fmla="*/ 4340 w 10000"/>
                <a:gd name="connsiteY96" fmla="*/ 2222 h 9958"/>
                <a:gd name="connsiteX97" fmla="*/ 4534 w 10000"/>
                <a:gd name="connsiteY97" fmla="*/ 2623 h 9958"/>
                <a:gd name="connsiteX98" fmla="*/ 4708 w 10000"/>
                <a:gd name="connsiteY98" fmla="*/ 3038 h 9958"/>
                <a:gd name="connsiteX99" fmla="*/ 4893 w 10000"/>
                <a:gd name="connsiteY99" fmla="*/ 3468 h 9958"/>
                <a:gd name="connsiteX100" fmla="*/ 5056 w 10000"/>
                <a:gd name="connsiteY100" fmla="*/ 3911 h 9958"/>
                <a:gd name="connsiteX101" fmla="*/ 5363 w 10000"/>
                <a:gd name="connsiteY101" fmla="*/ 4814 h 9958"/>
                <a:gd name="connsiteX102" fmla="*/ 5967 w 10000"/>
                <a:gd name="connsiteY102" fmla="*/ 6605 h 9958"/>
                <a:gd name="connsiteX103" fmla="*/ 6254 w 10000"/>
                <a:gd name="connsiteY103" fmla="*/ 7437 h 9958"/>
                <a:gd name="connsiteX104" fmla="*/ 6407 w 10000"/>
                <a:gd name="connsiteY104" fmla="*/ 7795 h 9958"/>
                <a:gd name="connsiteX105" fmla="*/ 6551 w 10000"/>
                <a:gd name="connsiteY105" fmla="*/ 8167 h 9958"/>
                <a:gd name="connsiteX106" fmla="*/ 6714 w 10000"/>
                <a:gd name="connsiteY106" fmla="*/ 8497 h 9958"/>
                <a:gd name="connsiteX107" fmla="*/ 6868 w 10000"/>
                <a:gd name="connsiteY107" fmla="*/ 8784 h 9958"/>
                <a:gd name="connsiteX108" fmla="*/ 7021 w 10000"/>
                <a:gd name="connsiteY108" fmla="*/ 9055 h 9958"/>
                <a:gd name="connsiteX109" fmla="*/ 7195 w 10000"/>
                <a:gd name="connsiteY109" fmla="*/ 9256 h 9958"/>
                <a:gd name="connsiteX110" fmla="*/ 7288 w 10000"/>
                <a:gd name="connsiteY110" fmla="*/ 9356 h 9958"/>
                <a:gd name="connsiteX111" fmla="*/ 7369 w 10000"/>
                <a:gd name="connsiteY111" fmla="*/ 9457 h 9958"/>
                <a:gd name="connsiteX112" fmla="*/ 7462 w 10000"/>
                <a:gd name="connsiteY112" fmla="*/ 9514 h 9958"/>
                <a:gd name="connsiteX113" fmla="*/ 7554 w 10000"/>
                <a:gd name="connsiteY113" fmla="*/ 9586 h 9958"/>
                <a:gd name="connsiteX114" fmla="*/ 7646 w 10000"/>
                <a:gd name="connsiteY114" fmla="*/ 9628 h 9958"/>
                <a:gd name="connsiteX115" fmla="*/ 7748 w 10000"/>
                <a:gd name="connsiteY115" fmla="*/ 9657 h 9958"/>
                <a:gd name="connsiteX116" fmla="*/ 7851 w 10000"/>
                <a:gd name="connsiteY116" fmla="*/ 9700 h 9958"/>
                <a:gd name="connsiteX117" fmla="*/ 7943 w 10000"/>
                <a:gd name="connsiteY117" fmla="*/ 9700 h 9958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402 w 10000"/>
                <a:gd name="connsiteY64" fmla="*/ 288 h 10000"/>
                <a:gd name="connsiteX65" fmla="*/ 1279 w 10000"/>
                <a:gd name="connsiteY65" fmla="*/ 375 h 10000"/>
                <a:gd name="connsiteX66" fmla="*/ 1157 w 10000"/>
                <a:gd name="connsiteY66" fmla="*/ 461 h 10000"/>
                <a:gd name="connsiteX67" fmla="*/ 1044 w 10000"/>
                <a:gd name="connsiteY67" fmla="*/ 576 h 10000"/>
                <a:gd name="connsiteX68" fmla="*/ 931 w 10000"/>
                <a:gd name="connsiteY68" fmla="*/ 720 h 10000"/>
                <a:gd name="connsiteX69" fmla="*/ 809 w 10000"/>
                <a:gd name="connsiteY69" fmla="*/ 865 h 10000"/>
                <a:gd name="connsiteX70" fmla="*/ 706 w 10000"/>
                <a:gd name="connsiteY70" fmla="*/ 1050 h 10000"/>
                <a:gd name="connsiteX71" fmla="*/ 604 w 10000"/>
                <a:gd name="connsiteY71" fmla="*/ 1224 h 10000"/>
                <a:gd name="connsiteX72" fmla="*/ 491 w 10000"/>
                <a:gd name="connsiteY72" fmla="*/ 1425 h 10000"/>
                <a:gd name="connsiteX73" fmla="*/ 399 w 10000"/>
                <a:gd name="connsiteY73" fmla="*/ 1627 h 10000"/>
                <a:gd name="connsiteX74" fmla="*/ 194 w 10000"/>
                <a:gd name="connsiteY74" fmla="*/ 2101 h 10000"/>
                <a:gd name="connsiteX75" fmla="*/ 0 w 10000"/>
                <a:gd name="connsiteY75" fmla="*/ 2591 h 10000"/>
                <a:gd name="connsiteX76" fmla="*/ 10 w 10000"/>
                <a:gd name="connsiteY76" fmla="*/ 907 h 10000"/>
                <a:gd name="connsiteX77" fmla="*/ 205 w 10000"/>
                <a:gd name="connsiteY77" fmla="*/ 691 h 10000"/>
                <a:gd name="connsiteX78" fmla="*/ 399 w 10000"/>
                <a:gd name="connsiteY78" fmla="*/ 504 h 10000"/>
                <a:gd name="connsiteX79" fmla="*/ 604 w 10000"/>
                <a:gd name="connsiteY79" fmla="*/ 317 h 10000"/>
                <a:gd name="connsiteX80" fmla="*/ 819 w 10000"/>
                <a:gd name="connsiteY80" fmla="*/ 188 h 10000"/>
                <a:gd name="connsiteX81" fmla="*/ 1054 w 10000"/>
                <a:gd name="connsiteY81" fmla="*/ 86 h 10000"/>
                <a:gd name="connsiteX82" fmla="*/ 2272 w 10000"/>
                <a:gd name="connsiteY82" fmla="*/ 0 h 10000"/>
                <a:gd name="connsiteX83" fmla="*/ 2426 w 10000"/>
                <a:gd name="connsiteY83" fmla="*/ 43 h 10000"/>
                <a:gd name="connsiteX84" fmla="*/ 2569 w 10000"/>
                <a:gd name="connsiteY84" fmla="*/ 115 h 10000"/>
                <a:gd name="connsiteX85" fmla="*/ 2712 w 10000"/>
                <a:gd name="connsiteY85" fmla="*/ 188 h 10000"/>
                <a:gd name="connsiteX86" fmla="*/ 2845 w 10000"/>
                <a:gd name="connsiteY86" fmla="*/ 274 h 10000"/>
                <a:gd name="connsiteX87" fmla="*/ 2989 w 10000"/>
                <a:gd name="connsiteY87" fmla="*/ 375 h 10000"/>
                <a:gd name="connsiteX88" fmla="*/ 3112 w 10000"/>
                <a:gd name="connsiteY88" fmla="*/ 461 h 10000"/>
                <a:gd name="connsiteX89" fmla="*/ 3234 w 10000"/>
                <a:gd name="connsiteY89" fmla="*/ 590 h 10000"/>
                <a:gd name="connsiteX90" fmla="*/ 3367 w 10000"/>
                <a:gd name="connsiteY90" fmla="*/ 720 h 10000"/>
                <a:gd name="connsiteX91" fmla="*/ 3490 w 10000"/>
                <a:gd name="connsiteY91" fmla="*/ 850 h 10000"/>
                <a:gd name="connsiteX92" fmla="*/ 3726 w 10000"/>
                <a:gd name="connsiteY92" fmla="*/ 1137 h 10000"/>
                <a:gd name="connsiteX93" fmla="*/ 3941 w 10000"/>
                <a:gd name="connsiteY93" fmla="*/ 1482 h 10000"/>
                <a:gd name="connsiteX94" fmla="*/ 4145 w 10000"/>
                <a:gd name="connsiteY94" fmla="*/ 1842 h 10000"/>
                <a:gd name="connsiteX95" fmla="*/ 4340 w 10000"/>
                <a:gd name="connsiteY95" fmla="*/ 2231 h 10000"/>
                <a:gd name="connsiteX96" fmla="*/ 4534 w 10000"/>
                <a:gd name="connsiteY96" fmla="*/ 2634 h 10000"/>
                <a:gd name="connsiteX97" fmla="*/ 4708 w 10000"/>
                <a:gd name="connsiteY97" fmla="*/ 3051 h 10000"/>
                <a:gd name="connsiteX98" fmla="*/ 4893 w 10000"/>
                <a:gd name="connsiteY98" fmla="*/ 3483 h 10000"/>
                <a:gd name="connsiteX99" fmla="*/ 5056 w 10000"/>
                <a:gd name="connsiteY99" fmla="*/ 3927 h 10000"/>
                <a:gd name="connsiteX100" fmla="*/ 5363 w 10000"/>
                <a:gd name="connsiteY100" fmla="*/ 4834 h 10000"/>
                <a:gd name="connsiteX101" fmla="*/ 5967 w 10000"/>
                <a:gd name="connsiteY101" fmla="*/ 6633 h 10000"/>
                <a:gd name="connsiteX102" fmla="*/ 6254 w 10000"/>
                <a:gd name="connsiteY102" fmla="*/ 7468 h 10000"/>
                <a:gd name="connsiteX103" fmla="*/ 6407 w 10000"/>
                <a:gd name="connsiteY103" fmla="*/ 7828 h 10000"/>
                <a:gd name="connsiteX104" fmla="*/ 6551 w 10000"/>
                <a:gd name="connsiteY104" fmla="*/ 8201 h 10000"/>
                <a:gd name="connsiteX105" fmla="*/ 6714 w 10000"/>
                <a:gd name="connsiteY105" fmla="*/ 8533 h 10000"/>
                <a:gd name="connsiteX106" fmla="*/ 6868 w 10000"/>
                <a:gd name="connsiteY106" fmla="*/ 8821 h 10000"/>
                <a:gd name="connsiteX107" fmla="*/ 7021 w 10000"/>
                <a:gd name="connsiteY107" fmla="*/ 9093 h 10000"/>
                <a:gd name="connsiteX108" fmla="*/ 7195 w 10000"/>
                <a:gd name="connsiteY108" fmla="*/ 9295 h 10000"/>
                <a:gd name="connsiteX109" fmla="*/ 7288 w 10000"/>
                <a:gd name="connsiteY109" fmla="*/ 9395 h 10000"/>
                <a:gd name="connsiteX110" fmla="*/ 7369 w 10000"/>
                <a:gd name="connsiteY110" fmla="*/ 9497 h 10000"/>
                <a:gd name="connsiteX111" fmla="*/ 7462 w 10000"/>
                <a:gd name="connsiteY111" fmla="*/ 9554 h 10000"/>
                <a:gd name="connsiteX112" fmla="*/ 7554 w 10000"/>
                <a:gd name="connsiteY112" fmla="*/ 9626 h 10000"/>
                <a:gd name="connsiteX113" fmla="*/ 7646 w 10000"/>
                <a:gd name="connsiteY113" fmla="*/ 9669 h 10000"/>
                <a:gd name="connsiteX114" fmla="*/ 7748 w 10000"/>
                <a:gd name="connsiteY114" fmla="*/ 9698 h 10000"/>
                <a:gd name="connsiteX115" fmla="*/ 7851 w 10000"/>
                <a:gd name="connsiteY115" fmla="*/ 9741 h 10000"/>
                <a:gd name="connsiteX116" fmla="*/ 7943 w 10000"/>
                <a:gd name="connsiteY11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279 w 10000"/>
                <a:gd name="connsiteY64" fmla="*/ 375 h 10000"/>
                <a:gd name="connsiteX65" fmla="*/ 1157 w 10000"/>
                <a:gd name="connsiteY65" fmla="*/ 461 h 10000"/>
                <a:gd name="connsiteX66" fmla="*/ 1044 w 10000"/>
                <a:gd name="connsiteY66" fmla="*/ 576 h 10000"/>
                <a:gd name="connsiteX67" fmla="*/ 931 w 10000"/>
                <a:gd name="connsiteY67" fmla="*/ 720 h 10000"/>
                <a:gd name="connsiteX68" fmla="*/ 809 w 10000"/>
                <a:gd name="connsiteY68" fmla="*/ 865 h 10000"/>
                <a:gd name="connsiteX69" fmla="*/ 706 w 10000"/>
                <a:gd name="connsiteY69" fmla="*/ 1050 h 10000"/>
                <a:gd name="connsiteX70" fmla="*/ 604 w 10000"/>
                <a:gd name="connsiteY70" fmla="*/ 1224 h 10000"/>
                <a:gd name="connsiteX71" fmla="*/ 491 w 10000"/>
                <a:gd name="connsiteY71" fmla="*/ 1425 h 10000"/>
                <a:gd name="connsiteX72" fmla="*/ 399 w 10000"/>
                <a:gd name="connsiteY72" fmla="*/ 1627 h 10000"/>
                <a:gd name="connsiteX73" fmla="*/ 194 w 10000"/>
                <a:gd name="connsiteY73" fmla="*/ 2101 h 10000"/>
                <a:gd name="connsiteX74" fmla="*/ 0 w 10000"/>
                <a:gd name="connsiteY74" fmla="*/ 2591 h 10000"/>
                <a:gd name="connsiteX75" fmla="*/ 10 w 10000"/>
                <a:gd name="connsiteY75" fmla="*/ 907 h 10000"/>
                <a:gd name="connsiteX76" fmla="*/ 205 w 10000"/>
                <a:gd name="connsiteY76" fmla="*/ 691 h 10000"/>
                <a:gd name="connsiteX77" fmla="*/ 399 w 10000"/>
                <a:gd name="connsiteY77" fmla="*/ 504 h 10000"/>
                <a:gd name="connsiteX78" fmla="*/ 604 w 10000"/>
                <a:gd name="connsiteY78" fmla="*/ 317 h 10000"/>
                <a:gd name="connsiteX79" fmla="*/ 819 w 10000"/>
                <a:gd name="connsiteY79" fmla="*/ 188 h 10000"/>
                <a:gd name="connsiteX80" fmla="*/ 1054 w 10000"/>
                <a:gd name="connsiteY80" fmla="*/ 86 h 10000"/>
                <a:gd name="connsiteX81" fmla="*/ 2272 w 10000"/>
                <a:gd name="connsiteY81" fmla="*/ 0 h 10000"/>
                <a:gd name="connsiteX82" fmla="*/ 2426 w 10000"/>
                <a:gd name="connsiteY82" fmla="*/ 43 h 10000"/>
                <a:gd name="connsiteX83" fmla="*/ 2569 w 10000"/>
                <a:gd name="connsiteY83" fmla="*/ 115 h 10000"/>
                <a:gd name="connsiteX84" fmla="*/ 2712 w 10000"/>
                <a:gd name="connsiteY84" fmla="*/ 188 h 10000"/>
                <a:gd name="connsiteX85" fmla="*/ 2845 w 10000"/>
                <a:gd name="connsiteY85" fmla="*/ 274 h 10000"/>
                <a:gd name="connsiteX86" fmla="*/ 2989 w 10000"/>
                <a:gd name="connsiteY86" fmla="*/ 375 h 10000"/>
                <a:gd name="connsiteX87" fmla="*/ 3112 w 10000"/>
                <a:gd name="connsiteY87" fmla="*/ 461 h 10000"/>
                <a:gd name="connsiteX88" fmla="*/ 3234 w 10000"/>
                <a:gd name="connsiteY88" fmla="*/ 590 h 10000"/>
                <a:gd name="connsiteX89" fmla="*/ 3367 w 10000"/>
                <a:gd name="connsiteY89" fmla="*/ 720 h 10000"/>
                <a:gd name="connsiteX90" fmla="*/ 3490 w 10000"/>
                <a:gd name="connsiteY90" fmla="*/ 850 h 10000"/>
                <a:gd name="connsiteX91" fmla="*/ 3726 w 10000"/>
                <a:gd name="connsiteY91" fmla="*/ 1137 h 10000"/>
                <a:gd name="connsiteX92" fmla="*/ 3941 w 10000"/>
                <a:gd name="connsiteY92" fmla="*/ 1482 h 10000"/>
                <a:gd name="connsiteX93" fmla="*/ 4145 w 10000"/>
                <a:gd name="connsiteY93" fmla="*/ 1842 h 10000"/>
                <a:gd name="connsiteX94" fmla="*/ 4340 w 10000"/>
                <a:gd name="connsiteY94" fmla="*/ 2231 h 10000"/>
                <a:gd name="connsiteX95" fmla="*/ 4534 w 10000"/>
                <a:gd name="connsiteY95" fmla="*/ 2634 h 10000"/>
                <a:gd name="connsiteX96" fmla="*/ 4708 w 10000"/>
                <a:gd name="connsiteY96" fmla="*/ 3051 h 10000"/>
                <a:gd name="connsiteX97" fmla="*/ 4893 w 10000"/>
                <a:gd name="connsiteY97" fmla="*/ 3483 h 10000"/>
                <a:gd name="connsiteX98" fmla="*/ 5056 w 10000"/>
                <a:gd name="connsiteY98" fmla="*/ 3927 h 10000"/>
                <a:gd name="connsiteX99" fmla="*/ 5363 w 10000"/>
                <a:gd name="connsiteY99" fmla="*/ 4834 h 10000"/>
                <a:gd name="connsiteX100" fmla="*/ 5967 w 10000"/>
                <a:gd name="connsiteY100" fmla="*/ 6633 h 10000"/>
                <a:gd name="connsiteX101" fmla="*/ 6254 w 10000"/>
                <a:gd name="connsiteY101" fmla="*/ 7468 h 10000"/>
                <a:gd name="connsiteX102" fmla="*/ 6407 w 10000"/>
                <a:gd name="connsiteY102" fmla="*/ 7828 h 10000"/>
                <a:gd name="connsiteX103" fmla="*/ 6551 w 10000"/>
                <a:gd name="connsiteY103" fmla="*/ 8201 h 10000"/>
                <a:gd name="connsiteX104" fmla="*/ 6714 w 10000"/>
                <a:gd name="connsiteY104" fmla="*/ 8533 h 10000"/>
                <a:gd name="connsiteX105" fmla="*/ 6868 w 10000"/>
                <a:gd name="connsiteY105" fmla="*/ 8821 h 10000"/>
                <a:gd name="connsiteX106" fmla="*/ 7021 w 10000"/>
                <a:gd name="connsiteY106" fmla="*/ 9093 h 10000"/>
                <a:gd name="connsiteX107" fmla="*/ 7195 w 10000"/>
                <a:gd name="connsiteY107" fmla="*/ 9295 h 10000"/>
                <a:gd name="connsiteX108" fmla="*/ 7288 w 10000"/>
                <a:gd name="connsiteY108" fmla="*/ 9395 h 10000"/>
                <a:gd name="connsiteX109" fmla="*/ 7369 w 10000"/>
                <a:gd name="connsiteY109" fmla="*/ 9497 h 10000"/>
                <a:gd name="connsiteX110" fmla="*/ 7462 w 10000"/>
                <a:gd name="connsiteY110" fmla="*/ 9554 h 10000"/>
                <a:gd name="connsiteX111" fmla="*/ 7554 w 10000"/>
                <a:gd name="connsiteY111" fmla="*/ 9626 h 10000"/>
                <a:gd name="connsiteX112" fmla="*/ 7646 w 10000"/>
                <a:gd name="connsiteY112" fmla="*/ 9669 h 10000"/>
                <a:gd name="connsiteX113" fmla="*/ 7748 w 10000"/>
                <a:gd name="connsiteY113" fmla="*/ 9698 h 10000"/>
                <a:gd name="connsiteX114" fmla="*/ 7851 w 10000"/>
                <a:gd name="connsiteY114" fmla="*/ 9741 h 10000"/>
                <a:gd name="connsiteX115" fmla="*/ 7943 w 10000"/>
                <a:gd name="connsiteY11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157 w 10000"/>
                <a:gd name="connsiteY64" fmla="*/ 461 h 10000"/>
                <a:gd name="connsiteX65" fmla="*/ 1044 w 10000"/>
                <a:gd name="connsiteY65" fmla="*/ 576 h 10000"/>
                <a:gd name="connsiteX66" fmla="*/ 931 w 10000"/>
                <a:gd name="connsiteY66" fmla="*/ 720 h 10000"/>
                <a:gd name="connsiteX67" fmla="*/ 809 w 10000"/>
                <a:gd name="connsiteY67" fmla="*/ 865 h 10000"/>
                <a:gd name="connsiteX68" fmla="*/ 706 w 10000"/>
                <a:gd name="connsiteY68" fmla="*/ 1050 h 10000"/>
                <a:gd name="connsiteX69" fmla="*/ 604 w 10000"/>
                <a:gd name="connsiteY69" fmla="*/ 1224 h 10000"/>
                <a:gd name="connsiteX70" fmla="*/ 491 w 10000"/>
                <a:gd name="connsiteY70" fmla="*/ 1425 h 10000"/>
                <a:gd name="connsiteX71" fmla="*/ 399 w 10000"/>
                <a:gd name="connsiteY71" fmla="*/ 1627 h 10000"/>
                <a:gd name="connsiteX72" fmla="*/ 194 w 10000"/>
                <a:gd name="connsiteY72" fmla="*/ 2101 h 10000"/>
                <a:gd name="connsiteX73" fmla="*/ 0 w 10000"/>
                <a:gd name="connsiteY73" fmla="*/ 2591 h 10000"/>
                <a:gd name="connsiteX74" fmla="*/ 10 w 10000"/>
                <a:gd name="connsiteY74" fmla="*/ 907 h 10000"/>
                <a:gd name="connsiteX75" fmla="*/ 205 w 10000"/>
                <a:gd name="connsiteY75" fmla="*/ 691 h 10000"/>
                <a:gd name="connsiteX76" fmla="*/ 399 w 10000"/>
                <a:gd name="connsiteY76" fmla="*/ 504 h 10000"/>
                <a:gd name="connsiteX77" fmla="*/ 604 w 10000"/>
                <a:gd name="connsiteY77" fmla="*/ 317 h 10000"/>
                <a:gd name="connsiteX78" fmla="*/ 819 w 10000"/>
                <a:gd name="connsiteY78" fmla="*/ 188 h 10000"/>
                <a:gd name="connsiteX79" fmla="*/ 1054 w 10000"/>
                <a:gd name="connsiteY79" fmla="*/ 86 h 10000"/>
                <a:gd name="connsiteX80" fmla="*/ 2272 w 10000"/>
                <a:gd name="connsiteY80" fmla="*/ 0 h 10000"/>
                <a:gd name="connsiteX81" fmla="*/ 2426 w 10000"/>
                <a:gd name="connsiteY81" fmla="*/ 43 h 10000"/>
                <a:gd name="connsiteX82" fmla="*/ 2569 w 10000"/>
                <a:gd name="connsiteY82" fmla="*/ 115 h 10000"/>
                <a:gd name="connsiteX83" fmla="*/ 2712 w 10000"/>
                <a:gd name="connsiteY83" fmla="*/ 188 h 10000"/>
                <a:gd name="connsiteX84" fmla="*/ 2845 w 10000"/>
                <a:gd name="connsiteY84" fmla="*/ 274 h 10000"/>
                <a:gd name="connsiteX85" fmla="*/ 2989 w 10000"/>
                <a:gd name="connsiteY85" fmla="*/ 375 h 10000"/>
                <a:gd name="connsiteX86" fmla="*/ 3112 w 10000"/>
                <a:gd name="connsiteY86" fmla="*/ 461 h 10000"/>
                <a:gd name="connsiteX87" fmla="*/ 3234 w 10000"/>
                <a:gd name="connsiteY87" fmla="*/ 590 h 10000"/>
                <a:gd name="connsiteX88" fmla="*/ 3367 w 10000"/>
                <a:gd name="connsiteY88" fmla="*/ 720 h 10000"/>
                <a:gd name="connsiteX89" fmla="*/ 3490 w 10000"/>
                <a:gd name="connsiteY89" fmla="*/ 850 h 10000"/>
                <a:gd name="connsiteX90" fmla="*/ 3726 w 10000"/>
                <a:gd name="connsiteY90" fmla="*/ 1137 h 10000"/>
                <a:gd name="connsiteX91" fmla="*/ 3941 w 10000"/>
                <a:gd name="connsiteY91" fmla="*/ 1482 h 10000"/>
                <a:gd name="connsiteX92" fmla="*/ 4145 w 10000"/>
                <a:gd name="connsiteY92" fmla="*/ 1842 h 10000"/>
                <a:gd name="connsiteX93" fmla="*/ 4340 w 10000"/>
                <a:gd name="connsiteY93" fmla="*/ 2231 h 10000"/>
                <a:gd name="connsiteX94" fmla="*/ 4534 w 10000"/>
                <a:gd name="connsiteY94" fmla="*/ 2634 h 10000"/>
                <a:gd name="connsiteX95" fmla="*/ 4708 w 10000"/>
                <a:gd name="connsiteY95" fmla="*/ 3051 h 10000"/>
                <a:gd name="connsiteX96" fmla="*/ 4893 w 10000"/>
                <a:gd name="connsiteY96" fmla="*/ 3483 h 10000"/>
                <a:gd name="connsiteX97" fmla="*/ 5056 w 10000"/>
                <a:gd name="connsiteY97" fmla="*/ 3927 h 10000"/>
                <a:gd name="connsiteX98" fmla="*/ 5363 w 10000"/>
                <a:gd name="connsiteY98" fmla="*/ 4834 h 10000"/>
                <a:gd name="connsiteX99" fmla="*/ 5967 w 10000"/>
                <a:gd name="connsiteY99" fmla="*/ 6633 h 10000"/>
                <a:gd name="connsiteX100" fmla="*/ 6254 w 10000"/>
                <a:gd name="connsiteY100" fmla="*/ 7468 h 10000"/>
                <a:gd name="connsiteX101" fmla="*/ 6407 w 10000"/>
                <a:gd name="connsiteY101" fmla="*/ 7828 h 10000"/>
                <a:gd name="connsiteX102" fmla="*/ 6551 w 10000"/>
                <a:gd name="connsiteY102" fmla="*/ 8201 h 10000"/>
                <a:gd name="connsiteX103" fmla="*/ 6714 w 10000"/>
                <a:gd name="connsiteY103" fmla="*/ 8533 h 10000"/>
                <a:gd name="connsiteX104" fmla="*/ 6868 w 10000"/>
                <a:gd name="connsiteY104" fmla="*/ 8821 h 10000"/>
                <a:gd name="connsiteX105" fmla="*/ 7021 w 10000"/>
                <a:gd name="connsiteY105" fmla="*/ 9093 h 10000"/>
                <a:gd name="connsiteX106" fmla="*/ 7195 w 10000"/>
                <a:gd name="connsiteY106" fmla="*/ 9295 h 10000"/>
                <a:gd name="connsiteX107" fmla="*/ 7288 w 10000"/>
                <a:gd name="connsiteY107" fmla="*/ 9395 h 10000"/>
                <a:gd name="connsiteX108" fmla="*/ 7369 w 10000"/>
                <a:gd name="connsiteY108" fmla="*/ 9497 h 10000"/>
                <a:gd name="connsiteX109" fmla="*/ 7462 w 10000"/>
                <a:gd name="connsiteY109" fmla="*/ 9554 h 10000"/>
                <a:gd name="connsiteX110" fmla="*/ 7554 w 10000"/>
                <a:gd name="connsiteY110" fmla="*/ 9626 h 10000"/>
                <a:gd name="connsiteX111" fmla="*/ 7646 w 10000"/>
                <a:gd name="connsiteY111" fmla="*/ 9669 h 10000"/>
                <a:gd name="connsiteX112" fmla="*/ 7748 w 10000"/>
                <a:gd name="connsiteY112" fmla="*/ 9698 h 10000"/>
                <a:gd name="connsiteX113" fmla="*/ 7851 w 10000"/>
                <a:gd name="connsiteY113" fmla="*/ 9741 h 10000"/>
                <a:gd name="connsiteX114" fmla="*/ 7943 w 10000"/>
                <a:gd name="connsiteY11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1054 w 10000"/>
                <a:gd name="connsiteY78" fmla="*/ 86 h 10000"/>
                <a:gd name="connsiteX79" fmla="*/ 2272 w 10000"/>
                <a:gd name="connsiteY79" fmla="*/ 0 h 10000"/>
                <a:gd name="connsiteX80" fmla="*/ 2426 w 10000"/>
                <a:gd name="connsiteY80" fmla="*/ 43 h 10000"/>
                <a:gd name="connsiteX81" fmla="*/ 2569 w 10000"/>
                <a:gd name="connsiteY81" fmla="*/ 115 h 10000"/>
                <a:gd name="connsiteX82" fmla="*/ 2712 w 10000"/>
                <a:gd name="connsiteY82" fmla="*/ 188 h 10000"/>
                <a:gd name="connsiteX83" fmla="*/ 2845 w 10000"/>
                <a:gd name="connsiteY83" fmla="*/ 274 h 10000"/>
                <a:gd name="connsiteX84" fmla="*/ 2989 w 10000"/>
                <a:gd name="connsiteY84" fmla="*/ 375 h 10000"/>
                <a:gd name="connsiteX85" fmla="*/ 3112 w 10000"/>
                <a:gd name="connsiteY85" fmla="*/ 461 h 10000"/>
                <a:gd name="connsiteX86" fmla="*/ 3234 w 10000"/>
                <a:gd name="connsiteY86" fmla="*/ 590 h 10000"/>
                <a:gd name="connsiteX87" fmla="*/ 3367 w 10000"/>
                <a:gd name="connsiteY87" fmla="*/ 720 h 10000"/>
                <a:gd name="connsiteX88" fmla="*/ 3490 w 10000"/>
                <a:gd name="connsiteY88" fmla="*/ 850 h 10000"/>
                <a:gd name="connsiteX89" fmla="*/ 3726 w 10000"/>
                <a:gd name="connsiteY89" fmla="*/ 1137 h 10000"/>
                <a:gd name="connsiteX90" fmla="*/ 3941 w 10000"/>
                <a:gd name="connsiteY90" fmla="*/ 1482 h 10000"/>
                <a:gd name="connsiteX91" fmla="*/ 4145 w 10000"/>
                <a:gd name="connsiteY91" fmla="*/ 1842 h 10000"/>
                <a:gd name="connsiteX92" fmla="*/ 4340 w 10000"/>
                <a:gd name="connsiteY92" fmla="*/ 2231 h 10000"/>
                <a:gd name="connsiteX93" fmla="*/ 4534 w 10000"/>
                <a:gd name="connsiteY93" fmla="*/ 2634 h 10000"/>
                <a:gd name="connsiteX94" fmla="*/ 4708 w 10000"/>
                <a:gd name="connsiteY94" fmla="*/ 3051 h 10000"/>
                <a:gd name="connsiteX95" fmla="*/ 4893 w 10000"/>
                <a:gd name="connsiteY95" fmla="*/ 3483 h 10000"/>
                <a:gd name="connsiteX96" fmla="*/ 5056 w 10000"/>
                <a:gd name="connsiteY96" fmla="*/ 3927 h 10000"/>
                <a:gd name="connsiteX97" fmla="*/ 5363 w 10000"/>
                <a:gd name="connsiteY97" fmla="*/ 4834 h 10000"/>
                <a:gd name="connsiteX98" fmla="*/ 5967 w 10000"/>
                <a:gd name="connsiteY98" fmla="*/ 6633 h 10000"/>
                <a:gd name="connsiteX99" fmla="*/ 6254 w 10000"/>
                <a:gd name="connsiteY99" fmla="*/ 7468 h 10000"/>
                <a:gd name="connsiteX100" fmla="*/ 6407 w 10000"/>
                <a:gd name="connsiteY100" fmla="*/ 7828 h 10000"/>
                <a:gd name="connsiteX101" fmla="*/ 6551 w 10000"/>
                <a:gd name="connsiteY101" fmla="*/ 8201 h 10000"/>
                <a:gd name="connsiteX102" fmla="*/ 6714 w 10000"/>
                <a:gd name="connsiteY102" fmla="*/ 8533 h 10000"/>
                <a:gd name="connsiteX103" fmla="*/ 6868 w 10000"/>
                <a:gd name="connsiteY103" fmla="*/ 8821 h 10000"/>
                <a:gd name="connsiteX104" fmla="*/ 7021 w 10000"/>
                <a:gd name="connsiteY104" fmla="*/ 9093 h 10000"/>
                <a:gd name="connsiteX105" fmla="*/ 7195 w 10000"/>
                <a:gd name="connsiteY105" fmla="*/ 9295 h 10000"/>
                <a:gd name="connsiteX106" fmla="*/ 7288 w 10000"/>
                <a:gd name="connsiteY106" fmla="*/ 9395 h 10000"/>
                <a:gd name="connsiteX107" fmla="*/ 7369 w 10000"/>
                <a:gd name="connsiteY107" fmla="*/ 9497 h 10000"/>
                <a:gd name="connsiteX108" fmla="*/ 7462 w 10000"/>
                <a:gd name="connsiteY108" fmla="*/ 9554 h 10000"/>
                <a:gd name="connsiteX109" fmla="*/ 7554 w 10000"/>
                <a:gd name="connsiteY109" fmla="*/ 9626 h 10000"/>
                <a:gd name="connsiteX110" fmla="*/ 7646 w 10000"/>
                <a:gd name="connsiteY110" fmla="*/ 9669 h 10000"/>
                <a:gd name="connsiteX111" fmla="*/ 7748 w 10000"/>
                <a:gd name="connsiteY111" fmla="*/ 9698 h 10000"/>
                <a:gd name="connsiteX112" fmla="*/ 7851 w 10000"/>
                <a:gd name="connsiteY112" fmla="*/ 9741 h 10000"/>
                <a:gd name="connsiteX113" fmla="*/ 7943 w 10000"/>
                <a:gd name="connsiteY11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044 w 10000"/>
                <a:gd name="connsiteY64" fmla="*/ 576 h 10000"/>
                <a:gd name="connsiteX65" fmla="*/ 931 w 10000"/>
                <a:gd name="connsiteY65" fmla="*/ 720 h 10000"/>
                <a:gd name="connsiteX66" fmla="*/ 809 w 10000"/>
                <a:gd name="connsiteY66" fmla="*/ 865 h 10000"/>
                <a:gd name="connsiteX67" fmla="*/ 706 w 10000"/>
                <a:gd name="connsiteY67" fmla="*/ 1050 h 10000"/>
                <a:gd name="connsiteX68" fmla="*/ 604 w 10000"/>
                <a:gd name="connsiteY68" fmla="*/ 1224 h 10000"/>
                <a:gd name="connsiteX69" fmla="*/ 491 w 10000"/>
                <a:gd name="connsiteY69" fmla="*/ 1425 h 10000"/>
                <a:gd name="connsiteX70" fmla="*/ 399 w 10000"/>
                <a:gd name="connsiteY70" fmla="*/ 1627 h 10000"/>
                <a:gd name="connsiteX71" fmla="*/ 194 w 10000"/>
                <a:gd name="connsiteY71" fmla="*/ 2101 h 10000"/>
                <a:gd name="connsiteX72" fmla="*/ 0 w 10000"/>
                <a:gd name="connsiteY72" fmla="*/ 2591 h 10000"/>
                <a:gd name="connsiteX73" fmla="*/ 10 w 10000"/>
                <a:gd name="connsiteY73" fmla="*/ 907 h 10000"/>
                <a:gd name="connsiteX74" fmla="*/ 205 w 10000"/>
                <a:gd name="connsiteY74" fmla="*/ 691 h 10000"/>
                <a:gd name="connsiteX75" fmla="*/ 399 w 10000"/>
                <a:gd name="connsiteY75" fmla="*/ 504 h 10000"/>
                <a:gd name="connsiteX76" fmla="*/ 604 w 10000"/>
                <a:gd name="connsiteY76" fmla="*/ 317 h 10000"/>
                <a:gd name="connsiteX77" fmla="*/ 819 w 10000"/>
                <a:gd name="connsiteY77" fmla="*/ 188 h 10000"/>
                <a:gd name="connsiteX78" fmla="*/ 2272 w 10000"/>
                <a:gd name="connsiteY78" fmla="*/ 0 h 10000"/>
                <a:gd name="connsiteX79" fmla="*/ 2426 w 10000"/>
                <a:gd name="connsiteY79" fmla="*/ 43 h 10000"/>
                <a:gd name="connsiteX80" fmla="*/ 2569 w 10000"/>
                <a:gd name="connsiteY80" fmla="*/ 115 h 10000"/>
                <a:gd name="connsiteX81" fmla="*/ 2712 w 10000"/>
                <a:gd name="connsiteY81" fmla="*/ 188 h 10000"/>
                <a:gd name="connsiteX82" fmla="*/ 2845 w 10000"/>
                <a:gd name="connsiteY82" fmla="*/ 274 h 10000"/>
                <a:gd name="connsiteX83" fmla="*/ 2989 w 10000"/>
                <a:gd name="connsiteY83" fmla="*/ 375 h 10000"/>
                <a:gd name="connsiteX84" fmla="*/ 3112 w 10000"/>
                <a:gd name="connsiteY84" fmla="*/ 461 h 10000"/>
                <a:gd name="connsiteX85" fmla="*/ 3234 w 10000"/>
                <a:gd name="connsiteY85" fmla="*/ 590 h 10000"/>
                <a:gd name="connsiteX86" fmla="*/ 3367 w 10000"/>
                <a:gd name="connsiteY86" fmla="*/ 720 h 10000"/>
                <a:gd name="connsiteX87" fmla="*/ 3490 w 10000"/>
                <a:gd name="connsiteY87" fmla="*/ 850 h 10000"/>
                <a:gd name="connsiteX88" fmla="*/ 3726 w 10000"/>
                <a:gd name="connsiteY88" fmla="*/ 1137 h 10000"/>
                <a:gd name="connsiteX89" fmla="*/ 3941 w 10000"/>
                <a:gd name="connsiteY89" fmla="*/ 1482 h 10000"/>
                <a:gd name="connsiteX90" fmla="*/ 4145 w 10000"/>
                <a:gd name="connsiteY90" fmla="*/ 1842 h 10000"/>
                <a:gd name="connsiteX91" fmla="*/ 4340 w 10000"/>
                <a:gd name="connsiteY91" fmla="*/ 2231 h 10000"/>
                <a:gd name="connsiteX92" fmla="*/ 4534 w 10000"/>
                <a:gd name="connsiteY92" fmla="*/ 2634 h 10000"/>
                <a:gd name="connsiteX93" fmla="*/ 4708 w 10000"/>
                <a:gd name="connsiteY93" fmla="*/ 3051 h 10000"/>
                <a:gd name="connsiteX94" fmla="*/ 4893 w 10000"/>
                <a:gd name="connsiteY94" fmla="*/ 3483 h 10000"/>
                <a:gd name="connsiteX95" fmla="*/ 5056 w 10000"/>
                <a:gd name="connsiteY95" fmla="*/ 3927 h 10000"/>
                <a:gd name="connsiteX96" fmla="*/ 5363 w 10000"/>
                <a:gd name="connsiteY96" fmla="*/ 4834 h 10000"/>
                <a:gd name="connsiteX97" fmla="*/ 5967 w 10000"/>
                <a:gd name="connsiteY97" fmla="*/ 6633 h 10000"/>
                <a:gd name="connsiteX98" fmla="*/ 6254 w 10000"/>
                <a:gd name="connsiteY98" fmla="*/ 7468 h 10000"/>
                <a:gd name="connsiteX99" fmla="*/ 6407 w 10000"/>
                <a:gd name="connsiteY99" fmla="*/ 7828 h 10000"/>
                <a:gd name="connsiteX100" fmla="*/ 6551 w 10000"/>
                <a:gd name="connsiteY100" fmla="*/ 8201 h 10000"/>
                <a:gd name="connsiteX101" fmla="*/ 6714 w 10000"/>
                <a:gd name="connsiteY101" fmla="*/ 8533 h 10000"/>
                <a:gd name="connsiteX102" fmla="*/ 6868 w 10000"/>
                <a:gd name="connsiteY102" fmla="*/ 8821 h 10000"/>
                <a:gd name="connsiteX103" fmla="*/ 7021 w 10000"/>
                <a:gd name="connsiteY103" fmla="*/ 9093 h 10000"/>
                <a:gd name="connsiteX104" fmla="*/ 7195 w 10000"/>
                <a:gd name="connsiteY104" fmla="*/ 9295 h 10000"/>
                <a:gd name="connsiteX105" fmla="*/ 7288 w 10000"/>
                <a:gd name="connsiteY105" fmla="*/ 9395 h 10000"/>
                <a:gd name="connsiteX106" fmla="*/ 7369 w 10000"/>
                <a:gd name="connsiteY106" fmla="*/ 9497 h 10000"/>
                <a:gd name="connsiteX107" fmla="*/ 7462 w 10000"/>
                <a:gd name="connsiteY107" fmla="*/ 9554 h 10000"/>
                <a:gd name="connsiteX108" fmla="*/ 7554 w 10000"/>
                <a:gd name="connsiteY108" fmla="*/ 9626 h 10000"/>
                <a:gd name="connsiteX109" fmla="*/ 7646 w 10000"/>
                <a:gd name="connsiteY109" fmla="*/ 9669 h 10000"/>
                <a:gd name="connsiteX110" fmla="*/ 7748 w 10000"/>
                <a:gd name="connsiteY110" fmla="*/ 9698 h 10000"/>
                <a:gd name="connsiteX111" fmla="*/ 7851 w 10000"/>
                <a:gd name="connsiteY111" fmla="*/ 9741 h 10000"/>
                <a:gd name="connsiteX112" fmla="*/ 7943 w 10000"/>
                <a:gd name="connsiteY11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819 w 10000"/>
                <a:gd name="connsiteY76" fmla="*/ 188 h 10000"/>
                <a:gd name="connsiteX77" fmla="*/ 2272 w 10000"/>
                <a:gd name="connsiteY77" fmla="*/ 0 h 10000"/>
                <a:gd name="connsiteX78" fmla="*/ 2426 w 10000"/>
                <a:gd name="connsiteY78" fmla="*/ 43 h 10000"/>
                <a:gd name="connsiteX79" fmla="*/ 2569 w 10000"/>
                <a:gd name="connsiteY79" fmla="*/ 115 h 10000"/>
                <a:gd name="connsiteX80" fmla="*/ 2712 w 10000"/>
                <a:gd name="connsiteY80" fmla="*/ 188 h 10000"/>
                <a:gd name="connsiteX81" fmla="*/ 2845 w 10000"/>
                <a:gd name="connsiteY81" fmla="*/ 274 h 10000"/>
                <a:gd name="connsiteX82" fmla="*/ 2989 w 10000"/>
                <a:gd name="connsiteY82" fmla="*/ 375 h 10000"/>
                <a:gd name="connsiteX83" fmla="*/ 3112 w 10000"/>
                <a:gd name="connsiteY83" fmla="*/ 461 h 10000"/>
                <a:gd name="connsiteX84" fmla="*/ 3234 w 10000"/>
                <a:gd name="connsiteY84" fmla="*/ 590 h 10000"/>
                <a:gd name="connsiteX85" fmla="*/ 3367 w 10000"/>
                <a:gd name="connsiteY85" fmla="*/ 720 h 10000"/>
                <a:gd name="connsiteX86" fmla="*/ 3490 w 10000"/>
                <a:gd name="connsiteY86" fmla="*/ 850 h 10000"/>
                <a:gd name="connsiteX87" fmla="*/ 3726 w 10000"/>
                <a:gd name="connsiteY87" fmla="*/ 1137 h 10000"/>
                <a:gd name="connsiteX88" fmla="*/ 3941 w 10000"/>
                <a:gd name="connsiteY88" fmla="*/ 1482 h 10000"/>
                <a:gd name="connsiteX89" fmla="*/ 4145 w 10000"/>
                <a:gd name="connsiteY89" fmla="*/ 1842 h 10000"/>
                <a:gd name="connsiteX90" fmla="*/ 4340 w 10000"/>
                <a:gd name="connsiteY90" fmla="*/ 2231 h 10000"/>
                <a:gd name="connsiteX91" fmla="*/ 4534 w 10000"/>
                <a:gd name="connsiteY91" fmla="*/ 2634 h 10000"/>
                <a:gd name="connsiteX92" fmla="*/ 4708 w 10000"/>
                <a:gd name="connsiteY92" fmla="*/ 3051 h 10000"/>
                <a:gd name="connsiteX93" fmla="*/ 4893 w 10000"/>
                <a:gd name="connsiteY93" fmla="*/ 3483 h 10000"/>
                <a:gd name="connsiteX94" fmla="*/ 5056 w 10000"/>
                <a:gd name="connsiteY94" fmla="*/ 3927 h 10000"/>
                <a:gd name="connsiteX95" fmla="*/ 5363 w 10000"/>
                <a:gd name="connsiteY95" fmla="*/ 4834 h 10000"/>
                <a:gd name="connsiteX96" fmla="*/ 5967 w 10000"/>
                <a:gd name="connsiteY96" fmla="*/ 6633 h 10000"/>
                <a:gd name="connsiteX97" fmla="*/ 6254 w 10000"/>
                <a:gd name="connsiteY97" fmla="*/ 7468 h 10000"/>
                <a:gd name="connsiteX98" fmla="*/ 6407 w 10000"/>
                <a:gd name="connsiteY98" fmla="*/ 7828 h 10000"/>
                <a:gd name="connsiteX99" fmla="*/ 6551 w 10000"/>
                <a:gd name="connsiteY99" fmla="*/ 8201 h 10000"/>
                <a:gd name="connsiteX100" fmla="*/ 6714 w 10000"/>
                <a:gd name="connsiteY100" fmla="*/ 8533 h 10000"/>
                <a:gd name="connsiteX101" fmla="*/ 6868 w 10000"/>
                <a:gd name="connsiteY101" fmla="*/ 8821 h 10000"/>
                <a:gd name="connsiteX102" fmla="*/ 7021 w 10000"/>
                <a:gd name="connsiteY102" fmla="*/ 9093 h 10000"/>
                <a:gd name="connsiteX103" fmla="*/ 7195 w 10000"/>
                <a:gd name="connsiteY103" fmla="*/ 9295 h 10000"/>
                <a:gd name="connsiteX104" fmla="*/ 7288 w 10000"/>
                <a:gd name="connsiteY104" fmla="*/ 9395 h 10000"/>
                <a:gd name="connsiteX105" fmla="*/ 7369 w 10000"/>
                <a:gd name="connsiteY105" fmla="*/ 9497 h 10000"/>
                <a:gd name="connsiteX106" fmla="*/ 7462 w 10000"/>
                <a:gd name="connsiteY106" fmla="*/ 9554 h 10000"/>
                <a:gd name="connsiteX107" fmla="*/ 7554 w 10000"/>
                <a:gd name="connsiteY107" fmla="*/ 9626 h 10000"/>
                <a:gd name="connsiteX108" fmla="*/ 7646 w 10000"/>
                <a:gd name="connsiteY108" fmla="*/ 9669 h 10000"/>
                <a:gd name="connsiteX109" fmla="*/ 7748 w 10000"/>
                <a:gd name="connsiteY109" fmla="*/ 9698 h 10000"/>
                <a:gd name="connsiteX110" fmla="*/ 7851 w 10000"/>
                <a:gd name="connsiteY110" fmla="*/ 9741 h 10000"/>
                <a:gd name="connsiteX111" fmla="*/ 7943 w 10000"/>
                <a:gd name="connsiteY11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931 w 10000"/>
                <a:gd name="connsiteY64" fmla="*/ 720 h 10000"/>
                <a:gd name="connsiteX65" fmla="*/ 809 w 10000"/>
                <a:gd name="connsiteY65" fmla="*/ 865 h 10000"/>
                <a:gd name="connsiteX66" fmla="*/ 706 w 10000"/>
                <a:gd name="connsiteY66" fmla="*/ 1050 h 10000"/>
                <a:gd name="connsiteX67" fmla="*/ 604 w 10000"/>
                <a:gd name="connsiteY67" fmla="*/ 1224 h 10000"/>
                <a:gd name="connsiteX68" fmla="*/ 491 w 10000"/>
                <a:gd name="connsiteY68" fmla="*/ 1425 h 10000"/>
                <a:gd name="connsiteX69" fmla="*/ 399 w 10000"/>
                <a:gd name="connsiteY69" fmla="*/ 1627 h 10000"/>
                <a:gd name="connsiteX70" fmla="*/ 194 w 10000"/>
                <a:gd name="connsiteY70" fmla="*/ 2101 h 10000"/>
                <a:gd name="connsiteX71" fmla="*/ 0 w 10000"/>
                <a:gd name="connsiteY71" fmla="*/ 2591 h 10000"/>
                <a:gd name="connsiteX72" fmla="*/ 10 w 10000"/>
                <a:gd name="connsiteY72" fmla="*/ 907 h 10000"/>
                <a:gd name="connsiteX73" fmla="*/ 205 w 10000"/>
                <a:gd name="connsiteY73" fmla="*/ 691 h 10000"/>
                <a:gd name="connsiteX74" fmla="*/ 399 w 10000"/>
                <a:gd name="connsiteY74" fmla="*/ 504 h 10000"/>
                <a:gd name="connsiteX75" fmla="*/ 604 w 10000"/>
                <a:gd name="connsiteY75" fmla="*/ 317 h 10000"/>
                <a:gd name="connsiteX76" fmla="*/ 2272 w 10000"/>
                <a:gd name="connsiteY76" fmla="*/ 0 h 10000"/>
                <a:gd name="connsiteX77" fmla="*/ 2426 w 10000"/>
                <a:gd name="connsiteY77" fmla="*/ 43 h 10000"/>
                <a:gd name="connsiteX78" fmla="*/ 2569 w 10000"/>
                <a:gd name="connsiteY78" fmla="*/ 115 h 10000"/>
                <a:gd name="connsiteX79" fmla="*/ 2712 w 10000"/>
                <a:gd name="connsiteY79" fmla="*/ 188 h 10000"/>
                <a:gd name="connsiteX80" fmla="*/ 2845 w 10000"/>
                <a:gd name="connsiteY80" fmla="*/ 274 h 10000"/>
                <a:gd name="connsiteX81" fmla="*/ 2989 w 10000"/>
                <a:gd name="connsiteY81" fmla="*/ 375 h 10000"/>
                <a:gd name="connsiteX82" fmla="*/ 3112 w 10000"/>
                <a:gd name="connsiteY82" fmla="*/ 461 h 10000"/>
                <a:gd name="connsiteX83" fmla="*/ 3234 w 10000"/>
                <a:gd name="connsiteY83" fmla="*/ 590 h 10000"/>
                <a:gd name="connsiteX84" fmla="*/ 3367 w 10000"/>
                <a:gd name="connsiteY84" fmla="*/ 720 h 10000"/>
                <a:gd name="connsiteX85" fmla="*/ 3490 w 10000"/>
                <a:gd name="connsiteY85" fmla="*/ 850 h 10000"/>
                <a:gd name="connsiteX86" fmla="*/ 3726 w 10000"/>
                <a:gd name="connsiteY86" fmla="*/ 1137 h 10000"/>
                <a:gd name="connsiteX87" fmla="*/ 3941 w 10000"/>
                <a:gd name="connsiteY87" fmla="*/ 1482 h 10000"/>
                <a:gd name="connsiteX88" fmla="*/ 4145 w 10000"/>
                <a:gd name="connsiteY88" fmla="*/ 1842 h 10000"/>
                <a:gd name="connsiteX89" fmla="*/ 4340 w 10000"/>
                <a:gd name="connsiteY89" fmla="*/ 2231 h 10000"/>
                <a:gd name="connsiteX90" fmla="*/ 4534 w 10000"/>
                <a:gd name="connsiteY90" fmla="*/ 2634 h 10000"/>
                <a:gd name="connsiteX91" fmla="*/ 4708 w 10000"/>
                <a:gd name="connsiteY91" fmla="*/ 3051 h 10000"/>
                <a:gd name="connsiteX92" fmla="*/ 4893 w 10000"/>
                <a:gd name="connsiteY92" fmla="*/ 3483 h 10000"/>
                <a:gd name="connsiteX93" fmla="*/ 5056 w 10000"/>
                <a:gd name="connsiteY93" fmla="*/ 3927 h 10000"/>
                <a:gd name="connsiteX94" fmla="*/ 5363 w 10000"/>
                <a:gd name="connsiteY94" fmla="*/ 4834 h 10000"/>
                <a:gd name="connsiteX95" fmla="*/ 5967 w 10000"/>
                <a:gd name="connsiteY95" fmla="*/ 6633 h 10000"/>
                <a:gd name="connsiteX96" fmla="*/ 6254 w 10000"/>
                <a:gd name="connsiteY96" fmla="*/ 7468 h 10000"/>
                <a:gd name="connsiteX97" fmla="*/ 6407 w 10000"/>
                <a:gd name="connsiteY97" fmla="*/ 7828 h 10000"/>
                <a:gd name="connsiteX98" fmla="*/ 6551 w 10000"/>
                <a:gd name="connsiteY98" fmla="*/ 8201 h 10000"/>
                <a:gd name="connsiteX99" fmla="*/ 6714 w 10000"/>
                <a:gd name="connsiteY99" fmla="*/ 8533 h 10000"/>
                <a:gd name="connsiteX100" fmla="*/ 6868 w 10000"/>
                <a:gd name="connsiteY100" fmla="*/ 8821 h 10000"/>
                <a:gd name="connsiteX101" fmla="*/ 7021 w 10000"/>
                <a:gd name="connsiteY101" fmla="*/ 9093 h 10000"/>
                <a:gd name="connsiteX102" fmla="*/ 7195 w 10000"/>
                <a:gd name="connsiteY102" fmla="*/ 9295 h 10000"/>
                <a:gd name="connsiteX103" fmla="*/ 7288 w 10000"/>
                <a:gd name="connsiteY103" fmla="*/ 9395 h 10000"/>
                <a:gd name="connsiteX104" fmla="*/ 7369 w 10000"/>
                <a:gd name="connsiteY104" fmla="*/ 9497 h 10000"/>
                <a:gd name="connsiteX105" fmla="*/ 7462 w 10000"/>
                <a:gd name="connsiteY105" fmla="*/ 9554 h 10000"/>
                <a:gd name="connsiteX106" fmla="*/ 7554 w 10000"/>
                <a:gd name="connsiteY106" fmla="*/ 9626 h 10000"/>
                <a:gd name="connsiteX107" fmla="*/ 7646 w 10000"/>
                <a:gd name="connsiteY107" fmla="*/ 9669 h 10000"/>
                <a:gd name="connsiteX108" fmla="*/ 7748 w 10000"/>
                <a:gd name="connsiteY108" fmla="*/ 9698 h 10000"/>
                <a:gd name="connsiteX109" fmla="*/ 7851 w 10000"/>
                <a:gd name="connsiteY109" fmla="*/ 9741 h 10000"/>
                <a:gd name="connsiteX110" fmla="*/ 7943 w 10000"/>
                <a:gd name="connsiteY110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706 w 10000"/>
                <a:gd name="connsiteY65" fmla="*/ 1050 h 10000"/>
                <a:gd name="connsiteX66" fmla="*/ 604 w 10000"/>
                <a:gd name="connsiteY66" fmla="*/ 1224 h 10000"/>
                <a:gd name="connsiteX67" fmla="*/ 491 w 10000"/>
                <a:gd name="connsiteY67" fmla="*/ 1425 h 10000"/>
                <a:gd name="connsiteX68" fmla="*/ 399 w 10000"/>
                <a:gd name="connsiteY68" fmla="*/ 1627 h 10000"/>
                <a:gd name="connsiteX69" fmla="*/ 194 w 10000"/>
                <a:gd name="connsiteY69" fmla="*/ 2101 h 10000"/>
                <a:gd name="connsiteX70" fmla="*/ 0 w 10000"/>
                <a:gd name="connsiteY70" fmla="*/ 2591 h 10000"/>
                <a:gd name="connsiteX71" fmla="*/ 10 w 10000"/>
                <a:gd name="connsiteY71" fmla="*/ 907 h 10000"/>
                <a:gd name="connsiteX72" fmla="*/ 205 w 10000"/>
                <a:gd name="connsiteY72" fmla="*/ 691 h 10000"/>
                <a:gd name="connsiteX73" fmla="*/ 399 w 10000"/>
                <a:gd name="connsiteY73" fmla="*/ 504 h 10000"/>
                <a:gd name="connsiteX74" fmla="*/ 604 w 10000"/>
                <a:gd name="connsiteY74" fmla="*/ 317 h 10000"/>
                <a:gd name="connsiteX75" fmla="*/ 2272 w 10000"/>
                <a:gd name="connsiteY75" fmla="*/ 0 h 10000"/>
                <a:gd name="connsiteX76" fmla="*/ 2426 w 10000"/>
                <a:gd name="connsiteY76" fmla="*/ 43 h 10000"/>
                <a:gd name="connsiteX77" fmla="*/ 2569 w 10000"/>
                <a:gd name="connsiteY77" fmla="*/ 115 h 10000"/>
                <a:gd name="connsiteX78" fmla="*/ 2712 w 10000"/>
                <a:gd name="connsiteY78" fmla="*/ 188 h 10000"/>
                <a:gd name="connsiteX79" fmla="*/ 2845 w 10000"/>
                <a:gd name="connsiteY79" fmla="*/ 274 h 10000"/>
                <a:gd name="connsiteX80" fmla="*/ 2989 w 10000"/>
                <a:gd name="connsiteY80" fmla="*/ 375 h 10000"/>
                <a:gd name="connsiteX81" fmla="*/ 3112 w 10000"/>
                <a:gd name="connsiteY81" fmla="*/ 461 h 10000"/>
                <a:gd name="connsiteX82" fmla="*/ 3234 w 10000"/>
                <a:gd name="connsiteY82" fmla="*/ 590 h 10000"/>
                <a:gd name="connsiteX83" fmla="*/ 3367 w 10000"/>
                <a:gd name="connsiteY83" fmla="*/ 720 h 10000"/>
                <a:gd name="connsiteX84" fmla="*/ 3490 w 10000"/>
                <a:gd name="connsiteY84" fmla="*/ 850 h 10000"/>
                <a:gd name="connsiteX85" fmla="*/ 3726 w 10000"/>
                <a:gd name="connsiteY85" fmla="*/ 1137 h 10000"/>
                <a:gd name="connsiteX86" fmla="*/ 3941 w 10000"/>
                <a:gd name="connsiteY86" fmla="*/ 1482 h 10000"/>
                <a:gd name="connsiteX87" fmla="*/ 4145 w 10000"/>
                <a:gd name="connsiteY87" fmla="*/ 1842 h 10000"/>
                <a:gd name="connsiteX88" fmla="*/ 4340 w 10000"/>
                <a:gd name="connsiteY88" fmla="*/ 2231 h 10000"/>
                <a:gd name="connsiteX89" fmla="*/ 4534 w 10000"/>
                <a:gd name="connsiteY89" fmla="*/ 2634 h 10000"/>
                <a:gd name="connsiteX90" fmla="*/ 4708 w 10000"/>
                <a:gd name="connsiteY90" fmla="*/ 3051 h 10000"/>
                <a:gd name="connsiteX91" fmla="*/ 4893 w 10000"/>
                <a:gd name="connsiteY91" fmla="*/ 3483 h 10000"/>
                <a:gd name="connsiteX92" fmla="*/ 5056 w 10000"/>
                <a:gd name="connsiteY92" fmla="*/ 3927 h 10000"/>
                <a:gd name="connsiteX93" fmla="*/ 5363 w 10000"/>
                <a:gd name="connsiteY93" fmla="*/ 4834 h 10000"/>
                <a:gd name="connsiteX94" fmla="*/ 5967 w 10000"/>
                <a:gd name="connsiteY94" fmla="*/ 6633 h 10000"/>
                <a:gd name="connsiteX95" fmla="*/ 6254 w 10000"/>
                <a:gd name="connsiteY95" fmla="*/ 7468 h 10000"/>
                <a:gd name="connsiteX96" fmla="*/ 6407 w 10000"/>
                <a:gd name="connsiteY96" fmla="*/ 7828 h 10000"/>
                <a:gd name="connsiteX97" fmla="*/ 6551 w 10000"/>
                <a:gd name="connsiteY97" fmla="*/ 8201 h 10000"/>
                <a:gd name="connsiteX98" fmla="*/ 6714 w 10000"/>
                <a:gd name="connsiteY98" fmla="*/ 8533 h 10000"/>
                <a:gd name="connsiteX99" fmla="*/ 6868 w 10000"/>
                <a:gd name="connsiteY99" fmla="*/ 8821 h 10000"/>
                <a:gd name="connsiteX100" fmla="*/ 7021 w 10000"/>
                <a:gd name="connsiteY100" fmla="*/ 9093 h 10000"/>
                <a:gd name="connsiteX101" fmla="*/ 7195 w 10000"/>
                <a:gd name="connsiteY101" fmla="*/ 9295 h 10000"/>
                <a:gd name="connsiteX102" fmla="*/ 7288 w 10000"/>
                <a:gd name="connsiteY102" fmla="*/ 9395 h 10000"/>
                <a:gd name="connsiteX103" fmla="*/ 7369 w 10000"/>
                <a:gd name="connsiteY103" fmla="*/ 9497 h 10000"/>
                <a:gd name="connsiteX104" fmla="*/ 7462 w 10000"/>
                <a:gd name="connsiteY104" fmla="*/ 9554 h 10000"/>
                <a:gd name="connsiteX105" fmla="*/ 7554 w 10000"/>
                <a:gd name="connsiteY105" fmla="*/ 9626 h 10000"/>
                <a:gd name="connsiteX106" fmla="*/ 7646 w 10000"/>
                <a:gd name="connsiteY106" fmla="*/ 9669 h 10000"/>
                <a:gd name="connsiteX107" fmla="*/ 7748 w 10000"/>
                <a:gd name="connsiteY107" fmla="*/ 9698 h 10000"/>
                <a:gd name="connsiteX108" fmla="*/ 7851 w 10000"/>
                <a:gd name="connsiteY108" fmla="*/ 9741 h 10000"/>
                <a:gd name="connsiteX109" fmla="*/ 7943 w 10000"/>
                <a:gd name="connsiteY109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809 w 10000"/>
                <a:gd name="connsiteY64" fmla="*/ 865 h 10000"/>
                <a:gd name="connsiteX65" fmla="*/ 604 w 10000"/>
                <a:gd name="connsiteY65" fmla="*/ 1224 h 10000"/>
                <a:gd name="connsiteX66" fmla="*/ 491 w 10000"/>
                <a:gd name="connsiteY66" fmla="*/ 1425 h 10000"/>
                <a:gd name="connsiteX67" fmla="*/ 399 w 10000"/>
                <a:gd name="connsiteY67" fmla="*/ 1627 h 10000"/>
                <a:gd name="connsiteX68" fmla="*/ 194 w 10000"/>
                <a:gd name="connsiteY68" fmla="*/ 2101 h 10000"/>
                <a:gd name="connsiteX69" fmla="*/ 0 w 10000"/>
                <a:gd name="connsiteY69" fmla="*/ 2591 h 10000"/>
                <a:gd name="connsiteX70" fmla="*/ 10 w 10000"/>
                <a:gd name="connsiteY70" fmla="*/ 907 h 10000"/>
                <a:gd name="connsiteX71" fmla="*/ 205 w 10000"/>
                <a:gd name="connsiteY71" fmla="*/ 691 h 10000"/>
                <a:gd name="connsiteX72" fmla="*/ 399 w 10000"/>
                <a:gd name="connsiteY72" fmla="*/ 504 h 10000"/>
                <a:gd name="connsiteX73" fmla="*/ 604 w 10000"/>
                <a:gd name="connsiteY73" fmla="*/ 317 h 10000"/>
                <a:gd name="connsiteX74" fmla="*/ 2272 w 10000"/>
                <a:gd name="connsiteY74" fmla="*/ 0 h 10000"/>
                <a:gd name="connsiteX75" fmla="*/ 2426 w 10000"/>
                <a:gd name="connsiteY75" fmla="*/ 43 h 10000"/>
                <a:gd name="connsiteX76" fmla="*/ 2569 w 10000"/>
                <a:gd name="connsiteY76" fmla="*/ 115 h 10000"/>
                <a:gd name="connsiteX77" fmla="*/ 2712 w 10000"/>
                <a:gd name="connsiteY77" fmla="*/ 188 h 10000"/>
                <a:gd name="connsiteX78" fmla="*/ 2845 w 10000"/>
                <a:gd name="connsiteY78" fmla="*/ 274 h 10000"/>
                <a:gd name="connsiteX79" fmla="*/ 2989 w 10000"/>
                <a:gd name="connsiteY79" fmla="*/ 375 h 10000"/>
                <a:gd name="connsiteX80" fmla="*/ 3112 w 10000"/>
                <a:gd name="connsiteY80" fmla="*/ 461 h 10000"/>
                <a:gd name="connsiteX81" fmla="*/ 3234 w 10000"/>
                <a:gd name="connsiteY81" fmla="*/ 590 h 10000"/>
                <a:gd name="connsiteX82" fmla="*/ 3367 w 10000"/>
                <a:gd name="connsiteY82" fmla="*/ 720 h 10000"/>
                <a:gd name="connsiteX83" fmla="*/ 3490 w 10000"/>
                <a:gd name="connsiteY83" fmla="*/ 850 h 10000"/>
                <a:gd name="connsiteX84" fmla="*/ 3726 w 10000"/>
                <a:gd name="connsiteY84" fmla="*/ 1137 h 10000"/>
                <a:gd name="connsiteX85" fmla="*/ 3941 w 10000"/>
                <a:gd name="connsiteY85" fmla="*/ 1482 h 10000"/>
                <a:gd name="connsiteX86" fmla="*/ 4145 w 10000"/>
                <a:gd name="connsiteY86" fmla="*/ 1842 h 10000"/>
                <a:gd name="connsiteX87" fmla="*/ 4340 w 10000"/>
                <a:gd name="connsiteY87" fmla="*/ 2231 h 10000"/>
                <a:gd name="connsiteX88" fmla="*/ 4534 w 10000"/>
                <a:gd name="connsiteY88" fmla="*/ 2634 h 10000"/>
                <a:gd name="connsiteX89" fmla="*/ 4708 w 10000"/>
                <a:gd name="connsiteY89" fmla="*/ 3051 h 10000"/>
                <a:gd name="connsiteX90" fmla="*/ 4893 w 10000"/>
                <a:gd name="connsiteY90" fmla="*/ 3483 h 10000"/>
                <a:gd name="connsiteX91" fmla="*/ 5056 w 10000"/>
                <a:gd name="connsiteY91" fmla="*/ 3927 h 10000"/>
                <a:gd name="connsiteX92" fmla="*/ 5363 w 10000"/>
                <a:gd name="connsiteY92" fmla="*/ 4834 h 10000"/>
                <a:gd name="connsiteX93" fmla="*/ 5967 w 10000"/>
                <a:gd name="connsiteY93" fmla="*/ 6633 h 10000"/>
                <a:gd name="connsiteX94" fmla="*/ 6254 w 10000"/>
                <a:gd name="connsiteY94" fmla="*/ 7468 h 10000"/>
                <a:gd name="connsiteX95" fmla="*/ 6407 w 10000"/>
                <a:gd name="connsiteY95" fmla="*/ 7828 h 10000"/>
                <a:gd name="connsiteX96" fmla="*/ 6551 w 10000"/>
                <a:gd name="connsiteY96" fmla="*/ 8201 h 10000"/>
                <a:gd name="connsiteX97" fmla="*/ 6714 w 10000"/>
                <a:gd name="connsiteY97" fmla="*/ 8533 h 10000"/>
                <a:gd name="connsiteX98" fmla="*/ 6868 w 10000"/>
                <a:gd name="connsiteY98" fmla="*/ 8821 h 10000"/>
                <a:gd name="connsiteX99" fmla="*/ 7021 w 10000"/>
                <a:gd name="connsiteY99" fmla="*/ 9093 h 10000"/>
                <a:gd name="connsiteX100" fmla="*/ 7195 w 10000"/>
                <a:gd name="connsiteY100" fmla="*/ 9295 h 10000"/>
                <a:gd name="connsiteX101" fmla="*/ 7288 w 10000"/>
                <a:gd name="connsiteY101" fmla="*/ 9395 h 10000"/>
                <a:gd name="connsiteX102" fmla="*/ 7369 w 10000"/>
                <a:gd name="connsiteY102" fmla="*/ 9497 h 10000"/>
                <a:gd name="connsiteX103" fmla="*/ 7462 w 10000"/>
                <a:gd name="connsiteY103" fmla="*/ 9554 h 10000"/>
                <a:gd name="connsiteX104" fmla="*/ 7554 w 10000"/>
                <a:gd name="connsiteY104" fmla="*/ 9626 h 10000"/>
                <a:gd name="connsiteX105" fmla="*/ 7646 w 10000"/>
                <a:gd name="connsiteY105" fmla="*/ 9669 h 10000"/>
                <a:gd name="connsiteX106" fmla="*/ 7748 w 10000"/>
                <a:gd name="connsiteY106" fmla="*/ 9698 h 10000"/>
                <a:gd name="connsiteX107" fmla="*/ 7851 w 10000"/>
                <a:gd name="connsiteY107" fmla="*/ 9741 h 10000"/>
                <a:gd name="connsiteX108" fmla="*/ 7943 w 10000"/>
                <a:gd name="connsiteY108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604 w 10000"/>
                <a:gd name="connsiteY72" fmla="*/ 317 h 10000"/>
                <a:gd name="connsiteX73" fmla="*/ 2272 w 10000"/>
                <a:gd name="connsiteY73" fmla="*/ 0 h 10000"/>
                <a:gd name="connsiteX74" fmla="*/ 2426 w 10000"/>
                <a:gd name="connsiteY74" fmla="*/ 43 h 10000"/>
                <a:gd name="connsiteX75" fmla="*/ 2569 w 10000"/>
                <a:gd name="connsiteY75" fmla="*/ 115 h 10000"/>
                <a:gd name="connsiteX76" fmla="*/ 2712 w 10000"/>
                <a:gd name="connsiteY76" fmla="*/ 188 h 10000"/>
                <a:gd name="connsiteX77" fmla="*/ 2845 w 10000"/>
                <a:gd name="connsiteY77" fmla="*/ 274 h 10000"/>
                <a:gd name="connsiteX78" fmla="*/ 2989 w 10000"/>
                <a:gd name="connsiteY78" fmla="*/ 375 h 10000"/>
                <a:gd name="connsiteX79" fmla="*/ 3112 w 10000"/>
                <a:gd name="connsiteY79" fmla="*/ 461 h 10000"/>
                <a:gd name="connsiteX80" fmla="*/ 3234 w 10000"/>
                <a:gd name="connsiteY80" fmla="*/ 590 h 10000"/>
                <a:gd name="connsiteX81" fmla="*/ 3367 w 10000"/>
                <a:gd name="connsiteY81" fmla="*/ 720 h 10000"/>
                <a:gd name="connsiteX82" fmla="*/ 3490 w 10000"/>
                <a:gd name="connsiteY82" fmla="*/ 850 h 10000"/>
                <a:gd name="connsiteX83" fmla="*/ 3726 w 10000"/>
                <a:gd name="connsiteY83" fmla="*/ 1137 h 10000"/>
                <a:gd name="connsiteX84" fmla="*/ 3941 w 10000"/>
                <a:gd name="connsiteY84" fmla="*/ 1482 h 10000"/>
                <a:gd name="connsiteX85" fmla="*/ 4145 w 10000"/>
                <a:gd name="connsiteY85" fmla="*/ 1842 h 10000"/>
                <a:gd name="connsiteX86" fmla="*/ 4340 w 10000"/>
                <a:gd name="connsiteY86" fmla="*/ 2231 h 10000"/>
                <a:gd name="connsiteX87" fmla="*/ 4534 w 10000"/>
                <a:gd name="connsiteY87" fmla="*/ 2634 h 10000"/>
                <a:gd name="connsiteX88" fmla="*/ 4708 w 10000"/>
                <a:gd name="connsiteY88" fmla="*/ 3051 h 10000"/>
                <a:gd name="connsiteX89" fmla="*/ 4893 w 10000"/>
                <a:gd name="connsiteY89" fmla="*/ 3483 h 10000"/>
                <a:gd name="connsiteX90" fmla="*/ 5056 w 10000"/>
                <a:gd name="connsiteY90" fmla="*/ 3927 h 10000"/>
                <a:gd name="connsiteX91" fmla="*/ 5363 w 10000"/>
                <a:gd name="connsiteY91" fmla="*/ 4834 h 10000"/>
                <a:gd name="connsiteX92" fmla="*/ 5967 w 10000"/>
                <a:gd name="connsiteY92" fmla="*/ 6633 h 10000"/>
                <a:gd name="connsiteX93" fmla="*/ 6254 w 10000"/>
                <a:gd name="connsiteY93" fmla="*/ 7468 h 10000"/>
                <a:gd name="connsiteX94" fmla="*/ 6407 w 10000"/>
                <a:gd name="connsiteY94" fmla="*/ 7828 h 10000"/>
                <a:gd name="connsiteX95" fmla="*/ 6551 w 10000"/>
                <a:gd name="connsiteY95" fmla="*/ 8201 h 10000"/>
                <a:gd name="connsiteX96" fmla="*/ 6714 w 10000"/>
                <a:gd name="connsiteY96" fmla="*/ 8533 h 10000"/>
                <a:gd name="connsiteX97" fmla="*/ 6868 w 10000"/>
                <a:gd name="connsiteY97" fmla="*/ 8821 h 10000"/>
                <a:gd name="connsiteX98" fmla="*/ 7021 w 10000"/>
                <a:gd name="connsiteY98" fmla="*/ 9093 h 10000"/>
                <a:gd name="connsiteX99" fmla="*/ 7195 w 10000"/>
                <a:gd name="connsiteY99" fmla="*/ 9295 h 10000"/>
                <a:gd name="connsiteX100" fmla="*/ 7288 w 10000"/>
                <a:gd name="connsiteY100" fmla="*/ 9395 h 10000"/>
                <a:gd name="connsiteX101" fmla="*/ 7369 w 10000"/>
                <a:gd name="connsiteY101" fmla="*/ 9497 h 10000"/>
                <a:gd name="connsiteX102" fmla="*/ 7462 w 10000"/>
                <a:gd name="connsiteY102" fmla="*/ 9554 h 10000"/>
                <a:gd name="connsiteX103" fmla="*/ 7554 w 10000"/>
                <a:gd name="connsiteY103" fmla="*/ 9626 h 10000"/>
                <a:gd name="connsiteX104" fmla="*/ 7646 w 10000"/>
                <a:gd name="connsiteY104" fmla="*/ 9669 h 10000"/>
                <a:gd name="connsiteX105" fmla="*/ 7748 w 10000"/>
                <a:gd name="connsiteY105" fmla="*/ 9698 h 10000"/>
                <a:gd name="connsiteX106" fmla="*/ 7851 w 10000"/>
                <a:gd name="connsiteY106" fmla="*/ 9741 h 10000"/>
                <a:gd name="connsiteX107" fmla="*/ 7943 w 10000"/>
                <a:gd name="connsiteY107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399 w 10000"/>
                <a:gd name="connsiteY71" fmla="*/ 504 h 10000"/>
                <a:gd name="connsiteX72" fmla="*/ 2272 w 10000"/>
                <a:gd name="connsiteY72" fmla="*/ 0 h 10000"/>
                <a:gd name="connsiteX73" fmla="*/ 2426 w 10000"/>
                <a:gd name="connsiteY73" fmla="*/ 43 h 10000"/>
                <a:gd name="connsiteX74" fmla="*/ 2569 w 10000"/>
                <a:gd name="connsiteY74" fmla="*/ 115 h 10000"/>
                <a:gd name="connsiteX75" fmla="*/ 2712 w 10000"/>
                <a:gd name="connsiteY75" fmla="*/ 188 h 10000"/>
                <a:gd name="connsiteX76" fmla="*/ 2845 w 10000"/>
                <a:gd name="connsiteY76" fmla="*/ 274 h 10000"/>
                <a:gd name="connsiteX77" fmla="*/ 2989 w 10000"/>
                <a:gd name="connsiteY77" fmla="*/ 375 h 10000"/>
                <a:gd name="connsiteX78" fmla="*/ 3112 w 10000"/>
                <a:gd name="connsiteY78" fmla="*/ 461 h 10000"/>
                <a:gd name="connsiteX79" fmla="*/ 3234 w 10000"/>
                <a:gd name="connsiteY79" fmla="*/ 590 h 10000"/>
                <a:gd name="connsiteX80" fmla="*/ 3367 w 10000"/>
                <a:gd name="connsiteY80" fmla="*/ 720 h 10000"/>
                <a:gd name="connsiteX81" fmla="*/ 3490 w 10000"/>
                <a:gd name="connsiteY81" fmla="*/ 850 h 10000"/>
                <a:gd name="connsiteX82" fmla="*/ 3726 w 10000"/>
                <a:gd name="connsiteY82" fmla="*/ 1137 h 10000"/>
                <a:gd name="connsiteX83" fmla="*/ 3941 w 10000"/>
                <a:gd name="connsiteY83" fmla="*/ 1482 h 10000"/>
                <a:gd name="connsiteX84" fmla="*/ 4145 w 10000"/>
                <a:gd name="connsiteY84" fmla="*/ 1842 h 10000"/>
                <a:gd name="connsiteX85" fmla="*/ 4340 w 10000"/>
                <a:gd name="connsiteY85" fmla="*/ 2231 h 10000"/>
                <a:gd name="connsiteX86" fmla="*/ 4534 w 10000"/>
                <a:gd name="connsiteY86" fmla="*/ 2634 h 10000"/>
                <a:gd name="connsiteX87" fmla="*/ 4708 w 10000"/>
                <a:gd name="connsiteY87" fmla="*/ 3051 h 10000"/>
                <a:gd name="connsiteX88" fmla="*/ 4893 w 10000"/>
                <a:gd name="connsiteY88" fmla="*/ 3483 h 10000"/>
                <a:gd name="connsiteX89" fmla="*/ 5056 w 10000"/>
                <a:gd name="connsiteY89" fmla="*/ 3927 h 10000"/>
                <a:gd name="connsiteX90" fmla="*/ 5363 w 10000"/>
                <a:gd name="connsiteY90" fmla="*/ 4834 h 10000"/>
                <a:gd name="connsiteX91" fmla="*/ 5967 w 10000"/>
                <a:gd name="connsiteY91" fmla="*/ 6633 h 10000"/>
                <a:gd name="connsiteX92" fmla="*/ 6254 w 10000"/>
                <a:gd name="connsiteY92" fmla="*/ 7468 h 10000"/>
                <a:gd name="connsiteX93" fmla="*/ 6407 w 10000"/>
                <a:gd name="connsiteY93" fmla="*/ 7828 h 10000"/>
                <a:gd name="connsiteX94" fmla="*/ 6551 w 10000"/>
                <a:gd name="connsiteY94" fmla="*/ 8201 h 10000"/>
                <a:gd name="connsiteX95" fmla="*/ 6714 w 10000"/>
                <a:gd name="connsiteY95" fmla="*/ 8533 h 10000"/>
                <a:gd name="connsiteX96" fmla="*/ 6868 w 10000"/>
                <a:gd name="connsiteY96" fmla="*/ 8821 h 10000"/>
                <a:gd name="connsiteX97" fmla="*/ 7021 w 10000"/>
                <a:gd name="connsiteY97" fmla="*/ 9093 h 10000"/>
                <a:gd name="connsiteX98" fmla="*/ 7195 w 10000"/>
                <a:gd name="connsiteY98" fmla="*/ 9295 h 10000"/>
                <a:gd name="connsiteX99" fmla="*/ 7288 w 10000"/>
                <a:gd name="connsiteY99" fmla="*/ 9395 h 10000"/>
                <a:gd name="connsiteX100" fmla="*/ 7369 w 10000"/>
                <a:gd name="connsiteY100" fmla="*/ 9497 h 10000"/>
                <a:gd name="connsiteX101" fmla="*/ 7462 w 10000"/>
                <a:gd name="connsiteY101" fmla="*/ 9554 h 10000"/>
                <a:gd name="connsiteX102" fmla="*/ 7554 w 10000"/>
                <a:gd name="connsiteY102" fmla="*/ 9626 h 10000"/>
                <a:gd name="connsiteX103" fmla="*/ 7646 w 10000"/>
                <a:gd name="connsiteY103" fmla="*/ 9669 h 10000"/>
                <a:gd name="connsiteX104" fmla="*/ 7748 w 10000"/>
                <a:gd name="connsiteY104" fmla="*/ 9698 h 10000"/>
                <a:gd name="connsiteX105" fmla="*/ 7851 w 10000"/>
                <a:gd name="connsiteY105" fmla="*/ 9741 h 10000"/>
                <a:gd name="connsiteX106" fmla="*/ 7943 w 10000"/>
                <a:gd name="connsiteY106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604 w 10000"/>
                <a:gd name="connsiteY64" fmla="*/ 1224 h 10000"/>
                <a:gd name="connsiteX65" fmla="*/ 491 w 10000"/>
                <a:gd name="connsiteY65" fmla="*/ 1425 h 10000"/>
                <a:gd name="connsiteX66" fmla="*/ 399 w 10000"/>
                <a:gd name="connsiteY66" fmla="*/ 1627 h 10000"/>
                <a:gd name="connsiteX67" fmla="*/ 194 w 10000"/>
                <a:gd name="connsiteY67" fmla="*/ 2101 h 10000"/>
                <a:gd name="connsiteX68" fmla="*/ 0 w 10000"/>
                <a:gd name="connsiteY68" fmla="*/ 2591 h 10000"/>
                <a:gd name="connsiteX69" fmla="*/ 10 w 10000"/>
                <a:gd name="connsiteY69" fmla="*/ 907 h 10000"/>
                <a:gd name="connsiteX70" fmla="*/ 205 w 10000"/>
                <a:gd name="connsiteY70" fmla="*/ 691 h 10000"/>
                <a:gd name="connsiteX71" fmla="*/ 2272 w 10000"/>
                <a:gd name="connsiteY71" fmla="*/ 0 h 10000"/>
                <a:gd name="connsiteX72" fmla="*/ 2426 w 10000"/>
                <a:gd name="connsiteY72" fmla="*/ 43 h 10000"/>
                <a:gd name="connsiteX73" fmla="*/ 2569 w 10000"/>
                <a:gd name="connsiteY73" fmla="*/ 115 h 10000"/>
                <a:gd name="connsiteX74" fmla="*/ 2712 w 10000"/>
                <a:gd name="connsiteY74" fmla="*/ 188 h 10000"/>
                <a:gd name="connsiteX75" fmla="*/ 2845 w 10000"/>
                <a:gd name="connsiteY75" fmla="*/ 274 h 10000"/>
                <a:gd name="connsiteX76" fmla="*/ 2989 w 10000"/>
                <a:gd name="connsiteY76" fmla="*/ 375 h 10000"/>
                <a:gd name="connsiteX77" fmla="*/ 3112 w 10000"/>
                <a:gd name="connsiteY77" fmla="*/ 461 h 10000"/>
                <a:gd name="connsiteX78" fmla="*/ 3234 w 10000"/>
                <a:gd name="connsiteY78" fmla="*/ 590 h 10000"/>
                <a:gd name="connsiteX79" fmla="*/ 3367 w 10000"/>
                <a:gd name="connsiteY79" fmla="*/ 720 h 10000"/>
                <a:gd name="connsiteX80" fmla="*/ 3490 w 10000"/>
                <a:gd name="connsiteY80" fmla="*/ 850 h 10000"/>
                <a:gd name="connsiteX81" fmla="*/ 3726 w 10000"/>
                <a:gd name="connsiteY81" fmla="*/ 1137 h 10000"/>
                <a:gd name="connsiteX82" fmla="*/ 3941 w 10000"/>
                <a:gd name="connsiteY82" fmla="*/ 1482 h 10000"/>
                <a:gd name="connsiteX83" fmla="*/ 4145 w 10000"/>
                <a:gd name="connsiteY83" fmla="*/ 1842 h 10000"/>
                <a:gd name="connsiteX84" fmla="*/ 4340 w 10000"/>
                <a:gd name="connsiteY84" fmla="*/ 2231 h 10000"/>
                <a:gd name="connsiteX85" fmla="*/ 4534 w 10000"/>
                <a:gd name="connsiteY85" fmla="*/ 2634 h 10000"/>
                <a:gd name="connsiteX86" fmla="*/ 4708 w 10000"/>
                <a:gd name="connsiteY86" fmla="*/ 3051 h 10000"/>
                <a:gd name="connsiteX87" fmla="*/ 4893 w 10000"/>
                <a:gd name="connsiteY87" fmla="*/ 3483 h 10000"/>
                <a:gd name="connsiteX88" fmla="*/ 5056 w 10000"/>
                <a:gd name="connsiteY88" fmla="*/ 3927 h 10000"/>
                <a:gd name="connsiteX89" fmla="*/ 5363 w 10000"/>
                <a:gd name="connsiteY89" fmla="*/ 4834 h 10000"/>
                <a:gd name="connsiteX90" fmla="*/ 5967 w 10000"/>
                <a:gd name="connsiteY90" fmla="*/ 6633 h 10000"/>
                <a:gd name="connsiteX91" fmla="*/ 6254 w 10000"/>
                <a:gd name="connsiteY91" fmla="*/ 7468 h 10000"/>
                <a:gd name="connsiteX92" fmla="*/ 6407 w 10000"/>
                <a:gd name="connsiteY92" fmla="*/ 7828 h 10000"/>
                <a:gd name="connsiteX93" fmla="*/ 6551 w 10000"/>
                <a:gd name="connsiteY93" fmla="*/ 8201 h 10000"/>
                <a:gd name="connsiteX94" fmla="*/ 6714 w 10000"/>
                <a:gd name="connsiteY94" fmla="*/ 8533 h 10000"/>
                <a:gd name="connsiteX95" fmla="*/ 6868 w 10000"/>
                <a:gd name="connsiteY95" fmla="*/ 8821 h 10000"/>
                <a:gd name="connsiteX96" fmla="*/ 7021 w 10000"/>
                <a:gd name="connsiteY96" fmla="*/ 9093 h 10000"/>
                <a:gd name="connsiteX97" fmla="*/ 7195 w 10000"/>
                <a:gd name="connsiteY97" fmla="*/ 9295 h 10000"/>
                <a:gd name="connsiteX98" fmla="*/ 7288 w 10000"/>
                <a:gd name="connsiteY98" fmla="*/ 9395 h 10000"/>
                <a:gd name="connsiteX99" fmla="*/ 7369 w 10000"/>
                <a:gd name="connsiteY99" fmla="*/ 9497 h 10000"/>
                <a:gd name="connsiteX100" fmla="*/ 7462 w 10000"/>
                <a:gd name="connsiteY100" fmla="*/ 9554 h 10000"/>
                <a:gd name="connsiteX101" fmla="*/ 7554 w 10000"/>
                <a:gd name="connsiteY101" fmla="*/ 9626 h 10000"/>
                <a:gd name="connsiteX102" fmla="*/ 7646 w 10000"/>
                <a:gd name="connsiteY102" fmla="*/ 9669 h 10000"/>
                <a:gd name="connsiteX103" fmla="*/ 7748 w 10000"/>
                <a:gd name="connsiteY103" fmla="*/ 9698 h 10000"/>
                <a:gd name="connsiteX104" fmla="*/ 7851 w 10000"/>
                <a:gd name="connsiteY104" fmla="*/ 9741 h 10000"/>
                <a:gd name="connsiteX105" fmla="*/ 7943 w 10000"/>
                <a:gd name="connsiteY105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399 w 10000"/>
                <a:gd name="connsiteY65" fmla="*/ 1627 h 10000"/>
                <a:gd name="connsiteX66" fmla="*/ 194 w 10000"/>
                <a:gd name="connsiteY66" fmla="*/ 2101 h 10000"/>
                <a:gd name="connsiteX67" fmla="*/ 0 w 10000"/>
                <a:gd name="connsiteY67" fmla="*/ 2591 h 10000"/>
                <a:gd name="connsiteX68" fmla="*/ 10 w 10000"/>
                <a:gd name="connsiteY68" fmla="*/ 907 h 10000"/>
                <a:gd name="connsiteX69" fmla="*/ 205 w 10000"/>
                <a:gd name="connsiteY69" fmla="*/ 691 h 10000"/>
                <a:gd name="connsiteX70" fmla="*/ 2272 w 10000"/>
                <a:gd name="connsiteY70" fmla="*/ 0 h 10000"/>
                <a:gd name="connsiteX71" fmla="*/ 2426 w 10000"/>
                <a:gd name="connsiteY71" fmla="*/ 43 h 10000"/>
                <a:gd name="connsiteX72" fmla="*/ 2569 w 10000"/>
                <a:gd name="connsiteY72" fmla="*/ 115 h 10000"/>
                <a:gd name="connsiteX73" fmla="*/ 2712 w 10000"/>
                <a:gd name="connsiteY73" fmla="*/ 188 h 10000"/>
                <a:gd name="connsiteX74" fmla="*/ 2845 w 10000"/>
                <a:gd name="connsiteY74" fmla="*/ 274 h 10000"/>
                <a:gd name="connsiteX75" fmla="*/ 2989 w 10000"/>
                <a:gd name="connsiteY75" fmla="*/ 375 h 10000"/>
                <a:gd name="connsiteX76" fmla="*/ 3112 w 10000"/>
                <a:gd name="connsiteY76" fmla="*/ 461 h 10000"/>
                <a:gd name="connsiteX77" fmla="*/ 3234 w 10000"/>
                <a:gd name="connsiteY77" fmla="*/ 590 h 10000"/>
                <a:gd name="connsiteX78" fmla="*/ 3367 w 10000"/>
                <a:gd name="connsiteY78" fmla="*/ 720 h 10000"/>
                <a:gd name="connsiteX79" fmla="*/ 3490 w 10000"/>
                <a:gd name="connsiteY79" fmla="*/ 850 h 10000"/>
                <a:gd name="connsiteX80" fmla="*/ 3726 w 10000"/>
                <a:gd name="connsiteY80" fmla="*/ 1137 h 10000"/>
                <a:gd name="connsiteX81" fmla="*/ 3941 w 10000"/>
                <a:gd name="connsiteY81" fmla="*/ 1482 h 10000"/>
                <a:gd name="connsiteX82" fmla="*/ 4145 w 10000"/>
                <a:gd name="connsiteY82" fmla="*/ 1842 h 10000"/>
                <a:gd name="connsiteX83" fmla="*/ 4340 w 10000"/>
                <a:gd name="connsiteY83" fmla="*/ 2231 h 10000"/>
                <a:gd name="connsiteX84" fmla="*/ 4534 w 10000"/>
                <a:gd name="connsiteY84" fmla="*/ 2634 h 10000"/>
                <a:gd name="connsiteX85" fmla="*/ 4708 w 10000"/>
                <a:gd name="connsiteY85" fmla="*/ 3051 h 10000"/>
                <a:gd name="connsiteX86" fmla="*/ 4893 w 10000"/>
                <a:gd name="connsiteY86" fmla="*/ 3483 h 10000"/>
                <a:gd name="connsiteX87" fmla="*/ 5056 w 10000"/>
                <a:gd name="connsiteY87" fmla="*/ 3927 h 10000"/>
                <a:gd name="connsiteX88" fmla="*/ 5363 w 10000"/>
                <a:gd name="connsiteY88" fmla="*/ 4834 h 10000"/>
                <a:gd name="connsiteX89" fmla="*/ 5967 w 10000"/>
                <a:gd name="connsiteY89" fmla="*/ 6633 h 10000"/>
                <a:gd name="connsiteX90" fmla="*/ 6254 w 10000"/>
                <a:gd name="connsiteY90" fmla="*/ 7468 h 10000"/>
                <a:gd name="connsiteX91" fmla="*/ 6407 w 10000"/>
                <a:gd name="connsiteY91" fmla="*/ 7828 h 10000"/>
                <a:gd name="connsiteX92" fmla="*/ 6551 w 10000"/>
                <a:gd name="connsiteY92" fmla="*/ 8201 h 10000"/>
                <a:gd name="connsiteX93" fmla="*/ 6714 w 10000"/>
                <a:gd name="connsiteY93" fmla="*/ 8533 h 10000"/>
                <a:gd name="connsiteX94" fmla="*/ 6868 w 10000"/>
                <a:gd name="connsiteY94" fmla="*/ 8821 h 10000"/>
                <a:gd name="connsiteX95" fmla="*/ 7021 w 10000"/>
                <a:gd name="connsiteY95" fmla="*/ 9093 h 10000"/>
                <a:gd name="connsiteX96" fmla="*/ 7195 w 10000"/>
                <a:gd name="connsiteY96" fmla="*/ 9295 h 10000"/>
                <a:gd name="connsiteX97" fmla="*/ 7288 w 10000"/>
                <a:gd name="connsiteY97" fmla="*/ 9395 h 10000"/>
                <a:gd name="connsiteX98" fmla="*/ 7369 w 10000"/>
                <a:gd name="connsiteY98" fmla="*/ 9497 h 10000"/>
                <a:gd name="connsiteX99" fmla="*/ 7462 w 10000"/>
                <a:gd name="connsiteY99" fmla="*/ 9554 h 10000"/>
                <a:gd name="connsiteX100" fmla="*/ 7554 w 10000"/>
                <a:gd name="connsiteY100" fmla="*/ 9626 h 10000"/>
                <a:gd name="connsiteX101" fmla="*/ 7646 w 10000"/>
                <a:gd name="connsiteY101" fmla="*/ 9669 h 10000"/>
                <a:gd name="connsiteX102" fmla="*/ 7748 w 10000"/>
                <a:gd name="connsiteY102" fmla="*/ 9698 h 10000"/>
                <a:gd name="connsiteX103" fmla="*/ 7851 w 10000"/>
                <a:gd name="connsiteY103" fmla="*/ 9741 h 10000"/>
                <a:gd name="connsiteX104" fmla="*/ 7943 w 10000"/>
                <a:gd name="connsiteY104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491 w 10000"/>
                <a:gd name="connsiteY64" fmla="*/ 1425 h 10000"/>
                <a:gd name="connsiteX65" fmla="*/ 194 w 10000"/>
                <a:gd name="connsiteY65" fmla="*/ 2101 h 10000"/>
                <a:gd name="connsiteX66" fmla="*/ 0 w 10000"/>
                <a:gd name="connsiteY66" fmla="*/ 2591 h 10000"/>
                <a:gd name="connsiteX67" fmla="*/ 10 w 10000"/>
                <a:gd name="connsiteY67" fmla="*/ 907 h 10000"/>
                <a:gd name="connsiteX68" fmla="*/ 205 w 10000"/>
                <a:gd name="connsiteY68" fmla="*/ 691 h 10000"/>
                <a:gd name="connsiteX69" fmla="*/ 2272 w 10000"/>
                <a:gd name="connsiteY69" fmla="*/ 0 h 10000"/>
                <a:gd name="connsiteX70" fmla="*/ 2426 w 10000"/>
                <a:gd name="connsiteY70" fmla="*/ 43 h 10000"/>
                <a:gd name="connsiteX71" fmla="*/ 2569 w 10000"/>
                <a:gd name="connsiteY71" fmla="*/ 115 h 10000"/>
                <a:gd name="connsiteX72" fmla="*/ 2712 w 10000"/>
                <a:gd name="connsiteY72" fmla="*/ 188 h 10000"/>
                <a:gd name="connsiteX73" fmla="*/ 2845 w 10000"/>
                <a:gd name="connsiteY73" fmla="*/ 274 h 10000"/>
                <a:gd name="connsiteX74" fmla="*/ 2989 w 10000"/>
                <a:gd name="connsiteY74" fmla="*/ 375 h 10000"/>
                <a:gd name="connsiteX75" fmla="*/ 3112 w 10000"/>
                <a:gd name="connsiteY75" fmla="*/ 461 h 10000"/>
                <a:gd name="connsiteX76" fmla="*/ 3234 w 10000"/>
                <a:gd name="connsiteY76" fmla="*/ 590 h 10000"/>
                <a:gd name="connsiteX77" fmla="*/ 3367 w 10000"/>
                <a:gd name="connsiteY77" fmla="*/ 720 h 10000"/>
                <a:gd name="connsiteX78" fmla="*/ 3490 w 10000"/>
                <a:gd name="connsiteY78" fmla="*/ 850 h 10000"/>
                <a:gd name="connsiteX79" fmla="*/ 3726 w 10000"/>
                <a:gd name="connsiteY79" fmla="*/ 1137 h 10000"/>
                <a:gd name="connsiteX80" fmla="*/ 3941 w 10000"/>
                <a:gd name="connsiteY80" fmla="*/ 1482 h 10000"/>
                <a:gd name="connsiteX81" fmla="*/ 4145 w 10000"/>
                <a:gd name="connsiteY81" fmla="*/ 1842 h 10000"/>
                <a:gd name="connsiteX82" fmla="*/ 4340 w 10000"/>
                <a:gd name="connsiteY82" fmla="*/ 2231 h 10000"/>
                <a:gd name="connsiteX83" fmla="*/ 4534 w 10000"/>
                <a:gd name="connsiteY83" fmla="*/ 2634 h 10000"/>
                <a:gd name="connsiteX84" fmla="*/ 4708 w 10000"/>
                <a:gd name="connsiteY84" fmla="*/ 3051 h 10000"/>
                <a:gd name="connsiteX85" fmla="*/ 4893 w 10000"/>
                <a:gd name="connsiteY85" fmla="*/ 3483 h 10000"/>
                <a:gd name="connsiteX86" fmla="*/ 5056 w 10000"/>
                <a:gd name="connsiteY86" fmla="*/ 3927 h 10000"/>
                <a:gd name="connsiteX87" fmla="*/ 5363 w 10000"/>
                <a:gd name="connsiteY87" fmla="*/ 4834 h 10000"/>
                <a:gd name="connsiteX88" fmla="*/ 5967 w 10000"/>
                <a:gd name="connsiteY88" fmla="*/ 6633 h 10000"/>
                <a:gd name="connsiteX89" fmla="*/ 6254 w 10000"/>
                <a:gd name="connsiteY89" fmla="*/ 7468 h 10000"/>
                <a:gd name="connsiteX90" fmla="*/ 6407 w 10000"/>
                <a:gd name="connsiteY90" fmla="*/ 7828 h 10000"/>
                <a:gd name="connsiteX91" fmla="*/ 6551 w 10000"/>
                <a:gd name="connsiteY91" fmla="*/ 8201 h 10000"/>
                <a:gd name="connsiteX92" fmla="*/ 6714 w 10000"/>
                <a:gd name="connsiteY92" fmla="*/ 8533 h 10000"/>
                <a:gd name="connsiteX93" fmla="*/ 6868 w 10000"/>
                <a:gd name="connsiteY93" fmla="*/ 8821 h 10000"/>
                <a:gd name="connsiteX94" fmla="*/ 7021 w 10000"/>
                <a:gd name="connsiteY94" fmla="*/ 9093 h 10000"/>
                <a:gd name="connsiteX95" fmla="*/ 7195 w 10000"/>
                <a:gd name="connsiteY95" fmla="*/ 9295 h 10000"/>
                <a:gd name="connsiteX96" fmla="*/ 7288 w 10000"/>
                <a:gd name="connsiteY96" fmla="*/ 9395 h 10000"/>
                <a:gd name="connsiteX97" fmla="*/ 7369 w 10000"/>
                <a:gd name="connsiteY97" fmla="*/ 9497 h 10000"/>
                <a:gd name="connsiteX98" fmla="*/ 7462 w 10000"/>
                <a:gd name="connsiteY98" fmla="*/ 9554 h 10000"/>
                <a:gd name="connsiteX99" fmla="*/ 7554 w 10000"/>
                <a:gd name="connsiteY99" fmla="*/ 9626 h 10000"/>
                <a:gd name="connsiteX100" fmla="*/ 7646 w 10000"/>
                <a:gd name="connsiteY100" fmla="*/ 9669 h 10000"/>
                <a:gd name="connsiteX101" fmla="*/ 7748 w 10000"/>
                <a:gd name="connsiteY101" fmla="*/ 9698 h 10000"/>
                <a:gd name="connsiteX102" fmla="*/ 7851 w 10000"/>
                <a:gd name="connsiteY102" fmla="*/ 9741 h 10000"/>
                <a:gd name="connsiteX103" fmla="*/ 7943 w 10000"/>
                <a:gd name="connsiteY103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05 w 10000"/>
                <a:gd name="connsiteY67" fmla="*/ 691 h 10000"/>
                <a:gd name="connsiteX68" fmla="*/ 2272 w 10000"/>
                <a:gd name="connsiteY68" fmla="*/ 0 h 10000"/>
                <a:gd name="connsiteX69" fmla="*/ 2426 w 10000"/>
                <a:gd name="connsiteY69" fmla="*/ 43 h 10000"/>
                <a:gd name="connsiteX70" fmla="*/ 2569 w 10000"/>
                <a:gd name="connsiteY70" fmla="*/ 115 h 10000"/>
                <a:gd name="connsiteX71" fmla="*/ 2712 w 10000"/>
                <a:gd name="connsiteY71" fmla="*/ 188 h 10000"/>
                <a:gd name="connsiteX72" fmla="*/ 2845 w 10000"/>
                <a:gd name="connsiteY72" fmla="*/ 274 h 10000"/>
                <a:gd name="connsiteX73" fmla="*/ 2989 w 10000"/>
                <a:gd name="connsiteY73" fmla="*/ 375 h 10000"/>
                <a:gd name="connsiteX74" fmla="*/ 3112 w 10000"/>
                <a:gd name="connsiteY74" fmla="*/ 461 h 10000"/>
                <a:gd name="connsiteX75" fmla="*/ 3234 w 10000"/>
                <a:gd name="connsiteY75" fmla="*/ 590 h 10000"/>
                <a:gd name="connsiteX76" fmla="*/ 3367 w 10000"/>
                <a:gd name="connsiteY76" fmla="*/ 720 h 10000"/>
                <a:gd name="connsiteX77" fmla="*/ 3490 w 10000"/>
                <a:gd name="connsiteY77" fmla="*/ 850 h 10000"/>
                <a:gd name="connsiteX78" fmla="*/ 3726 w 10000"/>
                <a:gd name="connsiteY78" fmla="*/ 1137 h 10000"/>
                <a:gd name="connsiteX79" fmla="*/ 3941 w 10000"/>
                <a:gd name="connsiteY79" fmla="*/ 1482 h 10000"/>
                <a:gd name="connsiteX80" fmla="*/ 4145 w 10000"/>
                <a:gd name="connsiteY80" fmla="*/ 1842 h 10000"/>
                <a:gd name="connsiteX81" fmla="*/ 4340 w 10000"/>
                <a:gd name="connsiteY81" fmla="*/ 2231 h 10000"/>
                <a:gd name="connsiteX82" fmla="*/ 4534 w 10000"/>
                <a:gd name="connsiteY82" fmla="*/ 2634 h 10000"/>
                <a:gd name="connsiteX83" fmla="*/ 4708 w 10000"/>
                <a:gd name="connsiteY83" fmla="*/ 3051 h 10000"/>
                <a:gd name="connsiteX84" fmla="*/ 4893 w 10000"/>
                <a:gd name="connsiteY84" fmla="*/ 3483 h 10000"/>
                <a:gd name="connsiteX85" fmla="*/ 5056 w 10000"/>
                <a:gd name="connsiteY85" fmla="*/ 3927 h 10000"/>
                <a:gd name="connsiteX86" fmla="*/ 5363 w 10000"/>
                <a:gd name="connsiteY86" fmla="*/ 4834 h 10000"/>
                <a:gd name="connsiteX87" fmla="*/ 5967 w 10000"/>
                <a:gd name="connsiteY87" fmla="*/ 6633 h 10000"/>
                <a:gd name="connsiteX88" fmla="*/ 6254 w 10000"/>
                <a:gd name="connsiteY88" fmla="*/ 7468 h 10000"/>
                <a:gd name="connsiteX89" fmla="*/ 6407 w 10000"/>
                <a:gd name="connsiteY89" fmla="*/ 7828 h 10000"/>
                <a:gd name="connsiteX90" fmla="*/ 6551 w 10000"/>
                <a:gd name="connsiteY90" fmla="*/ 8201 h 10000"/>
                <a:gd name="connsiteX91" fmla="*/ 6714 w 10000"/>
                <a:gd name="connsiteY91" fmla="*/ 8533 h 10000"/>
                <a:gd name="connsiteX92" fmla="*/ 6868 w 10000"/>
                <a:gd name="connsiteY92" fmla="*/ 8821 h 10000"/>
                <a:gd name="connsiteX93" fmla="*/ 7021 w 10000"/>
                <a:gd name="connsiteY93" fmla="*/ 9093 h 10000"/>
                <a:gd name="connsiteX94" fmla="*/ 7195 w 10000"/>
                <a:gd name="connsiteY94" fmla="*/ 9295 h 10000"/>
                <a:gd name="connsiteX95" fmla="*/ 7288 w 10000"/>
                <a:gd name="connsiteY95" fmla="*/ 9395 h 10000"/>
                <a:gd name="connsiteX96" fmla="*/ 7369 w 10000"/>
                <a:gd name="connsiteY96" fmla="*/ 9497 h 10000"/>
                <a:gd name="connsiteX97" fmla="*/ 7462 w 10000"/>
                <a:gd name="connsiteY97" fmla="*/ 9554 h 10000"/>
                <a:gd name="connsiteX98" fmla="*/ 7554 w 10000"/>
                <a:gd name="connsiteY98" fmla="*/ 9626 h 10000"/>
                <a:gd name="connsiteX99" fmla="*/ 7646 w 10000"/>
                <a:gd name="connsiteY99" fmla="*/ 9669 h 10000"/>
                <a:gd name="connsiteX100" fmla="*/ 7748 w 10000"/>
                <a:gd name="connsiteY100" fmla="*/ 9698 h 10000"/>
                <a:gd name="connsiteX101" fmla="*/ 7851 w 10000"/>
                <a:gd name="connsiteY101" fmla="*/ 9741 h 10000"/>
                <a:gd name="connsiteX102" fmla="*/ 7943 w 10000"/>
                <a:gd name="connsiteY102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194 w 10000"/>
                <a:gd name="connsiteY64" fmla="*/ 2101 h 10000"/>
                <a:gd name="connsiteX65" fmla="*/ 0 w 10000"/>
                <a:gd name="connsiteY65" fmla="*/ 2591 h 10000"/>
                <a:gd name="connsiteX66" fmla="*/ 10 w 10000"/>
                <a:gd name="connsiteY66" fmla="*/ 907 h 10000"/>
                <a:gd name="connsiteX67" fmla="*/ 2272 w 10000"/>
                <a:gd name="connsiteY67" fmla="*/ 0 h 10000"/>
                <a:gd name="connsiteX68" fmla="*/ 2426 w 10000"/>
                <a:gd name="connsiteY68" fmla="*/ 43 h 10000"/>
                <a:gd name="connsiteX69" fmla="*/ 2569 w 10000"/>
                <a:gd name="connsiteY69" fmla="*/ 115 h 10000"/>
                <a:gd name="connsiteX70" fmla="*/ 2712 w 10000"/>
                <a:gd name="connsiteY70" fmla="*/ 188 h 10000"/>
                <a:gd name="connsiteX71" fmla="*/ 2845 w 10000"/>
                <a:gd name="connsiteY71" fmla="*/ 274 h 10000"/>
                <a:gd name="connsiteX72" fmla="*/ 2989 w 10000"/>
                <a:gd name="connsiteY72" fmla="*/ 375 h 10000"/>
                <a:gd name="connsiteX73" fmla="*/ 3112 w 10000"/>
                <a:gd name="connsiteY73" fmla="*/ 461 h 10000"/>
                <a:gd name="connsiteX74" fmla="*/ 3234 w 10000"/>
                <a:gd name="connsiteY74" fmla="*/ 590 h 10000"/>
                <a:gd name="connsiteX75" fmla="*/ 3367 w 10000"/>
                <a:gd name="connsiteY75" fmla="*/ 720 h 10000"/>
                <a:gd name="connsiteX76" fmla="*/ 3490 w 10000"/>
                <a:gd name="connsiteY76" fmla="*/ 850 h 10000"/>
                <a:gd name="connsiteX77" fmla="*/ 3726 w 10000"/>
                <a:gd name="connsiteY77" fmla="*/ 1137 h 10000"/>
                <a:gd name="connsiteX78" fmla="*/ 3941 w 10000"/>
                <a:gd name="connsiteY78" fmla="*/ 1482 h 10000"/>
                <a:gd name="connsiteX79" fmla="*/ 4145 w 10000"/>
                <a:gd name="connsiteY79" fmla="*/ 1842 h 10000"/>
                <a:gd name="connsiteX80" fmla="*/ 4340 w 10000"/>
                <a:gd name="connsiteY80" fmla="*/ 2231 h 10000"/>
                <a:gd name="connsiteX81" fmla="*/ 4534 w 10000"/>
                <a:gd name="connsiteY81" fmla="*/ 2634 h 10000"/>
                <a:gd name="connsiteX82" fmla="*/ 4708 w 10000"/>
                <a:gd name="connsiteY82" fmla="*/ 3051 h 10000"/>
                <a:gd name="connsiteX83" fmla="*/ 4893 w 10000"/>
                <a:gd name="connsiteY83" fmla="*/ 3483 h 10000"/>
                <a:gd name="connsiteX84" fmla="*/ 5056 w 10000"/>
                <a:gd name="connsiteY84" fmla="*/ 3927 h 10000"/>
                <a:gd name="connsiteX85" fmla="*/ 5363 w 10000"/>
                <a:gd name="connsiteY85" fmla="*/ 4834 h 10000"/>
                <a:gd name="connsiteX86" fmla="*/ 5967 w 10000"/>
                <a:gd name="connsiteY86" fmla="*/ 6633 h 10000"/>
                <a:gd name="connsiteX87" fmla="*/ 6254 w 10000"/>
                <a:gd name="connsiteY87" fmla="*/ 7468 h 10000"/>
                <a:gd name="connsiteX88" fmla="*/ 6407 w 10000"/>
                <a:gd name="connsiteY88" fmla="*/ 7828 h 10000"/>
                <a:gd name="connsiteX89" fmla="*/ 6551 w 10000"/>
                <a:gd name="connsiteY89" fmla="*/ 8201 h 10000"/>
                <a:gd name="connsiteX90" fmla="*/ 6714 w 10000"/>
                <a:gd name="connsiteY90" fmla="*/ 8533 h 10000"/>
                <a:gd name="connsiteX91" fmla="*/ 6868 w 10000"/>
                <a:gd name="connsiteY91" fmla="*/ 8821 h 10000"/>
                <a:gd name="connsiteX92" fmla="*/ 7021 w 10000"/>
                <a:gd name="connsiteY92" fmla="*/ 9093 h 10000"/>
                <a:gd name="connsiteX93" fmla="*/ 7195 w 10000"/>
                <a:gd name="connsiteY93" fmla="*/ 9295 h 10000"/>
                <a:gd name="connsiteX94" fmla="*/ 7288 w 10000"/>
                <a:gd name="connsiteY94" fmla="*/ 9395 h 10000"/>
                <a:gd name="connsiteX95" fmla="*/ 7369 w 10000"/>
                <a:gd name="connsiteY95" fmla="*/ 9497 h 10000"/>
                <a:gd name="connsiteX96" fmla="*/ 7462 w 10000"/>
                <a:gd name="connsiteY96" fmla="*/ 9554 h 10000"/>
                <a:gd name="connsiteX97" fmla="*/ 7554 w 10000"/>
                <a:gd name="connsiteY97" fmla="*/ 9626 h 10000"/>
                <a:gd name="connsiteX98" fmla="*/ 7646 w 10000"/>
                <a:gd name="connsiteY98" fmla="*/ 9669 h 10000"/>
                <a:gd name="connsiteX99" fmla="*/ 7748 w 10000"/>
                <a:gd name="connsiteY99" fmla="*/ 9698 h 10000"/>
                <a:gd name="connsiteX100" fmla="*/ 7851 w 10000"/>
                <a:gd name="connsiteY100" fmla="*/ 9741 h 10000"/>
                <a:gd name="connsiteX101" fmla="*/ 7943 w 10000"/>
                <a:gd name="connsiteY101" fmla="*/ 9741 h 10000"/>
                <a:gd name="connsiteX0" fmla="*/ 7943 w 10000"/>
                <a:gd name="connsiteY0" fmla="*/ 9741 h 10000"/>
                <a:gd name="connsiteX1" fmla="*/ 7943 w 10000"/>
                <a:gd name="connsiteY1" fmla="*/ 9741 h 10000"/>
                <a:gd name="connsiteX2" fmla="*/ 8076 w 10000"/>
                <a:gd name="connsiteY2" fmla="*/ 9741 h 10000"/>
                <a:gd name="connsiteX3" fmla="*/ 8178 w 10000"/>
                <a:gd name="connsiteY3" fmla="*/ 9698 h 10000"/>
                <a:gd name="connsiteX4" fmla="*/ 8291 w 10000"/>
                <a:gd name="connsiteY4" fmla="*/ 9655 h 10000"/>
                <a:gd name="connsiteX5" fmla="*/ 8403 w 10000"/>
                <a:gd name="connsiteY5" fmla="*/ 9611 h 10000"/>
                <a:gd name="connsiteX6" fmla="*/ 8506 w 10000"/>
                <a:gd name="connsiteY6" fmla="*/ 9526 h 10000"/>
                <a:gd name="connsiteX7" fmla="*/ 8608 w 10000"/>
                <a:gd name="connsiteY7" fmla="*/ 9425 h 10000"/>
                <a:gd name="connsiteX8" fmla="*/ 8700 w 10000"/>
                <a:gd name="connsiteY8" fmla="*/ 9338 h 10000"/>
                <a:gd name="connsiteX9" fmla="*/ 8802 w 10000"/>
                <a:gd name="connsiteY9" fmla="*/ 9209 h 10000"/>
                <a:gd name="connsiteX10" fmla="*/ 8915 w 10000"/>
                <a:gd name="connsiteY10" fmla="*/ 9079 h 10000"/>
                <a:gd name="connsiteX11" fmla="*/ 9007 w 10000"/>
                <a:gd name="connsiteY11" fmla="*/ 8936 h 10000"/>
                <a:gd name="connsiteX12" fmla="*/ 9191 w 10000"/>
                <a:gd name="connsiteY12" fmla="*/ 8604 h 10000"/>
                <a:gd name="connsiteX13" fmla="*/ 9376 w 10000"/>
                <a:gd name="connsiteY13" fmla="*/ 8231 h 10000"/>
                <a:gd name="connsiteX14" fmla="*/ 9539 w 10000"/>
                <a:gd name="connsiteY14" fmla="*/ 7828 h 10000"/>
                <a:gd name="connsiteX15" fmla="*/ 9775 w 10000"/>
                <a:gd name="connsiteY15" fmla="*/ 8274 h 10000"/>
                <a:gd name="connsiteX16" fmla="*/ 10000 w 10000"/>
                <a:gd name="connsiteY16" fmla="*/ 8691 h 10000"/>
                <a:gd name="connsiteX17" fmla="*/ 9785 w 10000"/>
                <a:gd name="connsiteY17" fmla="*/ 8979 h 10000"/>
                <a:gd name="connsiteX18" fmla="*/ 9570 w 10000"/>
                <a:gd name="connsiteY18" fmla="*/ 9238 h 10000"/>
                <a:gd name="connsiteX19" fmla="*/ 9324 w 10000"/>
                <a:gd name="connsiteY19" fmla="*/ 9467 h 10000"/>
                <a:gd name="connsiteX20" fmla="*/ 9212 w 10000"/>
                <a:gd name="connsiteY20" fmla="*/ 9554 h 10000"/>
                <a:gd name="connsiteX21" fmla="*/ 9079 w 10000"/>
                <a:gd name="connsiteY21" fmla="*/ 9655 h 10000"/>
                <a:gd name="connsiteX22" fmla="*/ 8946 w 10000"/>
                <a:gd name="connsiteY22" fmla="*/ 9741 h 10000"/>
                <a:gd name="connsiteX23" fmla="*/ 8823 w 10000"/>
                <a:gd name="connsiteY23" fmla="*/ 9798 h 10000"/>
                <a:gd name="connsiteX24" fmla="*/ 8680 w 10000"/>
                <a:gd name="connsiteY24" fmla="*/ 9870 h 10000"/>
                <a:gd name="connsiteX25" fmla="*/ 8547 w 10000"/>
                <a:gd name="connsiteY25" fmla="*/ 9914 h 10000"/>
                <a:gd name="connsiteX26" fmla="*/ 8403 w 10000"/>
                <a:gd name="connsiteY26" fmla="*/ 9943 h 10000"/>
                <a:gd name="connsiteX27" fmla="*/ 8260 w 10000"/>
                <a:gd name="connsiteY27" fmla="*/ 9971 h 10000"/>
                <a:gd name="connsiteX28" fmla="*/ 8106 w 10000"/>
                <a:gd name="connsiteY28" fmla="*/ 10000 h 10000"/>
                <a:gd name="connsiteX29" fmla="*/ 7943 w 10000"/>
                <a:gd name="connsiteY29" fmla="*/ 10000 h 10000"/>
                <a:gd name="connsiteX30" fmla="*/ 7779 w 10000"/>
                <a:gd name="connsiteY30" fmla="*/ 10000 h 10000"/>
                <a:gd name="connsiteX31" fmla="*/ 7625 w 10000"/>
                <a:gd name="connsiteY31" fmla="*/ 9957 h 10000"/>
                <a:gd name="connsiteX32" fmla="*/ 7462 w 10000"/>
                <a:gd name="connsiteY32" fmla="*/ 9929 h 10000"/>
                <a:gd name="connsiteX33" fmla="*/ 7308 w 10000"/>
                <a:gd name="connsiteY33" fmla="*/ 9886 h 10000"/>
                <a:gd name="connsiteX34" fmla="*/ 7165 w 10000"/>
                <a:gd name="connsiteY34" fmla="*/ 9812 h 10000"/>
                <a:gd name="connsiteX35" fmla="*/ 7021 w 10000"/>
                <a:gd name="connsiteY35" fmla="*/ 9755 h 10000"/>
                <a:gd name="connsiteX36" fmla="*/ 6888 w 10000"/>
                <a:gd name="connsiteY36" fmla="*/ 9655 h 10000"/>
                <a:gd name="connsiteX37" fmla="*/ 6745 w 10000"/>
                <a:gd name="connsiteY37" fmla="*/ 9554 h 10000"/>
                <a:gd name="connsiteX38" fmla="*/ 6622 w 10000"/>
                <a:gd name="connsiteY38" fmla="*/ 9467 h 10000"/>
                <a:gd name="connsiteX39" fmla="*/ 6479 w 10000"/>
                <a:gd name="connsiteY39" fmla="*/ 9338 h 10000"/>
                <a:gd name="connsiteX40" fmla="*/ 6366 w 10000"/>
                <a:gd name="connsiteY40" fmla="*/ 9224 h 10000"/>
                <a:gd name="connsiteX41" fmla="*/ 6244 w 10000"/>
                <a:gd name="connsiteY41" fmla="*/ 9079 h 10000"/>
                <a:gd name="connsiteX42" fmla="*/ 6008 w 10000"/>
                <a:gd name="connsiteY42" fmla="*/ 8777 h 10000"/>
                <a:gd name="connsiteX43" fmla="*/ 5793 w 10000"/>
                <a:gd name="connsiteY43" fmla="*/ 8446 h 10000"/>
                <a:gd name="connsiteX44" fmla="*/ 5589 w 10000"/>
                <a:gd name="connsiteY44" fmla="*/ 8086 h 10000"/>
                <a:gd name="connsiteX45" fmla="*/ 5394 w 10000"/>
                <a:gd name="connsiteY45" fmla="*/ 7697 h 10000"/>
                <a:gd name="connsiteX46" fmla="*/ 5200 w 10000"/>
                <a:gd name="connsiteY46" fmla="*/ 7295 h 10000"/>
                <a:gd name="connsiteX47" fmla="*/ 5026 w 10000"/>
                <a:gd name="connsiteY47" fmla="*/ 6878 h 10000"/>
                <a:gd name="connsiteX48" fmla="*/ 4852 w 10000"/>
                <a:gd name="connsiteY48" fmla="*/ 6446 h 10000"/>
                <a:gd name="connsiteX49" fmla="*/ 4688 w 10000"/>
                <a:gd name="connsiteY49" fmla="*/ 6000 h 10000"/>
                <a:gd name="connsiteX50" fmla="*/ 4371 w 10000"/>
                <a:gd name="connsiteY50" fmla="*/ 5094 h 10000"/>
                <a:gd name="connsiteX51" fmla="*/ 3777 w 10000"/>
                <a:gd name="connsiteY51" fmla="*/ 3310 h 10000"/>
                <a:gd name="connsiteX52" fmla="*/ 3644 w 10000"/>
                <a:gd name="connsiteY52" fmla="*/ 2863 h 10000"/>
                <a:gd name="connsiteX53" fmla="*/ 3490 w 10000"/>
                <a:gd name="connsiteY53" fmla="*/ 2460 h 10000"/>
                <a:gd name="connsiteX54" fmla="*/ 3347 w 10000"/>
                <a:gd name="connsiteY54" fmla="*/ 2101 h 10000"/>
                <a:gd name="connsiteX55" fmla="*/ 3193 w 10000"/>
                <a:gd name="connsiteY55" fmla="*/ 1727 h 10000"/>
                <a:gd name="connsiteX56" fmla="*/ 3040 w 10000"/>
                <a:gd name="connsiteY56" fmla="*/ 1396 h 10000"/>
                <a:gd name="connsiteX57" fmla="*/ 2886 w 10000"/>
                <a:gd name="connsiteY57" fmla="*/ 1108 h 10000"/>
                <a:gd name="connsiteX58" fmla="*/ 2723 w 10000"/>
                <a:gd name="connsiteY58" fmla="*/ 836 h 10000"/>
                <a:gd name="connsiteX59" fmla="*/ 2559 w 10000"/>
                <a:gd name="connsiteY59" fmla="*/ 634 h 10000"/>
                <a:gd name="connsiteX60" fmla="*/ 2467 w 10000"/>
                <a:gd name="connsiteY60" fmla="*/ 533 h 10000"/>
                <a:gd name="connsiteX61" fmla="*/ 2375 w 10000"/>
                <a:gd name="connsiteY61" fmla="*/ 432 h 10000"/>
                <a:gd name="connsiteX62" fmla="*/ 2282 w 10000"/>
                <a:gd name="connsiteY62" fmla="*/ 375 h 10000"/>
                <a:gd name="connsiteX63" fmla="*/ 2190 w 10000"/>
                <a:gd name="connsiteY63" fmla="*/ 302 h 10000"/>
                <a:gd name="connsiteX64" fmla="*/ 0 w 10000"/>
                <a:gd name="connsiteY64" fmla="*/ 2591 h 10000"/>
                <a:gd name="connsiteX65" fmla="*/ 10 w 10000"/>
                <a:gd name="connsiteY65" fmla="*/ 907 h 10000"/>
                <a:gd name="connsiteX66" fmla="*/ 2272 w 10000"/>
                <a:gd name="connsiteY66" fmla="*/ 0 h 10000"/>
                <a:gd name="connsiteX67" fmla="*/ 2426 w 10000"/>
                <a:gd name="connsiteY67" fmla="*/ 43 h 10000"/>
                <a:gd name="connsiteX68" fmla="*/ 2569 w 10000"/>
                <a:gd name="connsiteY68" fmla="*/ 115 h 10000"/>
                <a:gd name="connsiteX69" fmla="*/ 2712 w 10000"/>
                <a:gd name="connsiteY69" fmla="*/ 188 h 10000"/>
                <a:gd name="connsiteX70" fmla="*/ 2845 w 10000"/>
                <a:gd name="connsiteY70" fmla="*/ 274 h 10000"/>
                <a:gd name="connsiteX71" fmla="*/ 2989 w 10000"/>
                <a:gd name="connsiteY71" fmla="*/ 375 h 10000"/>
                <a:gd name="connsiteX72" fmla="*/ 3112 w 10000"/>
                <a:gd name="connsiteY72" fmla="*/ 461 h 10000"/>
                <a:gd name="connsiteX73" fmla="*/ 3234 w 10000"/>
                <a:gd name="connsiteY73" fmla="*/ 590 h 10000"/>
                <a:gd name="connsiteX74" fmla="*/ 3367 w 10000"/>
                <a:gd name="connsiteY74" fmla="*/ 720 h 10000"/>
                <a:gd name="connsiteX75" fmla="*/ 3490 w 10000"/>
                <a:gd name="connsiteY75" fmla="*/ 850 h 10000"/>
                <a:gd name="connsiteX76" fmla="*/ 3726 w 10000"/>
                <a:gd name="connsiteY76" fmla="*/ 1137 h 10000"/>
                <a:gd name="connsiteX77" fmla="*/ 3941 w 10000"/>
                <a:gd name="connsiteY77" fmla="*/ 1482 h 10000"/>
                <a:gd name="connsiteX78" fmla="*/ 4145 w 10000"/>
                <a:gd name="connsiteY78" fmla="*/ 1842 h 10000"/>
                <a:gd name="connsiteX79" fmla="*/ 4340 w 10000"/>
                <a:gd name="connsiteY79" fmla="*/ 2231 h 10000"/>
                <a:gd name="connsiteX80" fmla="*/ 4534 w 10000"/>
                <a:gd name="connsiteY80" fmla="*/ 2634 h 10000"/>
                <a:gd name="connsiteX81" fmla="*/ 4708 w 10000"/>
                <a:gd name="connsiteY81" fmla="*/ 3051 h 10000"/>
                <a:gd name="connsiteX82" fmla="*/ 4893 w 10000"/>
                <a:gd name="connsiteY82" fmla="*/ 3483 h 10000"/>
                <a:gd name="connsiteX83" fmla="*/ 5056 w 10000"/>
                <a:gd name="connsiteY83" fmla="*/ 3927 h 10000"/>
                <a:gd name="connsiteX84" fmla="*/ 5363 w 10000"/>
                <a:gd name="connsiteY84" fmla="*/ 4834 h 10000"/>
                <a:gd name="connsiteX85" fmla="*/ 5967 w 10000"/>
                <a:gd name="connsiteY85" fmla="*/ 6633 h 10000"/>
                <a:gd name="connsiteX86" fmla="*/ 6254 w 10000"/>
                <a:gd name="connsiteY86" fmla="*/ 7468 h 10000"/>
                <a:gd name="connsiteX87" fmla="*/ 6407 w 10000"/>
                <a:gd name="connsiteY87" fmla="*/ 7828 h 10000"/>
                <a:gd name="connsiteX88" fmla="*/ 6551 w 10000"/>
                <a:gd name="connsiteY88" fmla="*/ 8201 h 10000"/>
                <a:gd name="connsiteX89" fmla="*/ 6714 w 10000"/>
                <a:gd name="connsiteY89" fmla="*/ 8533 h 10000"/>
                <a:gd name="connsiteX90" fmla="*/ 6868 w 10000"/>
                <a:gd name="connsiteY90" fmla="*/ 8821 h 10000"/>
                <a:gd name="connsiteX91" fmla="*/ 7021 w 10000"/>
                <a:gd name="connsiteY91" fmla="*/ 9093 h 10000"/>
                <a:gd name="connsiteX92" fmla="*/ 7195 w 10000"/>
                <a:gd name="connsiteY92" fmla="*/ 9295 h 10000"/>
                <a:gd name="connsiteX93" fmla="*/ 7288 w 10000"/>
                <a:gd name="connsiteY93" fmla="*/ 9395 h 10000"/>
                <a:gd name="connsiteX94" fmla="*/ 7369 w 10000"/>
                <a:gd name="connsiteY94" fmla="*/ 9497 h 10000"/>
                <a:gd name="connsiteX95" fmla="*/ 7462 w 10000"/>
                <a:gd name="connsiteY95" fmla="*/ 9554 h 10000"/>
                <a:gd name="connsiteX96" fmla="*/ 7554 w 10000"/>
                <a:gd name="connsiteY96" fmla="*/ 9626 h 10000"/>
                <a:gd name="connsiteX97" fmla="*/ 7646 w 10000"/>
                <a:gd name="connsiteY97" fmla="*/ 9669 h 10000"/>
                <a:gd name="connsiteX98" fmla="*/ 7748 w 10000"/>
                <a:gd name="connsiteY98" fmla="*/ 9698 h 10000"/>
                <a:gd name="connsiteX99" fmla="*/ 7851 w 10000"/>
                <a:gd name="connsiteY99" fmla="*/ 9741 h 10000"/>
                <a:gd name="connsiteX100" fmla="*/ 7943 w 10000"/>
                <a:gd name="connsiteY100" fmla="*/ 9741 h 10000"/>
                <a:gd name="connsiteX0" fmla="*/ 7933 w 9990"/>
                <a:gd name="connsiteY0" fmla="*/ 9741 h 10000"/>
                <a:gd name="connsiteX1" fmla="*/ 7933 w 9990"/>
                <a:gd name="connsiteY1" fmla="*/ 9741 h 10000"/>
                <a:gd name="connsiteX2" fmla="*/ 8066 w 9990"/>
                <a:gd name="connsiteY2" fmla="*/ 9741 h 10000"/>
                <a:gd name="connsiteX3" fmla="*/ 8168 w 9990"/>
                <a:gd name="connsiteY3" fmla="*/ 9698 h 10000"/>
                <a:gd name="connsiteX4" fmla="*/ 8281 w 9990"/>
                <a:gd name="connsiteY4" fmla="*/ 9655 h 10000"/>
                <a:gd name="connsiteX5" fmla="*/ 8393 w 9990"/>
                <a:gd name="connsiteY5" fmla="*/ 9611 h 10000"/>
                <a:gd name="connsiteX6" fmla="*/ 8496 w 9990"/>
                <a:gd name="connsiteY6" fmla="*/ 9526 h 10000"/>
                <a:gd name="connsiteX7" fmla="*/ 8598 w 9990"/>
                <a:gd name="connsiteY7" fmla="*/ 9425 h 10000"/>
                <a:gd name="connsiteX8" fmla="*/ 8690 w 9990"/>
                <a:gd name="connsiteY8" fmla="*/ 9338 h 10000"/>
                <a:gd name="connsiteX9" fmla="*/ 8792 w 9990"/>
                <a:gd name="connsiteY9" fmla="*/ 9209 h 10000"/>
                <a:gd name="connsiteX10" fmla="*/ 8905 w 9990"/>
                <a:gd name="connsiteY10" fmla="*/ 9079 h 10000"/>
                <a:gd name="connsiteX11" fmla="*/ 8997 w 9990"/>
                <a:gd name="connsiteY11" fmla="*/ 8936 h 10000"/>
                <a:gd name="connsiteX12" fmla="*/ 9181 w 9990"/>
                <a:gd name="connsiteY12" fmla="*/ 8604 h 10000"/>
                <a:gd name="connsiteX13" fmla="*/ 9366 w 9990"/>
                <a:gd name="connsiteY13" fmla="*/ 8231 h 10000"/>
                <a:gd name="connsiteX14" fmla="*/ 9529 w 9990"/>
                <a:gd name="connsiteY14" fmla="*/ 7828 h 10000"/>
                <a:gd name="connsiteX15" fmla="*/ 9765 w 9990"/>
                <a:gd name="connsiteY15" fmla="*/ 8274 h 10000"/>
                <a:gd name="connsiteX16" fmla="*/ 9990 w 9990"/>
                <a:gd name="connsiteY16" fmla="*/ 8691 h 10000"/>
                <a:gd name="connsiteX17" fmla="*/ 9775 w 9990"/>
                <a:gd name="connsiteY17" fmla="*/ 8979 h 10000"/>
                <a:gd name="connsiteX18" fmla="*/ 9560 w 9990"/>
                <a:gd name="connsiteY18" fmla="*/ 9238 h 10000"/>
                <a:gd name="connsiteX19" fmla="*/ 9314 w 9990"/>
                <a:gd name="connsiteY19" fmla="*/ 9467 h 10000"/>
                <a:gd name="connsiteX20" fmla="*/ 9202 w 9990"/>
                <a:gd name="connsiteY20" fmla="*/ 9554 h 10000"/>
                <a:gd name="connsiteX21" fmla="*/ 9069 w 9990"/>
                <a:gd name="connsiteY21" fmla="*/ 9655 h 10000"/>
                <a:gd name="connsiteX22" fmla="*/ 8936 w 9990"/>
                <a:gd name="connsiteY22" fmla="*/ 9741 h 10000"/>
                <a:gd name="connsiteX23" fmla="*/ 8813 w 9990"/>
                <a:gd name="connsiteY23" fmla="*/ 9798 h 10000"/>
                <a:gd name="connsiteX24" fmla="*/ 8670 w 9990"/>
                <a:gd name="connsiteY24" fmla="*/ 9870 h 10000"/>
                <a:gd name="connsiteX25" fmla="*/ 8537 w 9990"/>
                <a:gd name="connsiteY25" fmla="*/ 9914 h 10000"/>
                <a:gd name="connsiteX26" fmla="*/ 8393 w 9990"/>
                <a:gd name="connsiteY26" fmla="*/ 9943 h 10000"/>
                <a:gd name="connsiteX27" fmla="*/ 8250 w 9990"/>
                <a:gd name="connsiteY27" fmla="*/ 9971 h 10000"/>
                <a:gd name="connsiteX28" fmla="*/ 8096 w 9990"/>
                <a:gd name="connsiteY28" fmla="*/ 10000 h 10000"/>
                <a:gd name="connsiteX29" fmla="*/ 7933 w 9990"/>
                <a:gd name="connsiteY29" fmla="*/ 10000 h 10000"/>
                <a:gd name="connsiteX30" fmla="*/ 7769 w 9990"/>
                <a:gd name="connsiteY30" fmla="*/ 10000 h 10000"/>
                <a:gd name="connsiteX31" fmla="*/ 7615 w 9990"/>
                <a:gd name="connsiteY31" fmla="*/ 9957 h 10000"/>
                <a:gd name="connsiteX32" fmla="*/ 7452 w 9990"/>
                <a:gd name="connsiteY32" fmla="*/ 9929 h 10000"/>
                <a:gd name="connsiteX33" fmla="*/ 7298 w 9990"/>
                <a:gd name="connsiteY33" fmla="*/ 9886 h 10000"/>
                <a:gd name="connsiteX34" fmla="*/ 7155 w 9990"/>
                <a:gd name="connsiteY34" fmla="*/ 9812 h 10000"/>
                <a:gd name="connsiteX35" fmla="*/ 7011 w 9990"/>
                <a:gd name="connsiteY35" fmla="*/ 9755 h 10000"/>
                <a:gd name="connsiteX36" fmla="*/ 6878 w 9990"/>
                <a:gd name="connsiteY36" fmla="*/ 9655 h 10000"/>
                <a:gd name="connsiteX37" fmla="*/ 6735 w 9990"/>
                <a:gd name="connsiteY37" fmla="*/ 9554 h 10000"/>
                <a:gd name="connsiteX38" fmla="*/ 6612 w 9990"/>
                <a:gd name="connsiteY38" fmla="*/ 9467 h 10000"/>
                <a:gd name="connsiteX39" fmla="*/ 6469 w 9990"/>
                <a:gd name="connsiteY39" fmla="*/ 9338 h 10000"/>
                <a:gd name="connsiteX40" fmla="*/ 6356 w 9990"/>
                <a:gd name="connsiteY40" fmla="*/ 9224 h 10000"/>
                <a:gd name="connsiteX41" fmla="*/ 6234 w 9990"/>
                <a:gd name="connsiteY41" fmla="*/ 9079 h 10000"/>
                <a:gd name="connsiteX42" fmla="*/ 5998 w 9990"/>
                <a:gd name="connsiteY42" fmla="*/ 8777 h 10000"/>
                <a:gd name="connsiteX43" fmla="*/ 5783 w 9990"/>
                <a:gd name="connsiteY43" fmla="*/ 8446 h 10000"/>
                <a:gd name="connsiteX44" fmla="*/ 5579 w 9990"/>
                <a:gd name="connsiteY44" fmla="*/ 8086 h 10000"/>
                <a:gd name="connsiteX45" fmla="*/ 5384 w 9990"/>
                <a:gd name="connsiteY45" fmla="*/ 7697 h 10000"/>
                <a:gd name="connsiteX46" fmla="*/ 5190 w 9990"/>
                <a:gd name="connsiteY46" fmla="*/ 7295 h 10000"/>
                <a:gd name="connsiteX47" fmla="*/ 5016 w 9990"/>
                <a:gd name="connsiteY47" fmla="*/ 6878 h 10000"/>
                <a:gd name="connsiteX48" fmla="*/ 4842 w 9990"/>
                <a:gd name="connsiteY48" fmla="*/ 6446 h 10000"/>
                <a:gd name="connsiteX49" fmla="*/ 4678 w 9990"/>
                <a:gd name="connsiteY49" fmla="*/ 6000 h 10000"/>
                <a:gd name="connsiteX50" fmla="*/ 4361 w 9990"/>
                <a:gd name="connsiteY50" fmla="*/ 5094 h 10000"/>
                <a:gd name="connsiteX51" fmla="*/ 3767 w 9990"/>
                <a:gd name="connsiteY51" fmla="*/ 3310 h 10000"/>
                <a:gd name="connsiteX52" fmla="*/ 3634 w 9990"/>
                <a:gd name="connsiteY52" fmla="*/ 2863 h 10000"/>
                <a:gd name="connsiteX53" fmla="*/ 3480 w 9990"/>
                <a:gd name="connsiteY53" fmla="*/ 2460 h 10000"/>
                <a:gd name="connsiteX54" fmla="*/ 3337 w 9990"/>
                <a:gd name="connsiteY54" fmla="*/ 2101 h 10000"/>
                <a:gd name="connsiteX55" fmla="*/ 3183 w 9990"/>
                <a:gd name="connsiteY55" fmla="*/ 1727 h 10000"/>
                <a:gd name="connsiteX56" fmla="*/ 3030 w 9990"/>
                <a:gd name="connsiteY56" fmla="*/ 1396 h 10000"/>
                <a:gd name="connsiteX57" fmla="*/ 2876 w 9990"/>
                <a:gd name="connsiteY57" fmla="*/ 1108 h 10000"/>
                <a:gd name="connsiteX58" fmla="*/ 2713 w 9990"/>
                <a:gd name="connsiteY58" fmla="*/ 836 h 10000"/>
                <a:gd name="connsiteX59" fmla="*/ 2549 w 9990"/>
                <a:gd name="connsiteY59" fmla="*/ 634 h 10000"/>
                <a:gd name="connsiteX60" fmla="*/ 2457 w 9990"/>
                <a:gd name="connsiteY60" fmla="*/ 533 h 10000"/>
                <a:gd name="connsiteX61" fmla="*/ 2365 w 9990"/>
                <a:gd name="connsiteY61" fmla="*/ 432 h 10000"/>
                <a:gd name="connsiteX62" fmla="*/ 2272 w 9990"/>
                <a:gd name="connsiteY62" fmla="*/ 375 h 10000"/>
                <a:gd name="connsiteX63" fmla="*/ 2180 w 9990"/>
                <a:gd name="connsiteY63" fmla="*/ 302 h 10000"/>
                <a:gd name="connsiteX64" fmla="*/ 0 w 9990"/>
                <a:gd name="connsiteY64" fmla="*/ 907 h 10000"/>
                <a:gd name="connsiteX65" fmla="*/ 2262 w 9990"/>
                <a:gd name="connsiteY65" fmla="*/ 0 h 10000"/>
                <a:gd name="connsiteX66" fmla="*/ 2416 w 9990"/>
                <a:gd name="connsiteY66" fmla="*/ 43 h 10000"/>
                <a:gd name="connsiteX67" fmla="*/ 2559 w 9990"/>
                <a:gd name="connsiteY67" fmla="*/ 115 h 10000"/>
                <a:gd name="connsiteX68" fmla="*/ 2702 w 9990"/>
                <a:gd name="connsiteY68" fmla="*/ 188 h 10000"/>
                <a:gd name="connsiteX69" fmla="*/ 2835 w 9990"/>
                <a:gd name="connsiteY69" fmla="*/ 274 h 10000"/>
                <a:gd name="connsiteX70" fmla="*/ 2979 w 9990"/>
                <a:gd name="connsiteY70" fmla="*/ 375 h 10000"/>
                <a:gd name="connsiteX71" fmla="*/ 3102 w 9990"/>
                <a:gd name="connsiteY71" fmla="*/ 461 h 10000"/>
                <a:gd name="connsiteX72" fmla="*/ 3224 w 9990"/>
                <a:gd name="connsiteY72" fmla="*/ 590 h 10000"/>
                <a:gd name="connsiteX73" fmla="*/ 3357 w 9990"/>
                <a:gd name="connsiteY73" fmla="*/ 720 h 10000"/>
                <a:gd name="connsiteX74" fmla="*/ 3480 w 9990"/>
                <a:gd name="connsiteY74" fmla="*/ 850 h 10000"/>
                <a:gd name="connsiteX75" fmla="*/ 3716 w 9990"/>
                <a:gd name="connsiteY75" fmla="*/ 1137 h 10000"/>
                <a:gd name="connsiteX76" fmla="*/ 3931 w 9990"/>
                <a:gd name="connsiteY76" fmla="*/ 1482 h 10000"/>
                <a:gd name="connsiteX77" fmla="*/ 4135 w 9990"/>
                <a:gd name="connsiteY77" fmla="*/ 1842 h 10000"/>
                <a:gd name="connsiteX78" fmla="*/ 4330 w 9990"/>
                <a:gd name="connsiteY78" fmla="*/ 2231 h 10000"/>
                <a:gd name="connsiteX79" fmla="*/ 4524 w 9990"/>
                <a:gd name="connsiteY79" fmla="*/ 2634 h 10000"/>
                <a:gd name="connsiteX80" fmla="*/ 4698 w 9990"/>
                <a:gd name="connsiteY80" fmla="*/ 3051 h 10000"/>
                <a:gd name="connsiteX81" fmla="*/ 4883 w 9990"/>
                <a:gd name="connsiteY81" fmla="*/ 3483 h 10000"/>
                <a:gd name="connsiteX82" fmla="*/ 5046 w 9990"/>
                <a:gd name="connsiteY82" fmla="*/ 3927 h 10000"/>
                <a:gd name="connsiteX83" fmla="*/ 5353 w 9990"/>
                <a:gd name="connsiteY83" fmla="*/ 4834 h 10000"/>
                <a:gd name="connsiteX84" fmla="*/ 5957 w 9990"/>
                <a:gd name="connsiteY84" fmla="*/ 6633 h 10000"/>
                <a:gd name="connsiteX85" fmla="*/ 6244 w 9990"/>
                <a:gd name="connsiteY85" fmla="*/ 7468 h 10000"/>
                <a:gd name="connsiteX86" fmla="*/ 6397 w 9990"/>
                <a:gd name="connsiteY86" fmla="*/ 7828 h 10000"/>
                <a:gd name="connsiteX87" fmla="*/ 6541 w 9990"/>
                <a:gd name="connsiteY87" fmla="*/ 8201 h 10000"/>
                <a:gd name="connsiteX88" fmla="*/ 6704 w 9990"/>
                <a:gd name="connsiteY88" fmla="*/ 8533 h 10000"/>
                <a:gd name="connsiteX89" fmla="*/ 6858 w 9990"/>
                <a:gd name="connsiteY89" fmla="*/ 8821 h 10000"/>
                <a:gd name="connsiteX90" fmla="*/ 7011 w 9990"/>
                <a:gd name="connsiteY90" fmla="*/ 9093 h 10000"/>
                <a:gd name="connsiteX91" fmla="*/ 7185 w 9990"/>
                <a:gd name="connsiteY91" fmla="*/ 9295 h 10000"/>
                <a:gd name="connsiteX92" fmla="*/ 7278 w 9990"/>
                <a:gd name="connsiteY92" fmla="*/ 9395 h 10000"/>
                <a:gd name="connsiteX93" fmla="*/ 7359 w 9990"/>
                <a:gd name="connsiteY93" fmla="*/ 9497 h 10000"/>
                <a:gd name="connsiteX94" fmla="*/ 7452 w 9990"/>
                <a:gd name="connsiteY94" fmla="*/ 9554 h 10000"/>
                <a:gd name="connsiteX95" fmla="*/ 7544 w 9990"/>
                <a:gd name="connsiteY95" fmla="*/ 9626 h 10000"/>
                <a:gd name="connsiteX96" fmla="*/ 7636 w 9990"/>
                <a:gd name="connsiteY96" fmla="*/ 9669 h 10000"/>
                <a:gd name="connsiteX97" fmla="*/ 7738 w 9990"/>
                <a:gd name="connsiteY97" fmla="*/ 9698 h 10000"/>
                <a:gd name="connsiteX98" fmla="*/ 7841 w 9990"/>
                <a:gd name="connsiteY98" fmla="*/ 9741 h 10000"/>
                <a:gd name="connsiteX99" fmla="*/ 7933 w 9990"/>
                <a:gd name="connsiteY99" fmla="*/ 9741 h 10000"/>
                <a:gd name="connsiteX0" fmla="*/ 5759 w 7818"/>
                <a:gd name="connsiteY0" fmla="*/ 9741 h 10000"/>
                <a:gd name="connsiteX1" fmla="*/ 5759 w 7818"/>
                <a:gd name="connsiteY1" fmla="*/ 9741 h 10000"/>
                <a:gd name="connsiteX2" fmla="*/ 5892 w 7818"/>
                <a:gd name="connsiteY2" fmla="*/ 9741 h 10000"/>
                <a:gd name="connsiteX3" fmla="*/ 5994 w 7818"/>
                <a:gd name="connsiteY3" fmla="*/ 9698 h 10000"/>
                <a:gd name="connsiteX4" fmla="*/ 6107 w 7818"/>
                <a:gd name="connsiteY4" fmla="*/ 9655 h 10000"/>
                <a:gd name="connsiteX5" fmla="*/ 6219 w 7818"/>
                <a:gd name="connsiteY5" fmla="*/ 9611 h 10000"/>
                <a:gd name="connsiteX6" fmla="*/ 6323 w 7818"/>
                <a:gd name="connsiteY6" fmla="*/ 9526 h 10000"/>
                <a:gd name="connsiteX7" fmla="*/ 6425 w 7818"/>
                <a:gd name="connsiteY7" fmla="*/ 9425 h 10000"/>
                <a:gd name="connsiteX8" fmla="*/ 6517 w 7818"/>
                <a:gd name="connsiteY8" fmla="*/ 9338 h 10000"/>
                <a:gd name="connsiteX9" fmla="*/ 6619 w 7818"/>
                <a:gd name="connsiteY9" fmla="*/ 9209 h 10000"/>
                <a:gd name="connsiteX10" fmla="*/ 6732 w 7818"/>
                <a:gd name="connsiteY10" fmla="*/ 9079 h 10000"/>
                <a:gd name="connsiteX11" fmla="*/ 6824 w 7818"/>
                <a:gd name="connsiteY11" fmla="*/ 8936 h 10000"/>
                <a:gd name="connsiteX12" fmla="*/ 7008 w 7818"/>
                <a:gd name="connsiteY12" fmla="*/ 8604 h 10000"/>
                <a:gd name="connsiteX13" fmla="*/ 7193 w 7818"/>
                <a:gd name="connsiteY13" fmla="*/ 8231 h 10000"/>
                <a:gd name="connsiteX14" fmla="*/ 7357 w 7818"/>
                <a:gd name="connsiteY14" fmla="*/ 7828 h 10000"/>
                <a:gd name="connsiteX15" fmla="*/ 7593 w 7818"/>
                <a:gd name="connsiteY15" fmla="*/ 8274 h 10000"/>
                <a:gd name="connsiteX16" fmla="*/ 7818 w 7818"/>
                <a:gd name="connsiteY16" fmla="*/ 8691 h 10000"/>
                <a:gd name="connsiteX17" fmla="*/ 7603 w 7818"/>
                <a:gd name="connsiteY17" fmla="*/ 8979 h 10000"/>
                <a:gd name="connsiteX18" fmla="*/ 7388 w 7818"/>
                <a:gd name="connsiteY18" fmla="*/ 9238 h 10000"/>
                <a:gd name="connsiteX19" fmla="*/ 7141 w 7818"/>
                <a:gd name="connsiteY19" fmla="*/ 9467 h 10000"/>
                <a:gd name="connsiteX20" fmla="*/ 7029 w 7818"/>
                <a:gd name="connsiteY20" fmla="*/ 9554 h 10000"/>
                <a:gd name="connsiteX21" fmla="*/ 6896 w 7818"/>
                <a:gd name="connsiteY21" fmla="*/ 9655 h 10000"/>
                <a:gd name="connsiteX22" fmla="*/ 6763 w 7818"/>
                <a:gd name="connsiteY22" fmla="*/ 9741 h 10000"/>
                <a:gd name="connsiteX23" fmla="*/ 6640 w 7818"/>
                <a:gd name="connsiteY23" fmla="*/ 9798 h 10000"/>
                <a:gd name="connsiteX24" fmla="*/ 6497 w 7818"/>
                <a:gd name="connsiteY24" fmla="*/ 9870 h 10000"/>
                <a:gd name="connsiteX25" fmla="*/ 6364 w 7818"/>
                <a:gd name="connsiteY25" fmla="*/ 9914 h 10000"/>
                <a:gd name="connsiteX26" fmla="*/ 6219 w 7818"/>
                <a:gd name="connsiteY26" fmla="*/ 9943 h 10000"/>
                <a:gd name="connsiteX27" fmla="*/ 6076 w 7818"/>
                <a:gd name="connsiteY27" fmla="*/ 9971 h 10000"/>
                <a:gd name="connsiteX28" fmla="*/ 5922 w 7818"/>
                <a:gd name="connsiteY28" fmla="*/ 10000 h 10000"/>
                <a:gd name="connsiteX29" fmla="*/ 5759 w 7818"/>
                <a:gd name="connsiteY29" fmla="*/ 10000 h 10000"/>
                <a:gd name="connsiteX30" fmla="*/ 5595 w 7818"/>
                <a:gd name="connsiteY30" fmla="*/ 10000 h 10000"/>
                <a:gd name="connsiteX31" fmla="*/ 5441 w 7818"/>
                <a:gd name="connsiteY31" fmla="*/ 9957 h 10000"/>
                <a:gd name="connsiteX32" fmla="*/ 5277 w 7818"/>
                <a:gd name="connsiteY32" fmla="*/ 9929 h 10000"/>
                <a:gd name="connsiteX33" fmla="*/ 5123 w 7818"/>
                <a:gd name="connsiteY33" fmla="*/ 9886 h 10000"/>
                <a:gd name="connsiteX34" fmla="*/ 4980 w 7818"/>
                <a:gd name="connsiteY34" fmla="*/ 9812 h 10000"/>
                <a:gd name="connsiteX35" fmla="*/ 4836 w 7818"/>
                <a:gd name="connsiteY35" fmla="*/ 9755 h 10000"/>
                <a:gd name="connsiteX36" fmla="*/ 4703 w 7818"/>
                <a:gd name="connsiteY36" fmla="*/ 9655 h 10000"/>
                <a:gd name="connsiteX37" fmla="*/ 4560 w 7818"/>
                <a:gd name="connsiteY37" fmla="*/ 9554 h 10000"/>
                <a:gd name="connsiteX38" fmla="*/ 4437 w 7818"/>
                <a:gd name="connsiteY38" fmla="*/ 9467 h 10000"/>
                <a:gd name="connsiteX39" fmla="*/ 4293 w 7818"/>
                <a:gd name="connsiteY39" fmla="*/ 9338 h 10000"/>
                <a:gd name="connsiteX40" fmla="*/ 4180 w 7818"/>
                <a:gd name="connsiteY40" fmla="*/ 9224 h 10000"/>
                <a:gd name="connsiteX41" fmla="*/ 4058 w 7818"/>
                <a:gd name="connsiteY41" fmla="*/ 9079 h 10000"/>
                <a:gd name="connsiteX42" fmla="*/ 3822 w 7818"/>
                <a:gd name="connsiteY42" fmla="*/ 8777 h 10000"/>
                <a:gd name="connsiteX43" fmla="*/ 3607 w 7818"/>
                <a:gd name="connsiteY43" fmla="*/ 8446 h 10000"/>
                <a:gd name="connsiteX44" fmla="*/ 3403 w 7818"/>
                <a:gd name="connsiteY44" fmla="*/ 8086 h 10000"/>
                <a:gd name="connsiteX45" fmla="*/ 3207 w 7818"/>
                <a:gd name="connsiteY45" fmla="*/ 7697 h 10000"/>
                <a:gd name="connsiteX46" fmla="*/ 3013 w 7818"/>
                <a:gd name="connsiteY46" fmla="*/ 7295 h 10000"/>
                <a:gd name="connsiteX47" fmla="*/ 2839 w 7818"/>
                <a:gd name="connsiteY47" fmla="*/ 6878 h 10000"/>
                <a:gd name="connsiteX48" fmla="*/ 2665 w 7818"/>
                <a:gd name="connsiteY48" fmla="*/ 6446 h 10000"/>
                <a:gd name="connsiteX49" fmla="*/ 2501 w 7818"/>
                <a:gd name="connsiteY49" fmla="*/ 6000 h 10000"/>
                <a:gd name="connsiteX50" fmla="*/ 2183 w 7818"/>
                <a:gd name="connsiteY50" fmla="*/ 5094 h 10000"/>
                <a:gd name="connsiteX51" fmla="*/ 1589 w 7818"/>
                <a:gd name="connsiteY51" fmla="*/ 3310 h 10000"/>
                <a:gd name="connsiteX52" fmla="*/ 1456 w 7818"/>
                <a:gd name="connsiteY52" fmla="*/ 2863 h 10000"/>
                <a:gd name="connsiteX53" fmla="*/ 1301 w 7818"/>
                <a:gd name="connsiteY53" fmla="*/ 2460 h 10000"/>
                <a:gd name="connsiteX54" fmla="*/ 1158 w 7818"/>
                <a:gd name="connsiteY54" fmla="*/ 2101 h 10000"/>
                <a:gd name="connsiteX55" fmla="*/ 1004 w 7818"/>
                <a:gd name="connsiteY55" fmla="*/ 1727 h 10000"/>
                <a:gd name="connsiteX56" fmla="*/ 851 w 7818"/>
                <a:gd name="connsiteY56" fmla="*/ 1396 h 10000"/>
                <a:gd name="connsiteX57" fmla="*/ 697 w 7818"/>
                <a:gd name="connsiteY57" fmla="*/ 1108 h 10000"/>
                <a:gd name="connsiteX58" fmla="*/ 534 w 7818"/>
                <a:gd name="connsiteY58" fmla="*/ 836 h 10000"/>
                <a:gd name="connsiteX59" fmla="*/ 370 w 7818"/>
                <a:gd name="connsiteY59" fmla="*/ 634 h 10000"/>
                <a:gd name="connsiteX60" fmla="*/ 277 w 7818"/>
                <a:gd name="connsiteY60" fmla="*/ 533 h 10000"/>
                <a:gd name="connsiteX61" fmla="*/ 185 w 7818"/>
                <a:gd name="connsiteY61" fmla="*/ 432 h 10000"/>
                <a:gd name="connsiteX62" fmla="*/ 92 w 7818"/>
                <a:gd name="connsiteY62" fmla="*/ 375 h 10000"/>
                <a:gd name="connsiteX63" fmla="*/ 0 w 7818"/>
                <a:gd name="connsiteY63" fmla="*/ 302 h 10000"/>
                <a:gd name="connsiteX64" fmla="*/ 82 w 7818"/>
                <a:gd name="connsiteY64" fmla="*/ 0 h 10000"/>
                <a:gd name="connsiteX65" fmla="*/ 236 w 7818"/>
                <a:gd name="connsiteY65" fmla="*/ 43 h 10000"/>
                <a:gd name="connsiteX66" fmla="*/ 380 w 7818"/>
                <a:gd name="connsiteY66" fmla="*/ 115 h 10000"/>
                <a:gd name="connsiteX67" fmla="*/ 523 w 7818"/>
                <a:gd name="connsiteY67" fmla="*/ 188 h 10000"/>
                <a:gd name="connsiteX68" fmla="*/ 656 w 7818"/>
                <a:gd name="connsiteY68" fmla="*/ 274 h 10000"/>
                <a:gd name="connsiteX69" fmla="*/ 800 w 7818"/>
                <a:gd name="connsiteY69" fmla="*/ 375 h 10000"/>
                <a:gd name="connsiteX70" fmla="*/ 923 w 7818"/>
                <a:gd name="connsiteY70" fmla="*/ 461 h 10000"/>
                <a:gd name="connsiteX71" fmla="*/ 1045 w 7818"/>
                <a:gd name="connsiteY71" fmla="*/ 590 h 10000"/>
                <a:gd name="connsiteX72" fmla="*/ 1178 w 7818"/>
                <a:gd name="connsiteY72" fmla="*/ 720 h 10000"/>
                <a:gd name="connsiteX73" fmla="*/ 1301 w 7818"/>
                <a:gd name="connsiteY73" fmla="*/ 850 h 10000"/>
                <a:gd name="connsiteX74" fmla="*/ 1538 w 7818"/>
                <a:gd name="connsiteY74" fmla="*/ 1137 h 10000"/>
                <a:gd name="connsiteX75" fmla="*/ 1753 w 7818"/>
                <a:gd name="connsiteY75" fmla="*/ 1482 h 10000"/>
                <a:gd name="connsiteX76" fmla="*/ 1957 w 7818"/>
                <a:gd name="connsiteY76" fmla="*/ 1842 h 10000"/>
                <a:gd name="connsiteX77" fmla="*/ 2152 w 7818"/>
                <a:gd name="connsiteY77" fmla="*/ 2231 h 10000"/>
                <a:gd name="connsiteX78" fmla="*/ 2347 w 7818"/>
                <a:gd name="connsiteY78" fmla="*/ 2634 h 10000"/>
                <a:gd name="connsiteX79" fmla="*/ 2521 w 7818"/>
                <a:gd name="connsiteY79" fmla="*/ 3051 h 10000"/>
                <a:gd name="connsiteX80" fmla="*/ 2706 w 7818"/>
                <a:gd name="connsiteY80" fmla="*/ 3483 h 10000"/>
                <a:gd name="connsiteX81" fmla="*/ 2869 w 7818"/>
                <a:gd name="connsiteY81" fmla="*/ 3927 h 10000"/>
                <a:gd name="connsiteX82" fmla="*/ 3176 w 7818"/>
                <a:gd name="connsiteY82" fmla="*/ 4834 h 10000"/>
                <a:gd name="connsiteX83" fmla="*/ 3781 w 7818"/>
                <a:gd name="connsiteY83" fmla="*/ 6633 h 10000"/>
                <a:gd name="connsiteX84" fmla="*/ 4068 w 7818"/>
                <a:gd name="connsiteY84" fmla="*/ 7468 h 10000"/>
                <a:gd name="connsiteX85" fmla="*/ 4221 w 7818"/>
                <a:gd name="connsiteY85" fmla="*/ 7828 h 10000"/>
                <a:gd name="connsiteX86" fmla="*/ 4366 w 7818"/>
                <a:gd name="connsiteY86" fmla="*/ 8201 h 10000"/>
                <a:gd name="connsiteX87" fmla="*/ 4529 w 7818"/>
                <a:gd name="connsiteY87" fmla="*/ 8533 h 10000"/>
                <a:gd name="connsiteX88" fmla="*/ 4683 w 7818"/>
                <a:gd name="connsiteY88" fmla="*/ 8821 h 10000"/>
                <a:gd name="connsiteX89" fmla="*/ 4836 w 7818"/>
                <a:gd name="connsiteY89" fmla="*/ 9093 h 10000"/>
                <a:gd name="connsiteX90" fmla="*/ 5010 w 7818"/>
                <a:gd name="connsiteY90" fmla="*/ 9295 h 10000"/>
                <a:gd name="connsiteX91" fmla="*/ 5103 w 7818"/>
                <a:gd name="connsiteY91" fmla="*/ 9395 h 10000"/>
                <a:gd name="connsiteX92" fmla="*/ 5184 w 7818"/>
                <a:gd name="connsiteY92" fmla="*/ 9497 h 10000"/>
                <a:gd name="connsiteX93" fmla="*/ 5277 w 7818"/>
                <a:gd name="connsiteY93" fmla="*/ 9554 h 10000"/>
                <a:gd name="connsiteX94" fmla="*/ 5370 w 7818"/>
                <a:gd name="connsiteY94" fmla="*/ 9626 h 10000"/>
                <a:gd name="connsiteX95" fmla="*/ 5462 w 7818"/>
                <a:gd name="connsiteY95" fmla="*/ 9669 h 10000"/>
                <a:gd name="connsiteX96" fmla="*/ 5564 w 7818"/>
                <a:gd name="connsiteY96" fmla="*/ 9698 h 10000"/>
                <a:gd name="connsiteX97" fmla="*/ 5667 w 7818"/>
                <a:gd name="connsiteY97" fmla="*/ 9741 h 10000"/>
                <a:gd name="connsiteX98" fmla="*/ 5759 w 7818"/>
                <a:gd name="connsiteY98" fmla="*/ 9741 h 10000"/>
                <a:gd name="connsiteX0" fmla="*/ 7919 w 10553"/>
                <a:gd name="connsiteY0" fmla="*/ 9741 h 10000"/>
                <a:gd name="connsiteX1" fmla="*/ 7919 w 10553"/>
                <a:gd name="connsiteY1" fmla="*/ 9741 h 10000"/>
                <a:gd name="connsiteX2" fmla="*/ 8089 w 10553"/>
                <a:gd name="connsiteY2" fmla="*/ 9741 h 10000"/>
                <a:gd name="connsiteX3" fmla="*/ 8220 w 10553"/>
                <a:gd name="connsiteY3" fmla="*/ 9698 h 10000"/>
                <a:gd name="connsiteX4" fmla="*/ 8364 w 10553"/>
                <a:gd name="connsiteY4" fmla="*/ 9655 h 10000"/>
                <a:gd name="connsiteX5" fmla="*/ 8508 w 10553"/>
                <a:gd name="connsiteY5" fmla="*/ 9611 h 10000"/>
                <a:gd name="connsiteX6" fmla="*/ 8641 w 10553"/>
                <a:gd name="connsiteY6" fmla="*/ 9526 h 10000"/>
                <a:gd name="connsiteX7" fmla="*/ 8771 w 10553"/>
                <a:gd name="connsiteY7" fmla="*/ 9425 h 10000"/>
                <a:gd name="connsiteX8" fmla="*/ 8889 w 10553"/>
                <a:gd name="connsiteY8" fmla="*/ 9338 h 10000"/>
                <a:gd name="connsiteX9" fmla="*/ 9019 w 10553"/>
                <a:gd name="connsiteY9" fmla="*/ 9209 h 10000"/>
                <a:gd name="connsiteX10" fmla="*/ 9164 w 10553"/>
                <a:gd name="connsiteY10" fmla="*/ 9079 h 10000"/>
                <a:gd name="connsiteX11" fmla="*/ 9282 w 10553"/>
                <a:gd name="connsiteY11" fmla="*/ 8936 h 10000"/>
                <a:gd name="connsiteX12" fmla="*/ 9517 w 10553"/>
                <a:gd name="connsiteY12" fmla="*/ 8604 h 10000"/>
                <a:gd name="connsiteX13" fmla="*/ 9754 w 10553"/>
                <a:gd name="connsiteY13" fmla="*/ 8231 h 10000"/>
                <a:gd name="connsiteX14" fmla="*/ 9963 w 10553"/>
                <a:gd name="connsiteY14" fmla="*/ 7828 h 10000"/>
                <a:gd name="connsiteX15" fmla="*/ 10265 w 10553"/>
                <a:gd name="connsiteY15" fmla="*/ 8274 h 10000"/>
                <a:gd name="connsiteX16" fmla="*/ 10553 w 10553"/>
                <a:gd name="connsiteY16" fmla="*/ 8691 h 10000"/>
                <a:gd name="connsiteX17" fmla="*/ 10278 w 10553"/>
                <a:gd name="connsiteY17" fmla="*/ 8979 h 10000"/>
                <a:gd name="connsiteX18" fmla="*/ 10003 w 10553"/>
                <a:gd name="connsiteY18" fmla="*/ 9238 h 10000"/>
                <a:gd name="connsiteX19" fmla="*/ 9687 w 10553"/>
                <a:gd name="connsiteY19" fmla="*/ 9467 h 10000"/>
                <a:gd name="connsiteX20" fmla="*/ 9544 w 10553"/>
                <a:gd name="connsiteY20" fmla="*/ 9554 h 10000"/>
                <a:gd name="connsiteX21" fmla="*/ 9374 w 10553"/>
                <a:gd name="connsiteY21" fmla="*/ 9655 h 10000"/>
                <a:gd name="connsiteX22" fmla="*/ 9204 w 10553"/>
                <a:gd name="connsiteY22" fmla="*/ 9741 h 10000"/>
                <a:gd name="connsiteX23" fmla="*/ 9046 w 10553"/>
                <a:gd name="connsiteY23" fmla="*/ 9798 h 10000"/>
                <a:gd name="connsiteX24" fmla="*/ 8863 w 10553"/>
                <a:gd name="connsiteY24" fmla="*/ 9870 h 10000"/>
                <a:gd name="connsiteX25" fmla="*/ 8693 w 10553"/>
                <a:gd name="connsiteY25" fmla="*/ 9914 h 10000"/>
                <a:gd name="connsiteX26" fmla="*/ 8508 w 10553"/>
                <a:gd name="connsiteY26" fmla="*/ 9943 h 10000"/>
                <a:gd name="connsiteX27" fmla="*/ 8325 w 10553"/>
                <a:gd name="connsiteY27" fmla="*/ 9971 h 10000"/>
                <a:gd name="connsiteX28" fmla="*/ 8128 w 10553"/>
                <a:gd name="connsiteY28" fmla="*/ 10000 h 10000"/>
                <a:gd name="connsiteX29" fmla="*/ 7919 w 10553"/>
                <a:gd name="connsiteY29" fmla="*/ 10000 h 10000"/>
                <a:gd name="connsiteX30" fmla="*/ 7710 w 10553"/>
                <a:gd name="connsiteY30" fmla="*/ 10000 h 10000"/>
                <a:gd name="connsiteX31" fmla="*/ 7513 w 10553"/>
                <a:gd name="connsiteY31" fmla="*/ 9957 h 10000"/>
                <a:gd name="connsiteX32" fmla="*/ 7303 w 10553"/>
                <a:gd name="connsiteY32" fmla="*/ 9929 h 10000"/>
                <a:gd name="connsiteX33" fmla="*/ 7106 w 10553"/>
                <a:gd name="connsiteY33" fmla="*/ 9886 h 10000"/>
                <a:gd name="connsiteX34" fmla="*/ 6923 w 10553"/>
                <a:gd name="connsiteY34" fmla="*/ 9812 h 10000"/>
                <a:gd name="connsiteX35" fmla="*/ 6739 w 10553"/>
                <a:gd name="connsiteY35" fmla="*/ 9755 h 10000"/>
                <a:gd name="connsiteX36" fmla="*/ 6569 w 10553"/>
                <a:gd name="connsiteY36" fmla="*/ 9655 h 10000"/>
                <a:gd name="connsiteX37" fmla="*/ 6386 w 10553"/>
                <a:gd name="connsiteY37" fmla="*/ 9554 h 10000"/>
                <a:gd name="connsiteX38" fmla="*/ 6228 w 10553"/>
                <a:gd name="connsiteY38" fmla="*/ 9467 h 10000"/>
                <a:gd name="connsiteX39" fmla="*/ 6044 w 10553"/>
                <a:gd name="connsiteY39" fmla="*/ 9338 h 10000"/>
                <a:gd name="connsiteX40" fmla="*/ 5900 w 10553"/>
                <a:gd name="connsiteY40" fmla="*/ 9224 h 10000"/>
                <a:gd name="connsiteX41" fmla="*/ 5744 w 10553"/>
                <a:gd name="connsiteY41" fmla="*/ 9079 h 10000"/>
                <a:gd name="connsiteX42" fmla="*/ 5442 w 10553"/>
                <a:gd name="connsiteY42" fmla="*/ 8777 h 10000"/>
                <a:gd name="connsiteX43" fmla="*/ 5167 w 10553"/>
                <a:gd name="connsiteY43" fmla="*/ 8446 h 10000"/>
                <a:gd name="connsiteX44" fmla="*/ 4906 w 10553"/>
                <a:gd name="connsiteY44" fmla="*/ 8086 h 10000"/>
                <a:gd name="connsiteX45" fmla="*/ 4655 w 10553"/>
                <a:gd name="connsiteY45" fmla="*/ 7697 h 10000"/>
                <a:gd name="connsiteX46" fmla="*/ 4407 w 10553"/>
                <a:gd name="connsiteY46" fmla="*/ 7295 h 10000"/>
                <a:gd name="connsiteX47" fmla="*/ 4184 w 10553"/>
                <a:gd name="connsiteY47" fmla="*/ 6878 h 10000"/>
                <a:gd name="connsiteX48" fmla="*/ 3962 w 10553"/>
                <a:gd name="connsiteY48" fmla="*/ 6446 h 10000"/>
                <a:gd name="connsiteX49" fmla="*/ 3752 w 10553"/>
                <a:gd name="connsiteY49" fmla="*/ 6000 h 10000"/>
                <a:gd name="connsiteX50" fmla="*/ 3345 w 10553"/>
                <a:gd name="connsiteY50" fmla="*/ 5094 h 10000"/>
                <a:gd name="connsiteX51" fmla="*/ 2585 w 10553"/>
                <a:gd name="connsiteY51" fmla="*/ 3310 h 10000"/>
                <a:gd name="connsiteX52" fmla="*/ 2415 w 10553"/>
                <a:gd name="connsiteY52" fmla="*/ 2863 h 10000"/>
                <a:gd name="connsiteX53" fmla="*/ 2217 w 10553"/>
                <a:gd name="connsiteY53" fmla="*/ 2460 h 10000"/>
                <a:gd name="connsiteX54" fmla="*/ 2034 w 10553"/>
                <a:gd name="connsiteY54" fmla="*/ 2101 h 10000"/>
                <a:gd name="connsiteX55" fmla="*/ 1837 w 10553"/>
                <a:gd name="connsiteY55" fmla="*/ 1727 h 10000"/>
                <a:gd name="connsiteX56" fmla="*/ 1642 w 10553"/>
                <a:gd name="connsiteY56" fmla="*/ 1396 h 10000"/>
                <a:gd name="connsiteX57" fmla="*/ 1445 w 10553"/>
                <a:gd name="connsiteY57" fmla="*/ 1108 h 10000"/>
                <a:gd name="connsiteX58" fmla="*/ 1236 w 10553"/>
                <a:gd name="connsiteY58" fmla="*/ 836 h 10000"/>
                <a:gd name="connsiteX59" fmla="*/ 1026 w 10553"/>
                <a:gd name="connsiteY59" fmla="*/ 634 h 10000"/>
                <a:gd name="connsiteX60" fmla="*/ 907 w 10553"/>
                <a:gd name="connsiteY60" fmla="*/ 533 h 10000"/>
                <a:gd name="connsiteX61" fmla="*/ 790 w 10553"/>
                <a:gd name="connsiteY61" fmla="*/ 432 h 10000"/>
                <a:gd name="connsiteX62" fmla="*/ 671 w 10553"/>
                <a:gd name="connsiteY62" fmla="*/ 375 h 10000"/>
                <a:gd name="connsiteX63" fmla="*/ 0 w 10553"/>
                <a:gd name="connsiteY63" fmla="*/ 841 h 10000"/>
                <a:gd name="connsiteX64" fmla="*/ 658 w 10553"/>
                <a:gd name="connsiteY64" fmla="*/ 0 h 10000"/>
                <a:gd name="connsiteX65" fmla="*/ 855 w 10553"/>
                <a:gd name="connsiteY65" fmla="*/ 43 h 10000"/>
                <a:gd name="connsiteX66" fmla="*/ 1039 w 10553"/>
                <a:gd name="connsiteY66" fmla="*/ 115 h 10000"/>
                <a:gd name="connsiteX67" fmla="*/ 1222 w 10553"/>
                <a:gd name="connsiteY67" fmla="*/ 188 h 10000"/>
                <a:gd name="connsiteX68" fmla="*/ 1392 w 10553"/>
                <a:gd name="connsiteY68" fmla="*/ 274 h 10000"/>
                <a:gd name="connsiteX69" fmla="*/ 1576 w 10553"/>
                <a:gd name="connsiteY69" fmla="*/ 375 h 10000"/>
                <a:gd name="connsiteX70" fmla="*/ 1734 w 10553"/>
                <a:gd name="connsiteY70" fmla="*/ 461 h 10000"/>
                <a:gd name="connsiteX71" fmla="*/ 1890 w 10553"/>
                <a:gd name="connsiteY71" fmla="*/ 590 h 10000"/>
                <a:gd name="connsiteX72" fmla="*/ 2060 w 10553"/>
                <a:gd name="connsiteY72" fmla="*/ 720 h 10000"/>
                <a:gd name="connsiteX73" fmla="*/ 2217 w 10553"/>
                <a:gd name="connsiteY73" fmla="*/ 850 h 10000"/>
                <a:gd name="connsiteX74" fmla="*/ 2520 w 10553"/>
                <a:gd name="connsiteY74" fmla="*/ 1137 h 10000"/>
                <a:gd name="connsiteX75" fmla="*/ 2795 w 10553"/>
                <a:gd name="connsiteY75" fmla="*/ 1482 h 10000"/>
                <a:gd name="connsiteX76" fmla="*/ 3056 w 10553"/>
                <a:gd name="connsiteY76" fmla="*/ 1842 h 10000"/>
                <a:gd name="connsiteX77" fmla="*/ 3306 w 10553"/>
                <a:gd name="connsiteY77" fmla="*/ 2231 h 10000"/>
                <a:gd name="connsiteX78" fmla="*/ 3555 w 10553"/>
                <a:gd name="connsiteY78" fmla="*/ 2634 h 10000"/>
                <a:gd name="connsiteX79" fmla="*/ 3778 w 10553"/>
                <a:gd name="connsiteY79" fmla="*/ 3051 h 10000"/>
                <a:gd name="connsiteX80" fmla="*/ 4014 w 10553"/>
                <a:gd name="connsiteY80" fmla="*/ 3483 h 10000"/>
                <a:gd name="connsiteX81" fmla="*/ 4223 w 10553"/>
                <a:gd name="connsiteY81" fmla="*/ 3927 h 10000"/>
                <a:gd name="connsiteX82" fmla="*/ 4615 w 10553"/>
                <a:gd name="connsiteY82" fmla="*/ 4834 h 10000"/>
                <a:gd name="connsiteX83" fmla="*/ 5389 w 10553"/>
                <a:gd name="connsiteY83" fmla="*/ 6633 h 10000"/>
                <a:gd name="connsiteX84" fmla="*/ 5756 w 10553"/>
                <a:gd name="connsiteY84" fmla="*/ 7468 h 10000"/>
                <a:gd name="connsiteX85" fmla="*/ 5952 w 10553"/>
                <a:gd name="connsiteY85" fmla="*/ 7828 h 10000"/>
                <a:gd name="connsiteX86" fmla="*/ 6138 w 10553"/>
                <a:gd name="connsiteY86" fmla="*/ 8201 h 10000"/>
                <a:gd name="connsiteX87" fmla="*/ 6346 w 10553"/>
                <a:gd name="connsiteY87" fmla="*/ 8533 h 10000"/>
                <a:gd name="connsiteX88" fmla="*/ 6543 w 10553"/>
                <a:gd name="connsiteY88" fmla="*/ 8821 h 10000"/>
                <a:gd name="connsiteX89" fmla="*/ 6739 w 10553"/>
                <a:gd name="connsiteY89" fmla="*/ 9093 h 10000"/>
                <a:gd name="connsiteX90" fmla="*/ 6961 w 10553"/>
                <a:gd name="connsiteY90" fmla="*/ 9295 h 10000"/>
                <a:gd name="connsiteX91" fmla="*/ 7080 w 10553"/>
                <a:gd name="connsiteY91" fmla="*/ 9395 h 10000"/>
                <a:gd name="connsiteX92" fmla="*/ 7184 w 10553"/>
                <a:gd name="connsiteY92" fmla="*/ 9497 h 10000"/>
                <a:gd name="connsiteX93" fmla="*/ 7303 w 10553"/>
                <a:gd name="connsiteY93" fmla="*/ 9554 h 10000"/>
                <a:gd name="connsiteX94" fmla="*/ 7422 w 10553"/>
                <a:gd name="connsiteY94" fmla="*/ 9626 h 10000"/>
                <a:gd name="connsiteX95" fmla="*/ 7539 w 10553"/>
                <a:gd name="connsiteY95" fmla="*/ 9669 h 10000"/>
                <a:gd name="connsiteX96" fmla="*/ 7670 w 10553"/>
                <a:gd name="connsiteY96" fmla="*/ 9698 h 10000"/>
                <a:gd name="connsiteX97" fmla="*/ 7802 w 10553"/>
                <a:gd name="connsiteY97" fmla="*/ 9741 h 10000"/>
                <a:gd name="connsiteX98" fmla="*/ 7919 w 10553"/>
                <a:gd name="connsiteY98" fmla="*/ 9741 h 10000"/>
                <a:gd name="connsiteX0" fmla="*/ 7960 w 10594"/>
                <a:gd name="connsiteY0" fmla="*/ 9813 h 10072"/>
                <a:gd name="connsiteX1" fmla="*/ 7960 w 10594"/>
                <a:gd name="connsiteY1" fmla="*/ 9813 h 10072"/>
                <a:gd name="connsiteX2" fmla="*/ 8130 w 10594"/>
                <a:gd name="connsiteY2" fmla="*/ 9813 h 10072"/>
                <a:gd name="connsiteX3" fmla="*/ 8261 w 10594"/>
                <a:gd name="connsiteY3" fmla="*/ 9770 h 10072"/>
                <a:gd name="connsiteX4" fmla="*/ 8405 w 10594"/>
                <a:gd name="connsiteY4" fmla="*/ 9727 h 10072"/>
                <a:gd name="connsiteX5" fmla="*/ 8549 w 10594"/>
                <a:gd name="connsiteY5" fmla="*/ 9683 h 10072"/>
                <a:gd name="connsiteX6" fmla="*/ 8682 w 10594"/>
                <a:gd name="connsiteY6" fmla="*/ 9598 h 10072"/>
                <a:gd name="connsiteX7" fmla="*/ 8812 w 10594"/>
                <a:gd name="connsiteY7" fmla="*/ 9497 h 10072"/>
                <a:gd name="connsiteX8" fmla="*/ 8930 w 10594"/>
                <a:gd name="connsiteY8" fmla="*/ 9410 h 10072"/>
                <a:gd name="connsiteX9" fmla="*/ 9060 w 10594"/>
                <a:gd name="connsiteY9" fmla="*/ 9281 h 10072"/>
                <a:gd name="connsiteX10" fmla="*/ 9205 w 10594"/>
                <a:gd name="connsiteY10" fmla="*/ 9151 h 10072"/>
                <a:gd name="connsiteX11" fmla="*/ 9323 w 10594"/>
                <a:gd name="connsiteY11" fmla="*/ 9008 h 10072"/>
                <a:gd name="connsiteX12" fmla="*/ 9558 w 10594"/>
                <a:gd name="connsiteY12" fmla="*/ 8676 h 10072"/>
                <a:gd name="connsiteX13" fmla="*/ 9795 w 10594"/>
                <a:gd name="connsiteY13" fmla="*/ 8303 h 10072"/>
                <a:gd name="connsiteX14" fmla="*/ 10004 w 10594"/>
                <a:gd name="connsiteY14" fmla="*/ 7900 h 10072"/>
                <a:gd name="connsiteX15" fmla="*/ 10306 w 10594"/>
                <a:gd name="connsiteY15" fmla="*/ 8346 h 10072"/>
                <a:gd name="connsiteX16" fmla="*/ 10594 w 10594"/>
                <a:gd name="connsiteY16" fmla="*/ 8763 h 10072"/>
                <a:gd name="connsiteX17" fmla="*/ 10319 w 10594"/>
                <a:gd name="connsiteY17" fmla="*/ 9051 h 10072"/>
                <a:gd name="connsiteX18" fmla="*/ 10044 w 10594"/>
                <a:gd name="connsiteY18" fmla="*/ 9310 h 10072"/>
                <a:gd name="connsiteX19" fmla="*/ 9728 w 10594"/>
                <a:gd name="connsiteY19" fmla="*/ 9539 h 10072"/>
                <a:gd name="connsiteX20" fmla="*/ 9585 w 10594"/>
                <a:gd name="connsiteY20" fmla="*/ 9626 h 10072"/>
                <a:gd name="connsiteX21" fmla="*/ 9415 w 10594"/>
                <a:gd name="connsiteY21" fmla="*/ 9727 h 10072"/>
                <a:gd name="connsiteX22" fmla="*/ 9245 w 10594"/>
                <a:gd name="connsiteY22" fmla="*/ 9813 h 10072"/>
                <a:gd name="connsiteX23" fmla="*/ 9087 w 10594"/>
                <a:gd name="connsiteY23" fmla="*/ 9870 h 10072"/>
                <a:gd name="connsiteX24" fmla="*/ 8904 w 10594"/>
                <a:gd name="connsiteY24" fmla="*/ 9942 h 10072"/>
                <a:gd name="connsiteX25" fmla="*/ 8734 w 10594"/>
                <a:gd name="connsiteY25" fmla="*/ 9986 h 10072"/>
                <a:gd name="connsiteX26" fmla="*/ 8549 w 10594"/>
                <a:gd name="connsiteY26" fmla="*/ 10015 h 10072"/>
                <a:gd name="connsiteX27" fmla="*/ 8366 w 10594"/>
                <a:gd name="connsiteY27" fmla="*/ 10043 h 10072"/>
                <a:gd name="connsiteX28" fmla="*/ 8169 w 10594"/>
                <a:gd name="connsiteY28" fmla="*/ 10072 h 10072"/>
                <a:gd name="connsiteX29" fmla="*/ 7960 w 10594"/>
                <a:gd name="connsiteY29" fmla="*/ 10072 h 10072"/>
                <a:gd name="connsiteX30" fmla="*/ 7751 w 10594"/>
                <a:gd name="connsiteY30" fmla="*/ 10072 h 10072"/>
                <a:gd name="connsiteX31" fmla="*/ 7554 w 10594"/>
                <a:gd name="connsiteY31" fmla="*/ 10029 h 10072"/>
                <a:gd name="connsiteX32" fmla="*/ 7344 w 10594"/>
                <a:gd name="connsiteY32" fmla="*/ 10001 h 10072"/>
                <a:gd name="connsiteX33" fmla="*/ 7147 w 10594"/>
                <a:gd name="connsiteY33" fmla="*/ 9958 h 10072"/>
                <a:gd name="connsiteX34" fmla="*/ 6964 w 10594"/>
                <a:gd name="connsiteY34" fmla="*/ 9884 h 10072"/>
                <a:gd name="connsiteX35" fmla="*/ 6780 w 10594"/>
                <a:gd name="connsiteY35" fmla="*/ 9827 h 10072"/>
                <a:gd name="connsiteX36" fmla="*/ 6610 w 10594"/>
                <a:gd name="connsiteY36" fmla="*/ 9727 h 10072"/>
                <a:gd name="connsiteX37" fmla="*/ 6427 w 10594"/>
                <a:gd name="connsiteY37" fmla="*/ 9626 h 10072"/>
                <a:gd name="connsiteX38" fmla="*/ 6269 w 10594"/>
                <a:gd name="connsiteY38" fmla="*/ 9539 h 10072"/>
                <a:gd name="connsiteX39" fmla="*/ 6085 w 10594"/>
                <a:gd name="connsiteY39" fmla="*/ 9410 h 10072"/>
                <a:gd name="connsiteX40" fmla="*/ 5941 w 10594"/>
                <a:gd name="connsiteY40" fmla="*/ 9296 h 10072"/>
                <a:gd name="connsiteX41" fmla="*/ 5785 w 10594"/>
                <a:gd name="connsiteY41" fmla="*/ 9151 h 10072"/>
                <a:gd name="connsiteX42" fmla="*/ 5483 w 10594"/>
                <a:gd name="connsiteY42" fmla="*/ 8849 h 10072"/>
                <a:gd name="connsiteX43" fmla="*/ 5208 w 10594"/>
                <a:gd name="connsiteY43" fmla="*/ 8518 h 10072"/>
                <a:gd name="connsiteX44" fmla="*/ 4947 w 10594"/>
                <a:gd name="connsiteY44" fmla="*/ 8158 h 10072"/>
                <a:gd name="connsiteX45" fmla="*/ 4696 w 10594"/>
                <a:gd name="connsiteY45" fmla="*/ 7769 h 10072"/>
                <a:gd name="connsiteX46" fmla="*/ 4448 w 10594"/>
                <a:gd name="connsiteY46" fmla="*/ 7367 h 10072"/>
                <a:gd name="connsiteX47" fmla="*/ 4225 w 10594"/>
                <a:gd name="connsiteY47" fmla="*/ 6950 h 10072"/>
                <a:gd name="connsiteX48" fmla="*/ 4003 w 10594"/>
                <a:gd name="connsiteY48" fmla="*/ 6518 h 10072"/>
                <a:gd name="connsiteX49" fmla="*/ 3793 w 10594"/>
                <a:gd name="connsiteY49" fmla="*/ 6072 h 10072"/>
                <a:gd name="connsiteX50" fmla="*/ 3386 w 10594"/>
                <a:gd name="connsiteY50" fmla="*/ 5166 h 10072"/>
                <a:gd name="connsiteX51" fmla="*/ 2626 w 10594"/>
                <a:gd name="connsiteY51" fmla="*/ 3382 h 10072"/>
                <a:gd name="connsiteX52" fmla="*/ 2456 w 10594"/>
                <a:gd name="connsiteY52" fmla="*/ 2935 h 10072"/>
                <a:gd name="connsiteX53" fmla="*/ 2258 w 10594"/>
                <a:gd name="connsiteY53" fmla="*/ 2532 h 10072"/>
                <a:gd name="connsiteX54" fmla="*/ 2075 w 10594"/>
                <a:gd name="connsiteY54" fmla="*/ 2173 h 10072"/>
                <a:gd name="connsiteX55" fmla="*/ 1878 w 10594"/>
                <a:gd name="connsiteY55" fmla="*/ 1799 h 10072"/>
                <a:gd name="connsiteX56" fmla="*/ 1683 w 10594"/>
                <a:gd name="connsiteY56" fmla="*/ 1468 h 10072"/>
                <a:gd name="connsiteX57" fmla="*/ 1486 w 10594"/>
                <a:gd name="connsiteY57" fmla="*/ 1180 h 10072"/>
                <a:gd name="connsiteX58" fmla="*/ 1277 w 10594"/>
                <a:gd name="connsiteY58" fmla="*/ 908 h 10072"/>
                <a:gd name="connsiteX59" fmla="*/ 1067 w 10594"/>
                <a:gd name="connsiteY59" fmla="*/ 706 h 10072"/>
                <a:gd name="connsiteX60" fmla="*/ 948 w 10594"/>
                <a:gd name="connsiteY60" fmla="*/ 605 h 10072"/>
                <a:gd name="connsiteX61" fmla="*/ 831 w 10594"/>
                <a:gd name="connsiteY61" fmla="*/ 504 h 10072"/>
                <a:gd name="connsiteX62" fmla="*/ 712 w 10594"/>
                <a:gd name="connsiteY62" fmla="*/ 447 h 10072"/>
                <a:gd name="connsiteX63" fmla="*/ 41 w 10594"/>
                <a:gd name="connsiteY63" fmla="*/ 913 h 10072"/>
                <a:gd name="connsiteX64" fmla="*/ 7 w 10594"/>
                <a:gd name="connsiteY64" fmla="*/ 0 h 10072"/>
                <a:gd name="connsiteX65" fmla="*/ 896 w 10594"/>
                <a:gd name="connsiteY65" fmla="*/ 115 h 10072"/>
                <a:gd name="connsiteX66" fmla="*/ 1080 w 10594"/>
                <a:gd name="connsiteY66" fmla="*/ 187 h 10072"/>
                <a:gd name="connsiteX67" fmla="*/ 1263 w 10594"/>
                <a:gd name="connsiteY67" fmla="*/ 260 h 10072"/>
                <a:gd name="connsiteX68" fmla="*/ 1433 w 10594"/>
                <a:gd name="connsiteY68" fmla="*/ 346 h 10072"/>
                <a:gd name="connsiteX69" fmla="*/ 1617 w 10594"/>
                <a:gd name="connsiteY69" fmla="*/ 447 h 10072"/>
                <a:gd name="connsiteX70" fmla="*/ 1775 w 10594"/>
                <a:gd name="connsiteY70" fmla="*/ 533 h 10072"/>
                <a:gd name="connsiteX71" fmla="*/ 1931 w 10594"/>
                <a:gd name="connsiteY71" fmla="*/ 662 h 10072"/>
                <a:gd name="connsiteX72" fmla="*/ 2101 w 10594"/>
                <a:gd name="connsiteY72" fmla="*/ 792 h 10072"/>
                <a:gd name="connsiteX73" fmla="*/ 2258 w 10594"/>
                <a:gd name="connsiteY73" fmla="*/ 922 h 10072"/>
                <a:gd name="connsiteX74" fmla="*/ 2561 w 10594"/>
                <a:gd name="connsiteY74" fmla="*/ 1209 h 10072"/>
                <a:gd name="connsiteX75" fmla="*/ 2836 w 10594"/>
                <a:gd name="connsiteY75" fmla="*/ 1554 h 10072"/>
                <a:gd name="connsiteX76" fmla="*/ 3097 w 10594"/>
                <a:gd name="connsiteY76" fmla="*/ 1914 h 10072"/>
                <a:gd name="connsiteX77" fmla="*/ 3347 w 10594"/>
                <a:gd name="connsiteY77" fmla="*/ 2303 h 10072"/>
                <a:gd name="connsiteX78" fmla="*/ 3596 w 10594"/>
                <a:gd name="connsiteY78" fmla="*/ 2706 h 10072"/>
                <a:gd name="connsiteX79" fmla="*/ 3819 w 10594"/>
                <a:gd name="connsiteY79" fmla="*/ 3123 h 10072"/>
                <a:gd name="connsiteX80" fmla="*/ 4055 w 10594"/>
                <a:gd name="connsiteY80" fmla="*/ 3555 h 10072"/>
                <a:gd name="connsiteX81" fmla="*/ 4264 w 10594"/>
                <a:gd name="connsiteY81" fmla="*/ 3999 h 10072"/>
                <a:gd name="connsiteX82" fmla="*/ 4656 w 10594"/>
                <a:gd name="connsiteY82" fmla="*/ 4906 h 10072"/>
                <a:gd name="connsiteX83" fmla="*/ 5430 w 10594"/>
                <a:gd name="connsiteY83" fmla="*/ 6705 h 10072"/>
                <a:gd name="connsiteX84" fmla="*/ 5797 w 10594"/>
                <a:gd name="connsiteY84" fmla="*/ 7540 h 10072"/>
                <a:gd name="connsiteX85" fmla="*/ 5993 w 10594"/>
                <a:gd name="connsiteY85" fmla="*/ 7900 h 10072"/>
                <a:gd name="connsiteX86" fmla="*/ 6179 w 10594"/>
                <a:gd name="connsiteY86" fmla="*/ 8273 h 10072"/>
                <a:gd name="connsiteX87" fmla="*/ 6387 w 10594"/>
                <a:gd name="connsiteY87" fmla="*/ 8605 h 10072"/>
                <a:gd name="connsiteX88" fmla="*/ 6584 w 10594"/>
                <a:gd name="connsiteY88" fmla="*/ 8893 h 10072"/>
                <a:gd name="connsiteX89" fmla="*/ 6780 w 10594"/>
                <a:gd name="connsiteY89" fmla="*/ 9165 h 10072"/>
                <a:gd name="connsiteX90" fmla="*/ 7002 w 10594"/>
                <a:gd name="connsiteY90" fmla="*/ 9367 h 10072"/>
                <a:gd name="connsiteX91" fmla="*/ 7121 w 10594"/>
                <a:gd name="connsiteY91" fmla="*/ 9467 h 10072"/>
                <a:gd name="connsiteX92" fmla="*/ 7225 w 10594"/>
                <a:gd name="connsiteY92" fmla="*/ 9569 h 10072"/>
                <a:gd name="connsiteX93" fmla="*/ 7344 w 10594"/>
                <a:gd name="connsiteY93" fmla="*/ 9626 h 10072"/>
                <a:gd name="connsiteX94" fmla="*/ 7463 w 10594"/>
                <a:gd name="connsiteY94" fmla="*/ 9698 h 10072"/>
                <a:gd name="connsiteX95" fmla="*/ 7580 w 10594"/>
                <a:gd name="connsiteY95" fmla="*/ 9741 h 10072"/>
                <a:gd name="connsiteX96" fmla="*/ 7711 w 10594"/>
                <a:gd name="connsiteY96" fmla="*/ 9770 h 10072"/>
                <a:gd name="connsiteX97" fmla="*/ 7843 w 10594"/>
                <a:gd name="connsiteY97" fmla="*/ 9813 h 10072"/>
                <a:gd name="connsiteX98" fmla="*/ 7960 w 10594"/>
                <a:gd name="connsiteY98" fmla="*/ 9813 h 10072"/>
                <a:gd name="connsiteX0" fmla="*/ 8265 w 10899"/>
                <a:gd name="connsiteY0" fmla="*/ 9813 h 10072"/>
                <a:gd name="connsiteX1" fmla="*/ 8265 w 10899"/>
                <a:gd name="connsiteY1" fmla="*/ 9813 h 10072"/>
                <a:gd name="connsiteX2" fmla="*/ 8435 w 10899"/>
                <a:gd name="connsiteY2" fmla="*/ 9813 h 10072"/>
                <a:gd name="connsiteX3" fmla="*/ 8566 w 10899"/>
                <a:gd name="connsiteY3" fmla="*/ 9770 h 10072"/>
                <a:gd name="connsiteX4" fmla="*/ 8710 w 10899"/>
                <a:gd name="connsiteY4" fmla="*/ 9727 h 10072"/>
                <a:gd name="connsiteX5" fmla="*/ 8854 w 10899"/>
                <a:gd name="connsiteY5" fmla="*/ 9683 h 10072"/>
                <a:gd name="connsiteX6" fmla="*/ 8987 w 10899"/>
                <a:gd name="connsiteY6" fmla="*/ 9598 h 10072"/>
                <a:gd name="connsiteX7" fmla="*/ 9117 w 10899"/>
                <a:gd name="connsiteY7" fmla="*/ 9497 h 10072"/>
                <a:gd name="connsiteX8" fmla="*/ 9235 w 10899"/>
                <a:gd name="connsiteY8" fmla="*/ 9410 h 10072"/>
                <a:gd name="connsiteX9" fmla="*/ 9365 w 10899"/>
                <a:gd name="connsiteY9" fmla="*/ 9281 h 10072"/>
                <a:gd name="connsiteX10" fmla="*/ 9510 w 10899"/>
                <a:gd name="connsiteY10" fmla="*/ 9151 h 10072"/>
                <a:gd name="connsiteX11" fmla="*/ 9628 w 10899"/>
                <a:gd name="connsiteY11" fmla="*/ 9008 h 10072"/>
                <a:gd name="connsiteX12" fmla="*/ 9863 w 10899"/>
                <a:gd name="connsiteY12" fmla="*/ 8676 h 10072"/>
                <a:gd name="connsiteX13" fmla="*/ 10100 w 10899"/>
                <a:gd name="connsiteY13" fmla="*/ 8303 h 10072"/>
                <a:gd name="connsiteX14" fmla="*/ 10309 w 10899"/>
                <a:gd name="connsiteY14" fmla="*/ 7900 h 10072"/>
                <a:gd name="connsiteX15" fmla="*/ 10611 w 10899"/>
                <a:gd name="connsiteY15" fmla="*/ 8346 h 10072"/>
                <a:gd name="connsiteX16" fmla="*/ 10899 w 10899"/>
                <a:gd name="connsiteY16" fmla="*/ 8763 h 10072"/>
                <a:gd name="connsiteX17" fmla="*/ 10624 w 10899"/>
                <a:gd name="connsiteY17" fmla="*/ 9051 h 10072"/>
                <a:gd name="connsiteX18" fmla="*/ 10349 w 10899"/>
                <a:gd name="connsiteY18" fmla="*/ 9310 h 10072"/>
                <a:gd name="connsiteX19" fmla="*/ 10033 w 10899"/>
                <a:gd name="connsiteY19" fmla="*/ 9539 h 10072"/>
                <a:gd name="connsiteX20" fmla="*/ 9890 w 10899"/>
                <a:gd name="connsiteY20" fmla="*/ 9626 h 10072"/>
                <a:gd name="connsiteX21" fmla="*/ 9720 w 10899"/>
                <a:gd name="connsiteY21" fmla="*/ 9727 h 10072"/>
                <a:gd name="connsiteX22" fmla="*/ 9550 w 10899"/>
                <a:gd name="connsiteY22" fmla="*/ 9813 h 10072"/>
                <a:gd name="connsiteX23" fmla="*/ 9392 w 10899"/>
                <a:gd name="connsiteY23" fmla="*/ 9870 h 10072"/>
                <a:gd name="connsiteX24" fmla="*/ 9209 w 10899"/>
                <a:gd name="connsiteY24" fmla="*/ 9942 h 10072"/>
                <a:gd name="connsiteX25" fmla="*/ 9039 w 10899"/>
                <a:gd name="connsiteY25" fmla="*/ 9986 h 10072"/>
                <a:gd name="connsiteX26" fmla="*/ 8854 w 10899"/>
                <a:gd name="connsiteY26" fmla="*/ 10015 h 10072"/>
                <a:gd name="connsiteX27" fmla="*/ 8671 w 10899"/>
                <a:gd name="connsiteY27" fmla="*/ 10043 h 10072"/>
                <a:gd name="connsiteX28" fmla="*/ 8474 w 10899"/>
                <a:gd name="connsiteY28" fmla="*/ 10072 h 10072"/>
                <a:gd name="connsiteX29" fmla="*/ 8265 w 10899"/>
                <a:gd name="connsiteY29" fmla="*/ 10072 h 10072"/>
                <a:gd name="connsiteX30" fmla="*/ 8056 w 10899"/>
                <a:gd name="connsiteY30" fmla="*/ 10072 h 10072"/>
                <a:gd name="connsiteX31" fmla="*/ 7859 w 10899"/>
                <a:gd name="connsiteY31" fmla="*/ 10029 h 10072"/>
                <a:gd name="connsiteX32" fmla="*/ 7649 w 10899"/>
                <a:gd name="connsiteY32" fmla="*/ 10001 h 10072"/>
                <a:gd name="connsiteX33" fmla="*/ 7452 w 10899"/>
                <a:gd name="connsiteY33" fmla="*/ 9958 h 10072"/>
                <a:gd name="connsiteX34" fmla="*/ 7269 w 10899"/>
                <a:gd name="connsiteY34" fmla="*/ 9884 h 10072"/>
                <a:gd name="connsiteX35" fmla="*/ 7085 w 10899"/>
                <a:gd name="connsiteY35" fmla="*/ 9827 h 10072"/>
                <a:gd name="connsiteX36" fmla="*/ 6915 w 10899"/>
                <a:gd name="connsiteY36" fmla="*/ 9727 h 10072"/>
                <a:gd name="connsiteX37" fmla="*/ 6732 w 10899"/>
                <a:gd name="connsiteY37" fmla="*/ 9626 h 10072"/>
                <a:gd name="connsiteX38" fmla="*/ 6574 w 10899"/>
                <a:gd name="connsiteY38" fmla="*/ 9539 h 10072"/>
                <a:gd name="connsiteX39" fmla="*/ 6390 w 10899"/>
                <a:gd name="connsiteY39" fmla="*/ 9410 h 10072"/>
                <a:gd name="connsiteX40" fmla="*/ 6246 w 10899"/>
                <a:gd name="connsiteY40" fmla="*/ 9296 h 10072"/>
                <a:gd name="connsiteX41" fmla="*/ 6090 w 10899"/>
                <a:gd name="connsiteY41" fmla="*/ 9151 h 10072"/>
                <a:gd name="connsiteX42" fmla="*/ 5788 w 10899"/>
                <a:gd name="connsiteY42" fmla="*/ 8849 h 10072"/>
                <a:gd name="connsiteX43" fmla="*/ 5513 w 10899"/>
                <a:gd name="connsiteY43" fmla="*/ 8518 h 10072"/>
                <a:gd name="connsiteX44" fmla="*/ 5252 w 10899"/>
                <a:gd name="connsiteY44" fmla="*/ 8158 h 10072"/>
                <a:gd name="connsiteX45" fmla="*/ 5001 w 10899"/>
                <a:gd name="connsiteY45" fmla="*/ 7769 h 10072"/>
                <a:gd name="connsiteX46" fmla="*/ 4753 w 10899"/>
                <a:gd name="connsiteY46" fmla="*/ 7367 h 10072"/>
                <a:gd name="connsiteX47" fmla="*/ 4530 w 10899"/>
                <a:gd name="connsiteY47" fmla="*/ 6950 h 10072"/>
                <a:gd name="connsiteX48" fmla="*/ 4308 w 10899"/>
                <a:gd name="connsiteY48" fmla="*/ 6518 h 10072"/>
                <a:gd name="connsiteX49" fmla="*/ 4098 w 10899"/>
                <a:gd name="connsiteY49" fmla="*/ 6072 h 10072"/>
                <a:gd name="connsiteX50" fmla="*/ 3691 w 10899"/>
                <a:gd name="connsiteY50" fmla="*/ 5166 h 10072"/>
                <a:gd name="connsiteX51" fmla="*/ 2931 w 10899"/>
                <a:gd name="connsiteY51" fmla="*/ 3382 h 10072"/>
                <a:gd name="connsiteX52" fmla="*/ 2761 w 10899"/>
                <a:gd name="connsiteY52" fmla="*/ 2935 h 10072"/>
                <a:gd name="connsiteX53" fmla="*/ 2563 w 10899"/>
                <a:gd name="connsiteY53" fmla="*/ 2532 h 10072"/>
                <a:gd name="connsiteX54" fmla="*/ 2380 w 10899"/>
                <a:gd name="connsiteY54" fmla="*/ 2173 h 10072"/>
                <a:gd name="connsiteX55" fmla="*/ 2183 w 10899"/>
                <a:gd name="connsiteY55" fmla="*/ 1799 h 10072"/>
                <a:gd name="connsiteX56" fmla="*/ 1988 w 10899"/>
                <a:gd name="connsiteY56" fmla="*/ 1468 h 10072"/>
                <a:gd name="connsiteX57" fmla="*/ 1791 w 10899"/>
                <a:gd name="connsiteY57" fmla="*/ 1180 h 10072"/>
                <a:gd name="connsiteX58" fmla="*/ 1582 w 10899"/>
                <a:gd name="connsiteY58" fmla="*/ 908 h 10072"/>
                <a:gd name="connsiteX59" fmla="*/ 1372 w 10899"/>
                <a:gd name="connsiteY59" fmla="*/ 706 h 10072"/>
                <a:gd name="connsiteX60" fmla="*/ 1253 w 10899"/>
                <a:gd name="connsiteY60" fmla="*/ 605 h 10072"/>
                <a:gd name="connsiteX61" fmla="*/ 1136 w 10899"/>
                <a:gd name="connsiteY61" fmla="*/ 504 h 10072"/>
                <a:gd name="connsiteX62" fmla="*/ 1017 w 10899"/>
                <a:gd name="connsiteY62" fmla="*/ 447 h 10072"/>
                <a:gd name="connsiteX63" fmla="*/ 0 w 10899"/>
                <a:gd name="connsiteY63" fmla="*/ 626 h 10072"/>
                <a:gd name="connsiteX64" fmla="*/ 312 w 10899"/>
                <a:gd name="connsiteY64" fmla="*/ 0 h 10072"/>
                <a:gd name="connsiteX65" fmla="*/ 1201 w 10899"/>
                <a:gd name="connsiteY65" fmla="*/ 115 h 10072"/>
                <a:gd name="connsiteX66" fmla="*/ 1385 w 10899"/>
                <a:gd name="connsiteY66" fmla="*/ 187 h 10072"/>
                <a:gd name="connsiteX67" fmla="*/ 1568 w 10899"/>
                <a:gd name="connsiteY67" fmla="*/ 260 h 10072"/>
                <a:gd name="connsiteX68" fmla="*/ 1738 w 10899"/>
                <a:gd name="connsiteY68" fmla="*/ 346 h 10072"/>
                <a:gd name="connsiteX69" fmla="*/ 1922 w 10899"/>
                <a:gd name="connsiteY69" fmla="*/ 447 h 10072"/>
                <a:gd name="connsiteX70" fmla="*/ 2080 w 10899"/>
                <a:gd name="connsiteY70" fmla="*/ 533 h 10072"/>
                <a:gd name="connsiteX71" fmla="*/ 2236 w 10899"/>
                <a:gd name="connsiteY71" fmla="*/ 662 h 10072"/>
                <a:gd name="connsiteX72" fmla="*/ 2406 w 10899"/>
                <a:gd name="connsiteY72" fmla="*/ 792 h 10072"/>
                <a:gd name="connsiteX73" fmla="*/ 2563 w 10899"/>
                <a:gd name="connsiteY73" fmla="*/ 922 h 10072"/>
                <a:gd name="connsiteX74" fmla="*/ 2866 w 10899"/>
                <a:gd name="connsiteY74" fmla="*/ 1209 h 10072"/>
                <a:gd name="connsiteX75" fmla="*/ 3141 w 10899"/>
                <a:gd name="connsiteY75" fmla="*/ 1554 h 10072"/>
                <a:gd name="connsiteX76" fmla="*/ 3402 w 10899"/>
                <a:gd name="connsiteY76" fmla="*/ 1914 h 10072"/>
                <a:gd name="connsiteX77" fmla="*/ 3652 w 10899"/>
                <a:gd name="connsiteY77" fmla="*/ 2303 h 10072"/>
                <a:gd name="connsiteX78" fmla="*/ 3901 w 10899"/>
                <a:gd name="connsiteY78" fmla="*/ 2706 h 10072"/>
                <a:gd name="connsiteX79" fmla="*/ 4124 w 10899"/>
                <a:gd name="connsiteY79" fmla="*/ 3123 h 10072"/>
                <a:gd name="connsiteX80" fmla="*/ 4360 w 10899"/>
                <a:gd name="connsiteY80" fmla="*/ 3555 h 10072"/>
                <a:gd name="connsiteX81" fmla="*/ 4569 w 10899"/>
                <a:gd name="connsiteY81" fmla="*/ 3999 h 10072"/>
                <a:gd name="connsiteX82" fmla="*/ 4961 w 10899"/>
                <a:gd name="connsiteY82" fmla="*/ 4906 h 10072"/>
                <a:gd name="connsiteX83" fmla="*/ 5735 w 10899"/>
                <a:gd name="connsiteY83" fmla="*/ 6705 h 10072"/>
                <a:gd name="connsiteX84" fmla="*/ 6102 w 10899"/>
                <a:gd name="connsiteY84" fmla="*/ 7540 h 10072"/>
                <a:gd name="connsiteX85" fmla="*/ 6298 w 10899"/>
                <a:gd name="connsiteY85" fmla="*/ 7900 h 10072"/>
                <a:gd name="connsiteX86" fmla="*/ 6484 w 10899"/>
                <a:gd name="connsiteY86" fmla="*/ 8273 h 10072"/>
                <a:gd name="connsiteX87" fmla="*/ 6692 w 10899"/>
                <a:gd name="connsiteY87" fmla="*/ 8605 h 10072"/>
                <a:gd name="connsiteX88" fmla="*/ 6889 w 10899"/>
                <a:gd name="connsiteY88" fmla="*/ 8893 h 10072"/>
                <a:gd name="connsiteX89" fmla="*/ 7085 w 10899"/>
                <a:gd name="connsiteY89" fmla="*/ 9165 h 10072"/>
                <a:gd name="connsiteX90" fmla="*/ 7307 w 10899"/>
                <a:gd name="connsiteY90" fmla="*/ 9367 h 10072"/>
                <a:gd name="connsiteX91" fmla="*/ 7426 w 10899"/>
                <a:gd name="connsiteY91" fmla="*/ 9467 h 10072"/>
                <a:gd name="connsiteX92" fmla="*/ 7530 w 10899"/>
                <a:gd name="connsiteY92" fmla="*/ 9569 h 10072"/>
                <a:gd name="connsiteX93" fmla="*/ 7649 w 10899"/>
                <a:gd name="connsiteY93" fmla="*/ 9626 h 10072"/>
                <a:gd name="connsiteX94" fmla="*/ 7768 w 10899"/>
                <a:gd name="connsiteY94" fmla="*/ 9698 h 10072"/>
                <a:gd name="connsiteX95" fmla="*/ 7885 w 10899"/>
                <a:gd name="connsiteY95" fmla="*/ 9741 h 10072"/>
                <a:gd name="connsiteX96" fmla="*/ 8016 w 10899"/>
                <a:gd name="connsiteY96" fmla="*/ 9770 h 10072"/>
                <a:gd name="connsiteX97" fmla="*/ 8148 w 10899"/>
                <a:gd name="connsiteY97" fmla="*/ 9813 h 10072"/>
                <a:gd name="connsiteX98" fmla="*/ 8265 w 10899"/>
                <a:gd name="connsiteY98" fmla="*/ 9813 h 10072"/>
                <a:gd name="connsiteX0" fmla="*/ 7956 w 10590"/>
                <a:gd name="connsiteY0" fmla="*/ 9813 h 10072"/>
                <a:gd name="connsiteX1" fmla="*/ 7956 w 10590"/>
                <a:gd name="connsiteY1" fmla="*/ 9813 h 10072"/>
                <a:gd name="connsiteX2" fmla="*/ 8126 w 10590"/>
                <a:gd name="connsiteY2" fmla="*/ 9813 h 10072"/>
                <a:gd name="connsiteX3" fmla="*/ 8257 w 10590"/>
                <a:gd name="connsiteY3" fmla="*/ 9770 h 10072"/>
                <a:gd name="connsiteX4" fmla="*/ 8401 w 10590"/>
                <a:gd name="connsiteY4" fmla="*/ 9727 h 10072"/>
                <a:gd name="connsiteX5" fmla="*/ 8545 w 10590"/>
                <a:gd name="connsiteY5" fmla="*/ 9683 h 10072"/>
                <a:gd name="connsiteX6" fmla="*/ 8678 w 10590"/>
                <a:gd name="connsiteY6" fmla="*/ 9598 h 10072"/>
                <a:gd name="connsiteX7" fmla="*/ 8808 w 10590"/>
                <a:gd name="connsiteY7" fmla="*/ 9497 h 10072"/>
                <a:gd name="connsiteX8" fmla="*/ 8926 w 10590"/>
                <a:gd name="connsiteY8" fmla="*/ 9410 h 10072"/>
                <a:gd name="connsiteX9" fmla="*/ 9056 w 10590"/>
                <a:gd name="connsiteY9" fmla="*/ 9281 h 10072"/>
                <a:gd name="connsiteX10" fmla="*/ 9201 w 10590"/>
                <a:gd name="connsiteY10" fmla="*/ 9151 h 10072"/>
                <a:gd name="connsiteX11" fmla="*/ 9319 w 10590"/>
                <a:gd name="connsiteY11" fmla="*/ 9008 h 10072"/>
                <a:gd name="connsiteX12" fmla="*/ 9554 w 10590"/>
                <a:gd name="connsiteY12" fmla="*/ 8676 h 10072"/>
                <a:gd name="connsiteX13" fmla="*/ 9791 w 10590"/>
                <a:gd name="connsiteY13" fmla="*/ 8303 h 10072"/>
                <a:gd name="connsiteX14" fmla="*/ 10000 w 10590"/>
                <a:gd name="connsiteY14" fmla="*/ 7900 h 10072"/>
                <a:gd name="connsiteX15" fmla="*/ 10302 w 10590"/>
                <a:gd name="connsiteY15" fmla="*/ 8346 h 10072"/>
                <a:gd name="connsiteX16" fmla="*/ 10590 w 10590"/>
                <a:gd name="connsiteY16" fmla="*/ 8763 h 10072"/>
                <a:gd name="connsiteX17" fmla="*/ 10315 w 10590"/>
                <a:gd name="connsiteY17" fmla="*/ 9051 h 10072"/>
                <a:gd name="connsiteX18" fmla="*/ 10040 w 10590"/>
                <a:gd name="connsiteY18" fmla="*/ 9310 h 10072"/>
                <a:gd name="connsiteX19" fmla="*/ 9724 w 10590"/>
                <a:gd name="connsiteY19" fmla="*/ 9539 h 10072"/>
                <a:gd name="connsiteX20" fmla="*/ 9581 w 10590"/>
                <a:gd name="connsiteY20" fmla="*/ 9626 h 10072"/>
                <a:gd name="connsiteX21" fmla="*/ 9411 w 10590"/>
                <a:gd name="connsiteY21" fmla="*/ 9727 h 10072"/>
                <a:gd name="connsiteX22" fmla="*/ 9241 w 10590"/>
                <a:gd name="connsiteY22" fmla="*/ 9813 h 10072"/>
                <a:gd name="connsiteX23" fmla="*/ 9083 w 10590"/>
                <a:gd name="connsiteY23" fmla="*/ 9870 h 10072"/>
                <a:gd name="connsiteX24" fmla="*/ 8900 w 10590"/>
                <a:gd name="connsiteY24" fmla="*/ 9942 h 10072"/>
                <a:gd name="connsiteX25" fmla="*/ 8730 w 10590"/>
                <a:gd name="connsiteY25" fmla="*/ 9986 h 10072"/>
                <a:gd name="connsiteX26" fmla="*/ 8545 w 10590"/>
                <a:gd name="connsiteY26" fmla="*/ 10015 h 10072"/>
                <a:gd name="connsiteX27" fmla="*/ 8362 w 10590"/>
                <a:gd name="connsiteY27" fmla="*/ 10043 h 10072"/>
                <a:gd name="connsiteX28" fmla="*/ 8165 w 10590"/>
                <a:gd name="connsiteY28" fmla="*/ 10072 h 10072"/>
                <a:gd name="connsiteX29" fmla="*/ 7956 w 10590"/>
                <a:gd name="connsiteY29" fmla="*/ 10072 h 10072"/>
                <a:gd name="connsiteX30" fmla="*/ 7747 w 10590"/>
                <a:gd name="connsiteY30" fmla="*/ 10072 h 10072"/>
                <a:gd name="connsiteX31" fmla="*/ 7550 w 10590"/>
                <a:gd name="connsiteY31" fmla="*/ 10029 h 10072"/>
                <a:gd name="connsiteX32" fmla="*/ 7340 w 10590"/>
                <a:gd name="connsiteY32" fmla="*/ 10001 h 10072"/>
                <a:gd name="connsiteX33" fmla="*/ 7143 w 10590"/>
                <a:gd name="connsiteY33" fmla="*/ 9958 h 10072"/>
                <a:gd name="connsiteX34" fmla="*/ 6960 w 10590"/>
                <a:gd name="connsiteY34" fmla="*/ 9884 h 10072"/>
                <a:gd name="connsiteX35" fmla="*/ 6776 w 10590"/>
                <a:gd name="connsiteY35" fmla="*/ 9827 h 10072"/>
                <a:gd name="connsiteX36" fmla="*/ 6606 w 10590"/>
                <a:gd name="connsiteY36" fmla="*/ 9727 h 10072"/>
                <a:gd name="connsiteX37" fmla="*/ 6423 w 10590"/>
                <a:gd name="connsiteY37" fmla="*/ 9626 h 10072"/>
                <a:gd name="connsiteX38" fmla="*/ 6265 w 10590"/>
                <a:gd name="connsiteY38" fmla="*/ 9539 h 10072"/>
                <a:gd name="connsiteX39" fmla="*/ 6081 w 10590"/>
                <a:gd name="connsiteY39" fmla="*/ 9410 h 10072"/>
                <a:gd name="connsiteX40" fmla="*/ 5937 w 10590"/>
                <a:gd name="connsiteY40" fmla="*/ 9296 h 10072"/>
                <a:gd name="connsiteX41" fmla="*/ 5781 w 10590"/>
                <a:gd name="connsiteY41" fmla="*/ 9151 h 10072"/>
                <a:gd name="connsiteX42" fmla="*/ 5479 w 10590"/>
                <a:gd name="connsiteY42" fmla="*/ 8849 h 10072"/>
                <a:gd name="connsiteX43" fmla="*/ 5204 w 10590"/>
                <a:gd name="connsiteY43" fmla="*/ 8518 h 10072"/>
                <a:gd name="connsiteX44" fmla="*/ 4943 w 10590"/>
                <a:gd name="connsiteY44" fmla="*/ 8158 h 10072"/>
                <a:gd name="connsiteX45" fmla="*/ 4692 w 10590"/>
                <a:gd name="connsiteY45" fmla="*/ 7769 h 10072"/>
                <a:gd name="connsiteX46" fmla="*/ 4444 w 10590"/>
                <a:gd name="connsiteY46" fmla="*/ 7367 h 10072"/>
                <a:gd name="connsiteX47" fmla="*/ 4221 w 10590"/>
                <a:gd name="connsiteY47" fmla="*/ 6950 h 10072"/>
                <a:gd name="connsiteX48" fmla="*/ 3999 w 10590"/>
                <a:gd name="connsiteY48" fmla="*/ 6518 h 10072"/>
                <a:gd name="connsiteX49" fmla="*/ 3789 w 10590"/>
                <a:gd name="connsiteY49" fmla="*/ 6072 h 10072"/>
                <a:gd name="connsiteX50" fmla="*/ 3382 w 10590"/>
                <a:gd name="connsiteY50" fmla="*/ 5166 h 10072"/>
                <a:gd name="connsiteX51" fmla="*/ 2622 w 10590"/>
                <a:gd name="connsiteY51" fmla="*/ 3382 h 10072"/>
                <a:gd name="connsiteX52" fmla="*/ 2452 w 10590"/>
                <a:gd name="connsiteY52" fmla="*/ 2935 h 10072"/>
                <a:gd name="connsiteX53" fmla="*/ 2254 w 10590"/>
                <a:gd name="connsiteY53" fmla="*/ 2532 h 10072"/>
                <a:gd name="connsiteX54" fmla="*/ 2071 w 10590"/>
                <a:gd name="connsiteY54" fmla="*/ 2173 h 10072"/>
                <a:gd name="connsiteX55" fmla="*/ 1874 w 10590"/>
                <a:gd name="connsiteY55" fmla="*/ 1799 h 10072"/>
                <a:gd name="connsiteX56" fmla="*/ 1679 w 10590"/>
                <a:gd name="connsiteY56" fmla="*/ 1468 h 10072"/>
                <a:gd name="connsiteX57" fmla="*/ 1482 w 10590"/>
                <a:gd name="connsiteY57" fmla="*/ 1180 h 10072"/>
                <a:gd name="connsiteX58" fmla="*/ 1273 w 10590"/>
                <a:gd name="connsiteY58" fmla="*/ 908 h 10072"/>
                <a:gd name="connsiteX59" fmla="*/ 1063 w 10590"/>
                <a:gd name="connsiteY59" fmla="*/ 706 h 10072"/>
                <a:gd name="connsiteX60" fmla="*/ 944 w 10590"/>
                <a:gd name="connsiteY60" fmla="*/ 605 h 10072"/>
                <a:gd name="connsiteX61" fmla="*/ 827 w 10590"/>
                <a:gd name="connsiteY61" fmla="*/ 504 h 10072"/>
                <a:gd name="connsiteX62" fmla="*/ 708 w 10590"/>
                <a:gd name="connsiteY62" fmla="*/ 447 h 10072"/>
                <a:gd name="connsiteX63" fmla="*/ 337 w 10590"/>
                <a:gd name="connsiteY63" fmla="*/ 411 h 10072"/>
                <a:gd name="connsiteX64" fmla="*/ 3 w 10590"/>
                <a:gd name="connsiteY64" fmla="*/ 0 h 10072"/>
                <a:gd name="connsiteX65" fmla="*/ 892 w 10590"/>
                <a:gd name="connsiteY65" fmla="*/ 115 h 10072"/>
                <a:gd name="connsiteX66" fmla="*/ 1076 w 10590"/>
                <a:gd name="connsiteY66" fmla="*/ 187 h 10072"/>
                <a:gd name="connsiteX67" fmla="*/ 1259 w 10590"/>
                <a:gd name="connsiteY67" fmla="*/ 260 h 10072"/>
                <a:gd name="connsiteX68" fmla="*/ 1429 w 10590"/>
                <a:gd name="connsiteY68" fmla="*/ 346 h 10072"/>
                <a:gd name="connsiteX69" fmla="*/ 1613 w 10590"/>
                <a:gd name="connsiteY69" fmla="*/ 447 h 10072"/>
                <a:gd name="connsiteX70" fmla="*/ 1771 w 10590"/>
                <a:gd name="connsiteY70" fmla="*/ 533 h 10072"/>
                <a:gd name="connsiteX71" fmla="*/ 1927 w 10590"/>
                <a:gd name="connsiteY71" fmla="*/ 662 h 10072"/>
                <a:gd name="connsiteX72" fmla="*/ 2097 w 10590"/>
                <a:gd name="connsiteY72" fmla="*/ 792 h 10072"/>
                <a:gd name="connsiteX73" fmla="*/ 2254 w 10590"/>
                <a:gd name="connsiteY73" fmla="*/ 922 h 10072"/>
                <a:gd name="connsiteX74" fmla="*/ 2557 w 10590"/>
                <a:gd name="connsiteY74" fmla="*/ 1209 h 10072"/>
                <a:gd name="connsiteX75" fmla="*/ 2832 w 10590"/>
                <a:gd name="connsiteY75" fmla="*/ 1554 h 10072"/>
                <a:gd name="connsiteX76" fmla="*/ 3093 w 10590"/>
                <a:gd name="connsiteY76" fmla="*/ 1914 h 10072"/>
                <a:gd name="connsiteX77" fmla="*/ 3343 w 10590"/>
                <a:gd name="connsiteY77" fmla="*/ 2303 h 10072"/>
                <a:gd name="connsiteX78" fmla="*/ 3592 w 10590"/>
                <a:gd name="connsiteY78" fmla="*/ 2706 h 10072"/>
                <a:gd name="connsiteX79" fmla="*/ 3815 w 10590"/>
                <a:gd name="connsiteY79" fmla="*/ 3123 h 10072"/>
                <a:gd name="connsiteX80" fmla="*/ 4051 w 10590"/>
                <a:gd name="connsiteY80" fmla="*/ 3555 h 10072"/>
                <a:gd name="connsiteX81" fmla="*/ 4260 w 10590"/>
                <a:gd name="connsiteY81" fmla="*/ 3999 h 10072"/>
                <a:gd name="connsiteX82" fmla="*/ 4652 w 10590"/>
                <a:gd name="connsiteY82" fmla="*/ 4906 h 10072"/>
                <a:gd name="connsiteX83" fmla="*/ 5426 w 10590"/>
                <a:gd name="connsiteY83" fmla="*/ 6705 h 10072"/>
                <a:gd name="connsiteX84" fmla="*/ 5793 w 10590"/>
                <a:gd name="connsiteY84" fmla="*/ 7540 h 10072"/>
                <a:gd name="connsiteX85" fmla="*/ 5989 w 10590"/>
                <a:gd name="connsiteY85" fmla="*/ 7900 h 10072"/>
                <a:gd name="connsiteX86" fmla="*/ 6175 w 10590"/>
                <a:gd name="connsiteY86" fmla="*/ 8273 h 10072"/>
                <a:gd name="connsiteX87" fmla="*/ 6383 w 10590"/>
                <a:gd name="connsiteY87" fmla="*/ 8605 h 10072"/>
                <a:gd name="connsiteX88" fmla="*/ 6580 w 10590"/>
                <a:gd name="connsiteY88" fmla="*/ 8893 h 10072"/>
                <a:gd name="connsiteX89" fmla="*/ 6776 w 10590"/>
                <a:gd name="connsiteY89" fmla="*/ 9165 h 10072"/>
                <a:gd name="connsiteX90" fmla="*/ 6998 w 10590"/>
                <a:gd name="connsiteY90" fmla="*/ 9367 h 10072"/>
                <a:gd name="connsiteX91" fmla="*/ 7117 w 10590"/>
                <a:gd name="connsiteY91" fmla="*/ 9467 h 10072"/>
                <a:gd name="connsiteX92" fmla="*/ 7221 w 10590"/>
                <a:gd name="connsiteY92" fmla="*/ 9569 h 10072"/>
                <a:gd name="connsiteX93" fmla="*/ 7340 w 10590"/>
                <a:gd name="connsiteY93" fmla="*/ 9626 h 10072"/>
                <a:gd name="connsiteX94" fmla="*/ 7459 w 10590"/>
                <a:gd name="connsiteY94" fmla="*/ 9698 h 10072"/>
                <a:gd name="connsiteX95" fmla="*/ 7576 w 10590"/>
                <a:gd name="connsiteY95" fmla="*/ 9741 h 10072"/>
                <a:gd name="connsiteX96" fmla="*/ 7707 w 10590"/>
                <a:gd name="connsiteY96" fmla="*/ 9770 h 10072"/>
                <a:gd name="connsiteX97" fmla="*/ 7839 w 10590"/>
                <a:gd name="connsiteY97" fmla="*/ 9813 h 10072"/>
                <a:gd name="connsiteX98" fmla="*/ 7956 w 10590"/>
                <a:gd name="connsiteY98" fmla="*/ 9813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0590" h="10072">
                  <a:moveTo>
                    <a:pt x="7956" y="9813"/>
                  </a:moveTo>
                  <a:lnTo>
                    <a:pt x="7956" y="9813"/>
                  </a:lnTo>
                  <a:lnTo>
                    <a:pt x="8126" y="9813"/>
                  </a:lnTo>
                  <a:cubicBezTo>
                    <a:pt x="8170" y="9799"/>
                    <a:pt x="8213" y="9784"/>
                    <a:pt x="8257" y="9770"/>
                  </a:cubicBezTo>
                  <a:cubicBezTo>
                    <a:pt x="8306" y="9756"/>
                    <a:pt x="8353" y="9741"/>
                    <a:pt x="8401" y="9727"/>
                  </a:cubicBezTo>
                  <a:lnTo>
                    <a:pt x="8545" y="9683"/>
                  </a:lnTo>
                  <a:lnTo>
                    <a:pt x="8678" y="9598"/>
                  </a:lnTo>
                  <a:cubicBezTo>
                    <a:pt x="8721" y="9564"/>
                    <a:pt x="8765" y="9531"/>
                    <a:pt x="8808" y="9497"/>
                  </a:cubicBezTo>
                  <a:cubicBezTo>
                    <a:pt x="8848" y="9468"/>
                    <a:pt x="8886" y="9439"/>
                    <a:pt x="8926" y="9410"/>
                  </a:cubicBezTo>
                  <a:lnTo>
                    <a:pt x="9056" y="9281"/>
                  </a:lnTo>
                  <a:cubicBezTo>
                    <a:pt x="9105" y="9238"/>
                    <a:pt x="9152" y="9194"/>
                    <a:pt x="9201" y="9151"/>
                  </a:cubicBezTo>
                  <a:cubicBezTo>
                    <a:pt x="9240" y="9103"/>
                    <a:pt x="9280" y="9056"/>
                    <a:pt x="9319" y="9008"/>
                  </a:cubicBezTo>
                  <a:cubicBezTo>
                    <a:pt x="9397" y="8897"/>
                    <a:pt x="9476" y="8787"/>
                    <a:pt x="9554" y="8676"/>
                  </a:cubicBezTo>
                  <a:cubicBezTo>
                    <a:pt x="9633" y="8552"/>
                    <a:pt x="9711" y="8427"/>
                    <a:pt x="9791" y="8303"/>
                  </a:cubicBezTo>
                  <a:cubicBezTo>
                    <a:pt x="9860" y="8168"/>
                    <a:pt x="9930" y="8034"/>
                    <a:pt x="10000" y="7900"/>
                  </a:cubicBezTo>
                  <a:lnTo>
                    <a:pt x="10302" y="8346"/>
                  </a:lnTo>
                  <a:lnTo>
                    <a:pt x="10590" y="8763"/>
                  </a:lnTo>
                  <a:cubicBezTo>
                    <a:pt x="10498" y="8858"/>
                    <a:pt x="10407" y="8955"/>
                    <a:pt x="10315" y="9051"/>
                  </a:cubicBezTo>
                  <a:lnTo>
                    <a:pt x="10040" y="9310"/>
                  </a:lnTo>
                  <a:lnTo>
                    <a:pt x="9724" y="9539"/>
                  </a:lnTo>
                  <a:cubicBezTo>
                    <a:pt x="9677" y="9569"/>
                    <a:pt x="9628" y="9597"/>
                    <a:pt x="9581" y="9626"/>
                  </a:cubicBezTo>
                  <a:cubicBezTo>
                    <a:pt x="9525" y="9660"/>
                    <a:pt x="9467" y="9693"/>
                    <a:pt x="9411" y="9727"/>
                  </a:cubicBezTo>
                  <a:lnTo>
                    <a:pt x="9241" y="9813"/>
                  </a:lnTo>
                  <a:lnTo>
                    <a:pt x="9083" y="9870"/>
                  </a:lnTo>
                  <a:lnTo>
                    <a:pt x="8900" y="9942"/>
                  </a:lnTo>
                  <a:lnTo>
                    <a:pt x="8730" y="9986"/>
                  </a:lnTo>
                  <a:lnTo>
                    <a:pt x="8545" y="10015"/>
                  </a:lnTo>
                  <a:lnTo>
                    <a:pt x="8362" y="10043"/>
                  </a:lnTo>
                  <a:lnTo>
                    <a:pt x="8165" y="10072"/>
                  </a:lnTo>
                  <a:lnTo>
                    <a:pt x="7956" y="10072"/>
                  </a:lnTo>
                  <a:lnTo>
                    <a:pt x="7747" y="10072"/>
                  </a:lnTo>
                  <a:lnTo>
                    <a:pt x="7550" y="10029"/>
                  </a:lnTo>
                  <a:lnTo>
                    <a:pt x="7340" y="10001"/>
                  </a:lnTo>
                  <a:lnTo>
                    <a:pt x="7143" y="9958"/>
                  </a:lnTo>
                  <a:lnTo>
                    <a:pt x="6960" y="9884"/>
                  </a:lnTo>
                  <a:lnTo>
                    <a:pt x="6776" y="9827"/>
                  </a:lnTo>
                  <a:lnTo>
                    <a:pt x="6606" y="9727"/>
                  </a:lnTo>
                  <a:lnTo>
                    <a:pt x="6423" y="9626"/>
                  </a:lnTo>
                  <a:lnTo>
                    <a:pt x="6265" y="9539"/>
                  </a:lnTo>
                  <a:lnTo>
                    <a:pt x="6081" y="9410"/>
                  </a:lnTo>
                  <a:lnTo>
                    <a:pt x="5937" y="9296"/>
                  </a:lnTo>
                  <a:cubicBezTo>
                    <a:pt x="5884" y="9248"/>
                    <a:pt x="5833" y="9199"/>
                    <a:pt x="5781" y="9151"/>
                  </a:cubicBezTo>
                  <a:lnTo>
                    <a:pt x="5479" y="8849"/>
                  </a:lnTo>
                  <a:lnTo>
                    <a:pt x="5204" y="8518"/>
                  </a:lnTo>
                  <a:lnTo>
                    <a:pt x="4943" y="8158"/>
                  </a:lnTo>
                  <a:cubicBezTo>
                    <a:pt x="4860" y="8028"/>
                    <a:pt x="4775" y="7899"/>
                    <a:pt x="4692" y="7769"/>
                  </a:cubicBezTo>
                  <a:cubicBezTo>
                    <a:pt x="4609" y="7636"/>
                    <a:pt x="4527" y="7501"/>
                    <a:pt x="4444" y="7367"/>
                  </a:cubicBezTo>
                  <a:lnTo>
                    <a:pt x="4221" y="6950"/>
                  </a:lnTo>
                  <a:lnTo>
                    <a:pt x="3999" y="6518"/>
                  </a:lnTo>
                  <a:cubicBezTo>
                    <a:pt x="3928" y="6369"/>
                    <a:pt x="3859" y="6221"/>
                    <a:pt x="3789" y="6072"/>
                  </a:cubicBezTo>
                  <a:lnTo>
                    <a:pt x="3382" y="5166"/>
                  </a:lnTo>
                  <a:lnTo>
                    <a:pt x="2622" y="3382"/>
                  </a:lnTo>
                  <a:cubicBezTo>
                    <a:pt x="2566" y="3232"/>
                    <a:pt x="2509" y="3085"/>
                    <a:pt x="2452" y="2935"/>
                  </a:cubicBezTo>
                  <a:cubicBezTo>
                    <a:pt x="2387" y="2801"/>
                    <a:pt x="2321" y="2667"/>
                    <a:pt x="2254" y="2532"/>
                  </a:cubicBezTo>
                  <a:cubicBezTo>
                    <a:pt x="2193" y="2413"/>
                    <a:pt x="2133" y="2293"/>
                    <a:pt x="2071" y="2173"/>
                  </a:cubicBezTo>
                  <a:cubicBezTo>
                    <a:pt x="2006" y="2048"/>
                    <a:pt x="1939" y="1924"/>
                    <a:pt x="1874" y="1799"/>
                  </a:cubicBezTo>
                  <a:lnTo>
                    <a:pt x="1679" y="1468"/>
                  </a:lnTo>
                  <a:lnTo>
                    <a:pt x="1482" y="1180"/>
                  </a:lnTo>
                  <a:lnTo>
                    <a:pt x="1273" y="908"/>
                  </a:lnTo>
                  <a:lnTo>
                    <a:pt x="1063" y="706"/>
                  </a:lnTo>
                  <a:cubicBezTo>
                    <a:pt x="1024" y="673"/>
                    <a:pt x="984" y="638"/>
                    <a:pt x="944" y="605"/>
                  </a:cubicBezTo>
                  <a:cubicBezTo>
                    <a:pt x="905" y="572"/>
                    <a:pt x="866" y="537"/>
                    <a:pt x="827" y="504"/>
                  </a:cubicBezTo>
                  <a:lnTo>
                    <a:pt x="708" y="447"/>
                  </a:lnTo>
                  <a:cubicBezTo>
                    <a:pt x="668" y="423"/>
                    <a:pt x="377" y="435"/>
                    <a:pt x="337" y="411"/>
                  </a:cubicBezTo>
                  <a:cubicBezTo>
                    <a:pt x="372" y="310"/>
                    <a:pt x="-32" y="101"/>
                    <a:pt x="3" y="0"/>
                  </a:cubicBezTo>
                  <a:lnTo>
                    <a:pt x="892" y="115"/>
                  </a:lnTo>
                  <a:lnTo>
                    <a:pt x="1076" y="187"/>
                  </a:lnTo>
                  <a:lnTo>
                    <a:pt x="1259" y="260"/>
                  </a:lnTo>
                  <a:cubicBezTo>
                    <a:pt x="1315" y="289"/>
                    <a:pt x="1373" y="317"/>
                    <a:pt x="1429" y="346"/>
                  </a:cubicBezTo>
                  <a:lnTo>
                    <a:pt x="1613" y="447"/>
                  </a:lnTo>
                  <a:lnTo>
                    <a:pt x="1771" y="533"/>
                  </a:lnTo>
                  <a:lnTo>
                    <a:pt x="1927" y="662"/>
                  </a:lnTo>
                  <a:cubicBezTo>
                    <a:pt x="1984" y="705"/>
                    <a:pt x="2040" y="749"/>
                    <a:pt x="2097" y="792"/>
                  </a:cubicBezTo>
                  <a:lnTo>
                    <a:pt x="2254" y="922"/>
                  </a:lnTo>
                  <a:lnTo>
                    <a:pt x="2557" y="1209"/>
                  </a:lnTo>
                  <a:lnTo>
                    <a:pt x="2832" y="1554"/>
                  </a:lnTo>
                  <a:lnTo>
                    <a:pt x="3093" y="1914"/>
                  </a:lnTo>
                  <a:cubicBezTo>
                    <a:pt x="3176" y="2044"/>
                    <a:pt x="3260" y="2173"/>
                    <a:pt x="3343" y="2303"/>
                  </a:cubicBezTo>
                  <a:lnTo>
                    <a:pt x="3592" y="2706"/>
                  </a:lnTo>
                  <a:lnTo>
                    <a:pt x="3815" y="3123"/>
                  </a:lnTo>
                  <a:cubicBezTo>
                    <a:pt x="3894" y="3266"/>
                    <a:pt x="3972" y="3411"/>
                    <a:pt x="4051" y="3555"/>
                  </a:cubicBezTo>
                  <a:cubicBezTo>
                    <a:pt x="4120" y="3703"/>
                    <a:pt x="4191" y="3852"/>
                    <a:pt x="4260" y="3999"/>
                  </a:cubicBezTo>
                  <a:lnTo>
                    <a:pt x="4652" y="4906"/>
                  </a:lnTo>
                  <a:lnTo>
                    <a:pt x="5426" y="6705"/>
                  </a:lnTo>
                  <a:cubicBezTo>
                    <a:pt x="5549" y="6983"/>
                    <a:pt x="5671" y="7262"/>
                    <a:pt x="5793" y="7540"/>
                  </a:cubicBezTo>
                  <a:lnTo>
                    <a:pt x="5989" y="7900"/>
                  </a:lnTo>
                  <a:cubicBezTo>
                    <a:pt x="6050" y="8024"/>
                    <a:pt x="6113" y="8149"/>
                    <a:pt x="6175" y="8273"/>
                  </a:cubicBezTo>
                  <a:cubicBezTo>
                    <a:pt x="6244" y="8384"/>
                    <a:pt x="6314" y="8493"/>
                    <a:pt x="6383" y="8605"/>
                  </a:cubicBezTo>
                  <a:cubicBezTo>
                    <a:pt x="6448" y="8701"/>
                    <a:pt x="6515" y="8797"/>
                    <a:pt x="6580" y="8893"/>
                  </a:cubicBezTo>
                  <a:cubicBezTo>
                    <a:pt x="6645" y="8984"/>
                    <a:pt x="6711" y="9074"/>
                    <a:pt x="6776" y="9165"/>
                  </a:cubicBezTo>
                  <a:lnTo>
                    <a:pt x="6998" y="9367"/>
                  </a:lnTo>
                  <a:cubicBezTo>
                    <a:pt x="7038" y="9400"/>
                    <a:pt x="7078" y="9434"/>
                    <a:pt x="7117" y="9467"/>
                  </a:cubicBezTo>
                  <a:lnTo>
                    <a:pt x="7221" y="9569"/>
                  </a:lnTo>
                  <a:lnTo>
                    <a:pt x="7340" y="9626"/>
                  </a:lnTo>
                  <a:lnTo>
                    <a:pt x="7459" y="9698"/>
                  </a:lnTo>
                  <a:lnTo>
                    <a:pt x="7576" y="9741"/>
                  </a:lnTo>
                  <a:lnTo>
                    <a:pt x="7707" y="9770"/>
                  </a:lnTo>
                  <a:lnTo>
                    <a:pt x="7839" y="9813"/>
                  </a:lnTo>
                  <a:lnTo>
                    <a:pt x="7956" y="98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896E05FA-D5D9-43C5-BC84-B8F1AC467159}"/>
                </a:ext>
              </a:extLst>
            </p:cNvPr>
            <p:cNvGrpSpPr/>
            <p:nvPr/>
          </p:nvGrpSpPr>
          <p:grpSpPr>
            <a:xfrm>
              <a:off x="-2818333" y="2711346"/>
              <a:ext cx="514765" cy="636939"/>
              <a:chOff x="-1864887" y="743223"/>
              <a:chExt cx="274422" cy="481656"/>
            </a:xfrm>
          </p:grpSpPr>
          <p:sp>
            <p:nvSpPr>
              <p:cNvPr id="334" name="Rectangle 4098">
                <a:extLst>
                  <a:ext uri="{FF2B5EF4-FFF2-40B4-BE49-F238E27FC236}">
                    <a16:creationId xmlns:a16="http://schemas.microsoft.com/office/drawing/2014/main" id="{88CABFA2-DED6-4731-8E3F-41078A265361}"/>
                  </a:ext>
                </a:extLst>
              </p:cNvPr>
              <p:cNvSpPr/>
              <p:nvPr/>
            </p:nvSpPr>
            <p:spPr bwMode="auto">
              <a:xfrm rot="21439255">
                <a:off x="-1793585" y="965639"/>
                <a:ext cx="49068" cy="25610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47960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47960 h 433592"/>
                  <a:gd name="connsiteX0" fmla="*/ 0 w 55252"/>
                  <a:gd name="connsiteY0" fmla="*/ 150179 h 433592"/>
                  <a:gd name="connsiteX1" fmla="*/ 55252 w 55252"/>
                  <a:gd name="connsiteY1" fmla="*/ 0 h 433592"/>
                  <a:gd name="connsiteX2" fmla="*/ 55252 w 55252"/>
                  <a:gd name="connsiteY2" fmla="*/ 431211 h 433592"/>
                  <a:gd name="connsiteX3" fmla="*/ 14296 w 55252"/>
                  <a:gd name="connsiteY3" fmla="*/ 433592 h 433592"/>
                  <a:gd name="connsiteX4" fmla="*/ 0 w 55252"/>
                  <a:gd name="connsiteY4" fmla="*/ 150179 h 433592"/>
                  <a:gd name="connsiteX0" fmla="*/ 0 w 55252"/>
                  <a:gd name="connsiteY0" fmla="*/ 12497 h 295910"/>
                  <a:gd name="connsiteX1" fmla="*/ 36670 w 55252"/>
                  <a:gd name="connsiteY1" fmla="*/ 0 h 295910"/>
                  <a:gd name="connsiteX2" fmla="*/ 55252 w 55252"/>
                  <a:gd name="connsiteY2" fmla="*/ 293529 h 295910"/>
                  <a:gd name="connsiteX3" fmla="*/ 14296 w 55252"/>
                  <a:gd name="connsiteY3" fmla="*/ 295910 h 295910"/>
                  <a:gd name="connsiteX4" fmla="*/ 0 w 55252"/>
                  <a:gd name="connsiteY4" fmla="*/ 12497 h 295910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  <a:gd name="connsiteX0" fmla="*/ 0 w 55252"/>
                  <a:gd name="connsiteY0" fmla="*/ 12497 h 296691"/>
                  <a:gd name="connsiteX1" fmla="*/ 36670 w 55252"/>
                  <a:gd name="connsiteY1" fmla="*/ 0 h 296691"/>
                  <a:gd name="connsiteX2" fmla="*/ 55252 w 55252"/>
                  <a:gd name="connsiteY2" fmla="*/ 293529 h 296691"/>
                  <a:gd name="connsiteX3" fmla="*/ 25719 w 55252"/>
                  <a:gd name="connsiteY3" fmla="*/ 296691 h 296691"/>
                  <a:gd name="connsiteX4" fmla="*/ 0 w 55252"/>
                  <a:gd name="connsiteY4" fmla="*/ 12497 h 29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52" h="296691">
                    <a:moveTo>
                      <a:pt x="0" y="12497"/>
                    </a:moveTo>
                    <a:lnTo>
                      <a:pt x="36670" y="0"/>
                    </a:lnTo>
                    <a:lnTo>
                      <a:pt x="55252" y="293529"/>
                    </a:lnTo>
                    <a:lnTo>
                      <a:pt x="25719" y="296691"/>
                    </a:lnTo>
                    <a:cubicBezTo>
                      <a:pt x="15690" y="170826"/>
                      <a:pt x="23106" y="176845"/>
                      <a:pt x="0" y="124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5" name="Rectangle 68">
                <a:extLst>
                  <a:ext uri="{FF2B5EF4-FFF2-40B4-BE49-F238E27FC236}">
                    <a16:creationId xmlns:a16="http://schemas.microsoft.com/office/drawing/2014/main" id="{14941083-D587-4344-A09A-412C895C0769}"/>
                  </a:ext>
                </a:extLst>
              </p:cNvPr>
              <p:cNvSpPr/>
              <p:nvPr/>
            </p:nvSpPr>
            <p:spPr bwMode="auto">
              <a:xfrm rot="255432">
                <a:off x="-1703766" y="893354"/>
                <a:ext cx="37845" cy="278697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77214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77214 h 431211"/>
                  <a:gd name="connsiteX0" fmla="*/ 0 w 44132"/>
                  <a:gd name="connsiteY0" fmla="*/ 24384 h 378381"/>
                  <a:gd name="connsiteX1" fmla="*/ 44132 w 44132"/>
                  <a:gd name="connsiteY1" fmla="*/ 0 h 378381"/>
                  <a:gd name="connsiteX2" fmla="*/ 38575 w 44132"/>
                  <a:gd name="connsiteY2" fmla="*/ 349806 h 378381"/>
                  <a:gd name="connsiteX3" fmla="*/ 0 w 44132"/>
                  <a:gd name="connsiteY3" fmla="*/ 378381 h 378381"/>
                  <a:gd name="connsiteX4" fmla="*/ 0 w 44132"/>
                  <a:gd name="connsiteY4" fmla="*/ 24384 h 378381"/>
                  <a:gd name="connsiteX0" fmla="*/ 0 w 50479"/>
                  <a:gd name="connsiteY0" fmla="*/ 0 h 353997"/>
                  <a:gd name="connsiteX1" fmla="*/ 50479 w 50479"/>
                  <a:gd name="connsiteY1" fmla="*/ 48766 h 353997"/>
                  <a:gd name="connsiteX2" fmla="*/ 38575 w 50479"/>
                  <a:gd name="connsiteY2" fmla="*/ 325422 h 353997"/>
                  <a:gd name="connsiteX3" fmla="*/ 0 w 50479"/>
                  <a:gd name="connsiteY3" fmla="*/ 353997 h 353997"/>
                  <a:gd name="connsiteX4" fmla="*/ 0 w 50479"/>
                  <a:gd name="connsiteY4" fmla="*/ 0 h 353997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38575 w 50479"/>
                  <a:gd name="connsiteY2" fmla="*/ 276656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18288 h 305231"/>
                  <a:gd name="connsiteX1" fmla="*/ 50479 w 50479"/>
                  <a:gd name="connsiteY1" fmla="*/ 0 h 305231"/>
                  <a:gd name="connsiteX2" fmla="*/ 44922 w 50479"/>
                  <a:gd name="connsiteY2" fmla="*/ 280720 h 305231"/>
                  <a:gd name="connsiteX3" fmla="*/ 0 w 50479"/>
                  <a:gd name="connsiteY3" fmla="*/ 305231 h 305231"/>
                  <a:gd name="connsiteX4" fmla="*/ 3174 w 50479"/>
                  <a:gd name="connsiteY4" fmla="*/ 18288 h 30523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3174 w 50479"/>
                  <a:gd name="connsiteY0" fmla="*/ 28448 h 315391"/>
                  <a:gd name="connsiteX1" fmla="*/ 50479 w 50479"/>
                  <a:gd name="connsiteY1" fmla="*/ 0 h 315391"/>
                  <a:gd name="connsiteX2" fmla="*/ 44922 w 50479"/>
                  <a:gd name="connsiteY2" fmla="*/ 290880 h 315391"/>
                  <a:gd name="connsiteX3" fmla="*/ 0 w 50479"/>
                  <a:gd name="connsiteY3" fmla="*/ 315391 h 315391"/>
                  <a:gd name="connsiteX4" fmla="*/ 3174 w 50479"/>
                  <a:gd name="connsiteY4" fmla="*/ 28448 h 315391"/>
                  <a:gd name="connsiteX0" fmla="*/ 0 w 47305"/>
                  <a:gd name="connsiteY0" fmla="*/ 28448 h 314486"/>
                  <a:gd name="connsiteX1" fmla="*/ 47305 w 47305"/>
                  <a:gd name="connsiteY1" fmla="*/ 0 h 314486"/>
                  <a:gd name="connsiteX2" fmla="*/ 41748 w 47305"/>
                  <a:gd name="connsiteY2" fmla="*/ 290880 h 314486"/>
                  <a:gd name="connsiteX3" fmla="*/ 6321 w 47305"/>
                  <a:gd name="connsiteY3" fmla="*/ 314486 h 314486"/>
                  <a:gd name="connsiteX4" fmla="*/ 0 w 47305"/>
                  <a:gd name="connsiteY4" fmla="*/ 28448 h 314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305" h="314486">
                    <a:moveTo>
                      <a:pt x="0" y="28448"/>
                    </a:moveTo>
                    <a:lnTo>
                      <a:pt x="47305" y="0"/>
                    </a:lnTo>
                    <a:cubicBezTo>
                      <a:pt x="40693" y="167400"/>
                      <a:pt x="43600" y="174278"/>
                      <a:pt x="41748" y="290880"/>
                    </a:cubicBezTo>
                    <a:lnTo>
                      <a:pt x="6321" y="314486"/>
                    </a:lnTo>
                    <a:lnTo>
                      <a:pt x="0" y="2844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6" name="Rectangle 4098">
                <a:extLst>
                  <a:ext uri="{FF2B5EF4-FFF2-40B4-BE49-F238E27FC236}">
                    <a16:creationId xmlns:a16="http://schemas.microsoft.com/office/drawing/2014/main" id="{C401AC70-1EBF-4A2F-ABBF-7858A0776EEB}"/>
                  </a:ext>
                </a:extLst>
              </p:cNvPr>
              <p:cNvSpPr/>
              <p:nvPr/>
            </p:nvSpPr>
            <p:spPr bwMode="auto">
              <a:xfrm>
                <a:off x="-1864887" y="899800"/>
                <a:ext cx="31498" cy="325079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37636 h 452178"/>
                  <a:gd name="connsiteX1" fmla="*/ 32610 w 41186"/>
                  <a:gd name="connsiteY1" fmla="*/ 0 h 452178"/>
                  <a:gd name="connsiteX2" fmla="*/ 41186 w 41186"/>
                  <a:gd name="connsiteY2" fmla="*/ 452178 h 452178"/>
                  <a:gd name="connsiteX3" fmla="*/ 230 w 41186"/>
                  <a:gd name="connsiteY3" fmla="*/ 429191 h 452178"/>
                  <a:gd name="connsiteX4" fmla="*/ 229 w 41186"/>
                  <a:gd name="connsiteY4" fmla="*/ 37636 h 452178"/>
                  <a:gd name="connsiteX0" fmla="*/ 229 w 32610"/>
                  <a:gd name="connsiteY0" fmla="*/ 37636 h 478388"/>
                  <a:gd name="connsiteX1" fmla="*/ 32610 w 32610"/>
                  <a:gd name="connsiteY1" fmla="*/ 0 h 478388"/>
                  <a:gd name="connsiteX2" fmla="*/ 18315 w 32610"/>
                  <a:gd name="connsiteY2" fmla="*/ 478388 h 478388"/>
                  <a:gd name="connsiteX3" fmla="*/ 230 w 32610"/>
                  <a:gd name="connsiteY3" fmla="*/ 429191 h 478388"/>
                  <a:gd name="connsiteX4" fmla="*/ 229 w 32610"/>
                  <a:gd name="connsiteY4" fmla="*/ 37636 h 478388"/>
                  <a:gd name="connsiteX0" fmla="*/ 229 w 35468"/>
                  <a:gd name="connsiteY0" fmla="*/ 37636 h 473147"/>
                  <a:gd name="connsiteX1" fmla="*/ 32610 w 35468"/>
                  <a:gd name="connsiteY1" fmla="*/ 0 h 473147"/>
                  <a:gd name="connsiteX2" fmla="*/ 35468 w 35468"/>
                  <a:gd name="connsiteY2" fmla="*/ 473147 h 473147"/>
                  <a:gd name="connsiteX3" fmla="*/ 230 w 35468"/>
                  <a:gd name="connsiteY3" fmla="*/ 429191 h 473147"/>
                  <a:gd name="connsiteX4" fmla="*/ 229 w 35468"/>
                  <a:gd name="connsiteY4" fmla="*/ 37636 h 473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468" h="473147">
                    <a:moveTo>
                      <a:pt x="229" y="37636"/>
                    </a:moveTo>
                    <a:lnTo>
                      <a:pt x="32610" y="0"/>
                    </a:lnTo>
                    <a:cubicBezTo>
                      <a:pt x="33563" y="157716"/>
                      <a:pt x="34515" y="315431"/>
                      <a:pt x="35468" y="473147"/>
                    </a:cubicBezTo>
                    <a:lnTo>
                      <a:pt x="230" y="429191"/>
                    </a:lnTo>
                    <a:cubicBezTo>
                      <a:pt x="-564" y="283073"/>
                      <a:pt x="1023" y="183754"/>
                      <a:pt x="229" y="376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7" name="Rectangle 4098">
                <a:extLst>
                  <a:ext uri="{FF2B5EF4-FFF2-40B4-BE49-F238E27FC236}">
                    <a16:creationId xmlns:a16="http://schemas.microsoft.com/office/drawing/2014/main" id="{D1340DBD-0562-491E-9082-EA1CD2885FA3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705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15" name="Group 314">
              <a:extLst>
                <a:ext uri="{FF2B5EF4-FFF2-40B4-BE49-F238E27FC236}">
                  <a16:creationId xmlns:a16="http://schemas.microsoft.com/office/drawing/2014/main" id="{12DA5AF0-2434-4F86-819E-1E95AC07D9EA}"/>
                </a:ext>
              </a:extLst>
            </p:cNvPr>
            <p:cNvGrpSpPr/>
            <p:nvPr/>
          </p:nvGrpSpPr>
          <p:grpSpPr>
            <a:xfrm>
              <a:off x="-1171050" y="2721679"/>
              <a:ext cx="514765" cy="625671"/>
              <a:chOff x="-1864887" y="741508"/>
              <a:chExt cx="274422" cy="473135"/>
            </a:xfrm>
          </p:grpSpPr>
          <p:sp>
            <p:nvSpPr>
              <p:cNvPr id="330" name="Rectangle 4098">
                <a:extLst>
                  <a:ext uri="{FF2B5EF4-FFF2-40B4-BE49-F238E27FC236}">
                    <a16:creationId xmlns:a16="http://schemas.microsoft.com/office/drawing/2014/main" id="{762B380B-42FB-4EF3-9A36-9A298686C6B3}"/>
                  </a:ext>
                </a:extLst>
              </p:cNvPr>
              <p:cNvSpPr/>
              <p:nvPr/>
            </p:nvSpPr>
            <p:spPr bwMode="auto">
              <a:xfrm>
                <a:off x="-1785605" y="781051"/>
                <a:ext cx="36576" cy="433592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3592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33592"/>
                    </a:lnTo>
                    <a:cubicBezTo>
                      <a:pt x="-564" y="287474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1" name="Rectangle 68">
                <a:extLst>
                  <a:ext uri="{FF2B5EF4-FFF2-40B4-BE49-F238E27FC236}">
                    <a16:creationId xmlns:a16="http://schemas.microsoft.com/office/drawing/2014/main" id="{CA7F886D-20BF-40ED-A38F-D28115FB2E87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2" name="Rectangle 4098">
                <a:extLst>
                  <a:ext uri="{FF2B5EF4-FFF2-40B4-BE49-F238E27FC236}">
                    <a16:creationId xmlns:a16="http://schemas.microsoft.com/office/drawing/2014/main" id="{BBBD8FB9-56A2-467D-BE51-3746CECF5267}"/>
                  </a:ext>
                </a:extLst>
              </p:cNvPr>
              <p:cNvSpPr/>
              <p:nvPr/>
            </p:nvSpPr>
            <p:spPr bwMode="auto">
              <a:xfrm>
                <a:off x="-1864887" y="886653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3" name="Rectangle 4098">
                <a:extLst>
                  <a:ext uri="{FF2B5EF4-FFF2-40B4-BE49-F238E27FC236}">
                    <a16:creationId xmlns:a16="http://schemas.microsoft.com/office/drawing/2014/main" id="{7BE1CFDA-7654-4772-B751-5481A7D98F37}"/>
                  </a:ext>
                </a:extLst>
              </p:cNvPr>
              <p:cNvSpPr/>
              <p:nvPr/>
            </p:nvSpPr>
            <p:spPr bwMode="auto">
              <a:xfrm>
                <a:off x="-1627041" y="743223"/>
                <a:ext cx="36576" cy="27482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5017"/>
                  <a:gd name="connsiteX1" fmla="*/ 41186 w 41186"/>
                  <a:gd name="connsiteY1" fmla="*/ 31682 h 465017"/>
                  <a:gd name="connsiteX2" fmla="*/ 41186 w 41186"/>
                  <a:gd name="connsiteY2" fmla="*/ 462893 h 465017"/>
                  <a:gd name="connsiteX3" fmla="*/ 230 w 41186"/>
                  <a:gd name="connsiteY3" fmla="*/ 465017 h 465017"/>
                  <a:gd name="connsiteX4" fmla="*/ 229 w 41186"/>
                  <a:gd name="connsiteY4" fmla="*/ 0 h 46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5017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65017"/>
                    </a:lnTo>
                    <a:cubicBezTo>
                      <a:pt x="-564" y="318899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DA368F3B-5915-4DCC-AEE2-F98641054CF3}"/>
                </a:ext>
              </a:extLst>
            </p:cNvPr>
            <p:cNvGrpSpPr/>
            <p:nvPr/>
          </p:nvGrpSpPr>
          <p:grpSpPr>
            <a:xfrm>
              <a:off x="-3650802" y="2689483"/>
              <a:ext cx="497862" cy="646699"/>
              <a:chOff x="-2308678" y="726690"/>
              <a:chExt cx="265411" cy="489037"/>
            </a:xfrm>
          </p:grpSpPr>
          <p:sp>
            <p:nvSpPr>
              <p:cNvPr id="326" name="Rectangle 4098">
                <a:extLst>
                  <a:ext uri="{FF2B5EF4-FFF2-40B4-BE49-F238E27FC236}">
                    <a16:creationId xmlns:a16="http://schemas.microsoft.com/office/drawing/2014/main" id="{FEED86BC-9777-44A0-9561-C20F16ED85C4}"/>
                  </a:ext>
                </a:extLst>
              </p:cNvPr>
              <p:cNvSpPr/>
              <p:nvPr/>
            </p:nvSpPr>
            <p:spPr bwMode="auto">
              <a:xfrm>
                <a:off x="-2233454" y="726690"/>
                <a:ext cx="36460" cy="45169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51698"/>
                  <a:gd name="connsiteX1" fmla="*/ 41055 w 41055"/>
                  <a:gd name="connsiteY1" fmla="*/ 9525 h 451698"/>
                  <a:gd name="connsiteX2" fmla="*/ 37999 w 41055"/>
                  <a:gd name="connsiteY2" fmla="*/ 451698 h 451698"/>
                  <a:gd name="connsiteX3" fmla="*/ 99 w 41055"/>
                  <a:gd name="connsiteY3" fmla="*/ 424067 h 451698"/>
                  <a:gd name="connsiteX4" fmla="*/ 2779 w 41055"/>
                  <a:gd name="connsiteY4" fmla="*/ 0 h 45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51698">
                    <a:moveTo>
                      <a:pt x="2779" y="0"/>
                    </a:moveTo>
                    <a:lnTo>
                      <a:pt x="41055" y="9525"/>
                    </a:lnTo>
                    <a:cubicBezTo>
                      <a:pt x="40036" y="156916"/>
                      <a:pt x="39018" y="304307"/>
                      <a:pt x="37999" y="451698"/>
                    </a:cubicBez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7" name="Rectangle 68">
                <a:extLst>
                  <a:ext uri="{FF2B5EF4-FFF2-40B4-BE49-F238E27FC236}">
                    <a16:creationId xmlns:a16="http://schemas.microsoft.com/office/drawing/2014/main" id="{852602CD-6990-4BED-BA0F-BEFAFC8F7894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0846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17747">
                    <a:moveTo>
                      <a:pt x="4206" y="0"/>
                    </a:moveTo>
                    <a:lnTo>
                      <a:pt x="35203" y="10794"/>
                    </a:lnTo>
                    <a:lnTo>
                      <a:pt x="34369" y="417747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8" name="Rectangle 4098">
                <a:extLst>
                  <a:ext uri="{FF2B5EF4-FFF2-40B4-BE49-F238E27FC236}">
                    <a16:creationId xmlns:a16="http://schemas.microsoft.com/office/drawing/2014/main" id="{5D4DE991-45CA-4097-9144-54D65E30DA57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9" name="Rectangle 4098">
                <a:extLst>
                  <a:ext uri="{FF2B5EF4-FFF2-40B4-BE49-F238E27FC236}">
                    <a16:creationId xmlns:a16="http://schemas.microsoft.com/office/drawing/2014/main" id="{2C6928ED-2926-4A6B-AC2E-0691A90D64CA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4D69CCD8-DE86-412C-806C-E97BB7229CA3}"/>
                </a:ext>
              </a:extLst>
            </p:cNvPr>
            <p:cNvGrpSpPr/>
            <p:nvPr/>
          </p:nvGrpSpPr>
          <p:grpSpPr>
            <a:xfrm>
              <a:off x="-1998047" y="2695135"/>
              <a:ext cx="497862" cy="657077"/>
              <a:chOff x="-2308678" y="726689"/>
              <a:chExt cx="265411" cy="496885"/>
            </a:xfrm>
          </p:grpSpPr>
          <p:sp>
            <p:nvSpPr>
              <p:cNvPr id="322" name="Rectangle 4098">
                <a:extLst>
                  <a:ext uri="{FF2B5EF4-FFF2-40B4-BE49-F238E27FC236}">
                    <a16:creationId xmlns:a16="http://schemas.microsoft.com/office/drawing/2014/main" id="{A20310A0-461C-446D-9A86-0932643E0B7D}"/>
                  </a:ext>
                </a:extLst>
              </p:cNvPr>
              <p:cNvSpPr/>
              <p:nvPr/>
            </p:nvSpPr>
            <p:spPr bwMode="auto">
              <a:xfrm>
                <a:off x="-2233453" y="726689"/>
                <a:ext cx="36461" cy="47883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376442 h 431211"/>
                  <a:gd name="connsiteX4" fmla="*/ 229 w 41186"/>
                  <a:gd name="connsiteY4" fmla="*/ 16669 h 431211"/>
                  <a:gd name="connsiteX0" fmla="*/ 2779 w 41055"/>
                  <a:gd name="connsiteY0" fmla="*/ 0 h 478836"/>
                  <a:gd name="connsiteX1" fmla="*/ 41055 w 41055"/>
                  <a:gd name="connsiteY1" fmla="*/ 476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  <a:gd name="connsiteX0" fmla="*/ 2779 w 41055"/>
                  <a:gd name="connsiteY0" fmla="*/ 0 h 478836"/>
                  <a:gd name="connsiteX1" fmla="*/ 41055 w 41055"/>
                  <a:gd name="connsiteY1" fmla="*/ 9525 h 478836"/>
                  <a:gd name="connsiteX2" fmla="*/ 41055 w 41055"/>
                  <a:gd name="connsiteY2" fmla="*/ 478836 h 478836"/>
                  <a:gd name="connsiteX3" fmla="*/ 99 w 41055"/>
                  <a:gd name="connsiteY3" fmla="*/ 424067 h 478836"/>
                  <a:gd name="connsiteX4" fmla="*/ 2779 w 41055"/>
                  <a:gd name="connsiteY4" fmla="*/ 0 h 47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55" h="478836">
                    <a:moveTo>
                      <a:pt x="2779" y="0"/>
                    </a:moveTo>
                    <a:lnTo>
                      <a:pt x="41055" y="9525"/>
                    </a:lnTo>
                    <a:lnTo>
                      <a:pt x="41055" y="478836"/>
                    </a:lnTo>
                    <a:lnTo>
                      <a:pt x="99" y="424067"/>
                    </a:lnTo>
                    <a:cubicBezTo>
                      <a:pt x="-695" y="277949"/>
                      <a:pt x="3573" y="146118"/>
                      <a:pt x="2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3" name="Rectangle 68">
                <a:extLst>
                  <a:ext uri="{FF2B5EF4-FFF2-40B4-BE49-F238E27FC236}">
                    <a16:creationId xmlns:a16="http://schemas.microsoft.com/office/drawing/2014/main" id="{AE445BFD-C487-4098-953C-21121BF64632}"/>
                  </a:ext>
                </a:extLst>
              </p:cNvPr>
              <p:cNvSpPr/>
              <p:nvPr/>
            </p:nvSpPr>
            <p:spPr bwMode="auto">
              <a:xfrm>
                <a:off x="-2158346" y="753823"/>
                <a:ext cx="39854" cy="46975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5015"/>
                  <a:gd name="connsiteX1" fmla="*/ 45719 w 45719"/>
                  <a:gd name="connsiteY1" fmla="*/ 0 h 435015"/>
                  <a:gd name="connsiteX2" fmla="*/ 34369 w 45719"/>
                  <a:gd name="connsiteY2" fmla="*/ 435015 h 435015"/>
                  <a:gd name="connsiteX3" fmla="*/ 0 w 45719"/>
                  <a:gd name="connsiteY3" fmla="*/ 431211 h 435015"/>
                  <a:gd name="connsiteX4" fmla="*/ 0 w 45719"/>
                  <a:gd name="connsiteY4" fmla="*/ 0 h 435015"/>
                  <a:gd name="connsiteX0" fmla="*/ 0 w 35203"/>
                  <a:gd name="connsiteY0" fmla="*/ 0 h 435015"/>
                  <a:gd name="connsiteX1" fmla="*/ 35203 w 35203"/>
                  <a:gd name="connsiteY1" fmla="*/ 28062 h 435015"/>
                  <a:gd name="connsiteX2" fmla="*/ 34369 w 35203"/>
                  <a:gd name="connsiteY2" fmla="*/ 435015 h 435015"/>
                  <a:gd name="connsiteX3" fmla="*/ 0 w 35203"/>
                  <a:gd name="connsiteY3" fmla="*/ 431211 h 435015"/>
                  <a:gd name="connsiteX4" fmla="*/ 0 w 35203"/>
                  <a:gd name="connsiteY4" fmla="*/ 0 h 435015"/>
                  <a:gd name="connsiteX0" fmla="*/ 4206 w 35203"/>
                  <a:gd name="connsiteY0" fmla="*/ 0 h 417747"/>
                  <a:gd name="connsiteX1" fmla="*/ 35203 w 35203"/>
                  <a:gd name="connsiteY1" fmla="*/ 10794 h 417747"/>
                  <a:gd name="connsiteX2" fmla="*/ 34369 w 35203"/>
                  <a:gd name="connsiteY2" fmla="*/ 417747 h 417747"/>
                  <a:gd name="connsiteX3" fmla="*/ 0 w 35203"/>
                  <a:gd name="connsiteY3" fmla="*/ 413943 h 417747"/>
                  <a:gd name="connsiteX4" fmla="*/ 4206 w 35203"/>
                  <a:gd name="connsiteY4" fmla="*/ 0 h 417747"/>
                  <a:gd name="connsiteX0" fmla="*/ 4206 w 35203"/>
                  <a:gd name="connsiteY0" fmla="*/ 0 h 425819"/>
                  <a:gd name="connsiteX1" fmla="*/ 35203 w 35203"/>
                  <a:gd name="connsiteY1" fmla="*/ 10794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  <a:gd name="connsiteX0" fmla="*/ 4206 w 35203"/>
                  <a:gd name="connsiteY0" fmla="*/ 0 h 425819"/>
                  <a:gd name="connsiteX1" fmla="*/ 35203 w 35203"/>
                  <a:gd name="connsiteY1" fmla="*/ 20211 h 425819"/>
                  <a:gd name="connsiteX2" fmla="*/ 33058 w 35203"/>
                  <a:gd name="connsiteY2" fmla="*/ 425819 h 425819"/>
                  <a:gd name="connsiteX3" fmla="*/ 0 w 35203"/>
                  <a:gd name="connsiteY3" fmla="*/ 413943 h 425819"/>
                  <a:gd name="connsiteX4" fmla="*/ 4206 w 35203"/>
                  <a:gd name="connsiteY4" fmla="*/ 0 h 42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03" h="425819">
                    <a:moveTo>
                      <a:pt x="4206" y="0"/>
                    </a:moveTo>
                    <a:lnTo>
                      <a:pt x="35203" y="20211"/>
                    </a:lnTo>
                    <a:lnTo>
                      <a:pt x="33058" y="425819"/>
                    </a:lnTo>
                    <a:lnTo>
                      <a:pt x="0" y="413943"/>
                    </a:lnTo>
                    <a:lnTo>
                      <a:pt x="420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4" name="Rectangle 4098">
                <a:extLst>
                  <a:ext uri="{FF2B5EF4-FFF2-40B4-BE49-F238E27FC236}">
                    <a16:creationId xmlns:a16="http://schemas.microsoft.com/office/drawing/2014/main" id="{E2A6B0D7-C6C2-4755-A353-FE834EE0782F}"/>
                  </a:ext>
                </a:extLst>
              </p:cNvPr>
              <p:cNvSpPr/>
              <p:nvPr/>
            </p:nvSpPr>
            <p:spPr bwMode="auto">
              <a:xfrm>
                <a:off x="-2308678" y="741806"/>
                <a:ext cx="36576" cy="323820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31211">
                    <a:moveTo>
                      <a:pt x="229" y="16669"/>
                    </a:moveTo>
                    <a:lnTo>
                      <a:pt x="41186" y="0"/>
                    </a:lnTo>
                    <a:lnTo>
                      <a:pt x="41186" y="431211"/>
                    </a:lnTo>
                    <a:lnTo>
                      <a:pt x="230" y="408224"/>
                    </a:lnTo>
                    <a:cubicBezTo>
                      <a:pt x="-564" y="262106"/>
                      <a:pt x="1023" y="162787"/>
                      <a:pt x="229" y="166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5" name="Rectangle 4098">
                <a:extLst>
                  <a:ext uri="{FF2B5EF4-FFF2-40B4-BE49-F238E27FC236}">
                    <a16:creationId xmlns:a16="http://schemas.microsoft.com/office/drawing/2014/main" id="{E6B74E50-6780-4384-A673-A9791AE9CCC0}"/>
                  </a:ext>
                </a:extLst>
              </p:cNvPr>
              <p:cNvSpPr/>
              <p:nvPr/>
            </p:nvSpPr>
            <p:spPr bwMode="auto">
              <a:xfrm>
                <a:off x="-2079843" y="855554"/>
                <a:ext cx="36576" cy="36017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39906"/>
                  <a:gd name="connsiteX1" fmla="*/ 41186 w 41186"/>
                  <a:gd name="connsiteY1" fmla="*/ 31682 h 439906"/>
                  <a:gd name="connsiteX2" fmla="*/ 39040 w 41186"/>
                  <a:gd name="connsiteY2" fmla="*/ 436080 h 439906"/>
                  <a:gd name="connsiteX3" fmla="*/ 230 w 41186"/>
                  <a:gd name="connsiteY3" fmla="*/ 439906 h 439906"/>
                  <a:gd name="connsiteX4" fmla="*/ 229 w 41186"/>
                  <a:gd name="connsiteY4" fmla="*/ 0 h 439906"/>
                  <a:gd name="connsiteX0" fmla="*/ 229 w 41186"/>
                  <a:gd name="connsiteY0" fmla="*/ 0 h 460015"/>
                  <a:gd name="connsiteX1" fmla="*/ 41186 w 41186"/>
                  <a:gd name="connsiteY1" fmla="*/ 31682 h 460015"/>
                  <a:gd name="connsiteX2" fmla="*/ 39040 w 41186"/>
                  <a:gd name="connsiteY2" fmla="*/ 436080 h 460015"/>
                  <a:gd name="connsiteX3" fmla="*/ 230 w 41186"/>
                  <a:gd name="connsiteY3" fmla="*/ 460015 h 460015"/>
                  <a:gd name="connsiteX4" fmla="*/ 229 w 41186"/>
                  <a:gd name="connsiteY4" fmla="*/ 0 h 460015"/>
                  <a:gd name="connsiteX0" fmla="*/ 2257 w 41068"/>
                  <a:gd name="connsiteY0" fmla="*/ 0 h 506938"/>
                  <a:gd name="connsiteX1" fmla="*/ 41068 w 41068"/>
                  <a:gd name="connsiteY1" fmla="*/ 78605 h 506938"/>
                  <a:gd name="connsiteX2" fmla="*/ 38922 w 41068"/>
                  <a:gd name="connsiteY2" fmla="*/ 483003 h 506938"/>
                  <a:gd name="connsiteX3" fmla="*/ 112 w 41068"/>
                  <a:gd name="connsiteY3" fmla="*/ 506938 h 506938"/>
                  <a:gd name="connsiteX4" fmla="*/ 2257 w 41068"/>
                  <a:gd name="connsiteY4" fmla="*/ 0 h 50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068" h="506938">
                    <a:moveTo>
                      <a:pt x="2257" y="0"/>
                    </a:moveTo>
                    <a:lnTo>
                      <a:pt x="41068" y="78605"/>
                    </a:lnTo>
                    <a:cubicBezTo>
                      <a:pt x="40353" y="213404"/>
                      <a:pt x="39637" y="348204"/>
                      <a:pt x="38922" y="483003"/>
                    </a:cubicBezTo>
                    <a:lnTo>
                      <a:pt x="112" y="506938"/>
                    </a:lnTo>
                    <a:cubicBezTo>
                      <a:pt x="-682" y="360820"/>
                      <a:pt x="3051" y="146118"/>
                      <a:pt x="225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8" name="Rectangle 4098">
              <a:extLst>
                <a:ext uri="{FF2B5EF4-FFF2-40B4-BE49-F238E27FC236}">
                  <a16:creationId xmlns:a16="http://schemas.microsoft.com/office/drawing/2014/main" id="{F35DF394-B04E-4A4C-87BF-9D63D0593981}"/>
                </a:ext>
              </a:extLst>
            </p:cNvPr>
            <p:cNvSpPr/>
            <p:nvPr/>
          </p:nvSpPr>
          <p:spPr bwMode="auto">
            <a:xfrm>
              <a:off x="-363666" y="2728813"/>
              <a:ext cx="68610" cy="428217"/>
            </a:xfrm>
            <a:custGeom>
              <a:avLst/>
              <a:gdLst>
                <a:gd name="connsiteX0" fmla="*/ 0 w 45719"/>
                <a:gd name="connsiteY0" fmla="*/ 0 h 431211"/>
                <a:gd name="connsiteX1" fmla="*/ 45719 w 45719"/>
                <a:gd name="connsiteY1" fmla="*/ 0 h 431211"/>
                <a:gd name="connsiteX2" fmla="*/ 45719 w 45719"/>
                <a:gd name="connsiteY2" fmla="*/ 431211 h 431211"/>
                <a:gd name="connsiteX3" fmla="*/ 0 w 45719"/>
                <a:gd name="connsiteY3" fmla="*/ 431211 h 431211"/>
                <a:gd name="connsiteX4" fmla="*/ 0 w 45719"/>
                <a:gd name="connsiteY4" fmla="*/ 0 h 431211"/>
                <a:gd name="connsiteX0" fmla="*/ 0 w 45719"/>
                <a:gd name="connsiteY0" fmla="*/ 0 h 438354"/>
                <a:gd name="connsiteX1" fmla="*/ 45719 w 45719"/>
                <a:gd name="connsiteY1" fmla="*/ 0 h 438354"/>
                <a:gd name="connsiteX2" fmla="*/ 45719 w 45719"/>
                <a:gd name="connsiteY2" fmla="*/ 431211 h 438354"/>
                <a:gd name="connsiteX3" fmla="*/ 2381 w 45719"/>
                <a:gd name="connsiteY3" fmla="*/ 438354 h 438354"/>
                <a:gd name="connsiteX4" fmla="*/ 0 w 45719"/>
                <a:gd name="connsiteY4" fmla="*/ 0 h 438354"/>
                <a:gd name="connsiteX0" fmla="*/ 2487 w 43444"/>
                <a:gd name="connsiteY0" fmla="*/ 16669 h 438354"/>
                <a:gd name="connsiteX1" fmla="*/ 43444 w 43444"/>
                <a:gd name="connsiteY1" fmla="*/ 0 h 438354"/>
                <a:gd name="connsiteX2" fmla="*/ 43444 w 43444"/>
                <a:gd name="connsiteY2" fmla="*/ 431211 h 438354"/>
                <a:gd name="connsiteX3" fmla="*/ 106 w 43444"/>
                <a:gd name="connsiteY3" fmla="*/ 438354 h 438354"/>
                <a:gd name="connsiteX4" fmla="*/ 2487 w 43444"/>
                <a:gd name="connsiteY4" fmla="*/ 16669 h 438354"/>
                <a:gd name="connsiteX0" fmla="*/ 229 w 41186"/>
                <a:gd name="connsiteY0" fmla="*/ 16669 h 433592"/>
                <a:gd name="connsiteX1" fmla="*/ 41186 w 41186"/>
                <a:gd name="connsiteY1" fmla="*/ 0 h 433592"/>
                <a:gd name="connsiteX2" fmla="*/ 41186 w 41186"/>
                <a:gd name="connsiteY2" fmla="*/ 431211 h 433592"/>
                <a:gd name="connsiteX3" fmla="*/ 230 w 41186"/>
                <a:gd name="connsiteY3" fmla="*/ 433592 h 433592"/>
                <a:gd name="connsiteX4" fmla="*/ 229 w 41186"/>
                <a:gd name="connsiteY4" fmla="*/ 16669 h 433592"/>
                <a:gd name="connsiteX0" fmla="*/ 229 w 41186"/>
                <a:gd name="connsiteY0" fmla="*/ 16669 h 431211"/>
                <a:gd name="connsiteX1" fmla="*/ 41186 w 41186"/>
                <a:gd name="connsiteY1" fmla="*/ 0 h 431211"/>
                <a:gd name="connsiteX2" fmla="*/ 41186 w 41186"/>
                <a:gd name="connsiteY2" fmla="*/ 431211 h 431211"/>
                <a:gd name="connsiteX3" fmla="*/ 230 w 41186"/>
                <a:gd name="connsiteY3" fmla="*/ 408224 h 431211"/>
                <a:gd name="connsiteX4" fmla="*/ 229 w 41186"/>
                <a:gd name="connsiteY4" fmla="*/ 16669 h 43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86" h="431211">
                  <a:moveTo>
                    <a:pt x="229" y="16669"/>
                  </a:moveTo>
                  <a:lnTo>
                    <a:pt x="41186" y="0"/>
                  </a:lnTo>
                  <a:lnTo>
                    <a:pt x="41186" y="431211"/>
                  </a:lnTo>
                  <a:lnTo>
                    <a:pt x="230" y="408224"/>
                  </a:lnTo>
                  <a:cubicBezTo>
                    <a:pt x="-564" y="262106"/>
                    <a:pt x="1023" y="162787"/>
                    <a:pt x="229" y="166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8A180564-8920-477C-BC6C-CEFF76730895}"/>
                </a:ext>
              </a:extLst>
            </p:cNvPr>
            <p:cNvGrpSpPr/>
            <p:nvPr/>
          </p:nvGrpSpPr>
          <p:grpSpPr>
            <a:xfrm>
              <a:off x="-4173623" y="2693849"/>
              <a:ext cx="200177" cy="570231"/>
              <a:chOff x="-1706323" y="741508"/>
              <a:chExt cx="106715" cy="431211"/>
            </a:xfrm>
          </p:grpSpPr>
          <p:sp>
            <p:nvSpPr>
              <p:cNvPr id="320" name="Rectangle 68">
                <a:extLst>
                  <a:ext uri="{FF2B5EF4-FFF2-40B4-BE49-F238E27FC236}">
                    <a16:creationId xmlns:a16="http://schemas.microsoft.com/office/drawing/2014/main" id="{64C78E87-E925-41F3-9EF0-45C5E22555BE}"/>
                  </a:ext>
                </a:extLst>
              </p:cNvPr>
              <p:cNvSpPr/>
              <p:nvPr/>
            </p:nvSpPr>
            <p:spPr bwMode="auto">
              <a:xfrm>
                <a:off x="-1706323" y="741508"/>
                <a:ext cx="36576" cy="431211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38575 w 45719"/>
                  <a:gd name="connsiteY2" fmla="*/ 402636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19" h="431211">
                    <a:moveTo>
                      <a:pt x="0" y="0"/>
                    </a:moveTo>
                    <a:lnTo>
                      <a:pt x="45719" y="0"/>
                    </a:lnTo>
                    <a:lnTo>
                      <a:pt x="38575" y="402636"/>
                    </a:lnTo>
                    <a:lnTo>
                      <a:pt x="0" y="431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1" name="Rectangle 4098">
                <a:extLst>
                  <a:ext uri="{FF2B5EF4-FFF2-40B4-BE49-F238E27FC236}">
                    <a16:creationId xmlns:a16="http://schemas.microsoft.com/office/drawing/2014/main" id="{974F5D57-880E-4A83-87ED-5602BD3670AD}"/>
                  </a:ext>
                </a:extLst>
              </p:cNvPr>
              <p:cNvSpPr/>
              <p:nvPr/>
            </p:nvSpPr>
            <p:spPr bwMode="auto">
              <a:xfrm>
                <a:off x="-1636184" y="743223"/>
                <a:ext cx="36576" cy="316043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2893">
                    <a:moveTo>
                      <a:pt x="229" y="0"/>
                    </a:moveTo>
                    <a:lnTo>
                      <a:pt x="41186" y="31682"/>
                    </a:lnTo>
                    <a:lnTo>
                      <a:pt x="41186" y="462893"/>
                    </a:lnTo>
                    <a:lnTo>
                      <a:pt x="230" y="439906"/>
                    </a:lnTo>
                    <a:cubicBezTo>
                      <a:pt x="-564" y="293788"/>
                      <a:pt x="1023" y="146118"/>
                      <a:pt x="2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338" name="Straight Arrow Connector 337">
            <a:extLst>
              <a:ext uri="{FF2B5EF4-FFF2-40B4-BE49-F238E27FC236}">
                <a16:creationId xmlns:a16="http://schemas.microsoft.com/office/drawing/2014/main" id="{34ECE022-546F-4E10-A06B-EE36BA4FB836}"/>
              </a:ext>
            </a:extLst>
          </p:cNvPr>
          <p:cNvCxnSpPr/>
          <p:nvPr/>
        </p:nvCxnSpPr>
        <p:spPr bwMode="auto">
          <a:xfrm>
            <a:off x="2530758" y="5063021"/>
            <a:ext cx="933099" cy="473941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39" name="Straight Arrow Connector 338">
            <a:extLst>
              <a:ext uri="{FF2B5EF4-FFF2-40B4-BE49-F238E27FC236}">
                <a16:creationId xmlns:a16="http://schemas.microsoft.com/office/drawing/2014/main" id="{5B7F8B18-0E9A-40B5-A4C1-7A46B5714F6A}"/>
              </a:ext>
            </a:extLst>
          </p:cNvPr>
          <p:cNvCxnSpPr/>
          <p:nvPr/>
        </p:nvCxnSpPr>
        <p:spPr bwMode="auto">
          <a:xfrm>
            <a:off x="5526153" y="5978341"/>
            <a:ext cx="1392585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0" name="Freeform: Shape 339">
            <a:extLst>
              <a:ext uri="{FF2B5EF4-FFF2-40B4-BE49-F238E27FC236}">
                <a16:creationId xmlns:a16="http://schemas.microsoft.com/office/drawing/2014/main" id="{260469CE-AEB8-433F-A59B-1A89142DC046}"/>
              </a:ext>
            </a:extLst>
          </p:cNvPr>
          <p:cNvSpPr/>
          <p:nvPr/>
        </p:nvSpPr>
        <p:spPr bwMode="auto">
          <a:xfrm>
            <a:off x="5632016" y="5584085"/>
            <a:ext cx="1025626" cy="300087"/>
          </a:xfrm>
          <a:custGeom>
            <a:avLst/>
            <a:gdLst>
              <a:gd name="connsiteX0" fmla="*/ 0 w 785191"/>
              <a:gd name="connsiteY0" fmla="*/ 0 h 159026"/>
              <a:gd name="connsiteX1" fmla="*/ 785191 w 785191"/>
              <a:gd name="connsiteY1" fmla="*/ 159026 h 159026"/>
              <a:gd name="connsiteX0" fmla="*/ 0 w 785191"/>
              <a:gd name="connsiteY0" fmla="*/ 0 h 240870"/>
              <a:gd name="connsiteX1" fmla="*/ 785191 w 785191"/>
              <a:gd name="connsiteY1" fmla="*/ 159026 h 240870"/>
              <a:gd name="connsiteX0" fmla="*/ 3468 w 788659"/>
              <a:gd name="connsiteY0" fmla="*/ 0 h 300087"/>
              <a:gd name="connsiteX1" fmla="*/ 788659 w 788659"/>
              <a:gd name="connsiteY1" fmla="*/ 159026 h 3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88659" h="300087">
                <a:moveTo>
                  <a:pt x="3468" y="0"/>
                </a:moveTo>
                <a:cubicBezTo>
                  <a:pt x="-23037" y="331304"/>
                  <a:pt x="89607" y="394252"/>
                  <a:pt x="788659" y="159026"/>
                </a:cubicBezTo>
              </a:path>
            </a:pathLst>
          </a:custGeom>
          <a:noFill/>
          <a:ln w="28575">
            <a:solidFill>
              <a:schemeClr val="bg1"/>
            </a:solidFill>
            <a:miter lim="800000"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010CEDB6-79CB-42C9-9455-B1D9EAC1A160}"/>
              </a:ext>
            </a:extLst>
          </p:cNvPr>
          <p:cNvSpPr txBox="1"/>
          <p:nvPr/>
        </p:nvSpPr>
        <p:spPr>
          <a:xfrm>
            <a:off x="916333" y="4853247"/>
            <a:ext cx="1435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NA damage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5EE0A00B-0344-4027-84F6-CE879839DD50}"/>
              </a:ext>
            </a:extLst>
          </p:cNvPr>
          <p:cNvSpPr txBox="1"/>
          <p:nvPr/>
        </p:nvSpPr>
        <p:spPr>
          <a:xfrm>
            <a:off x="5374148" y="5192507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NAD+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A02F6580-42B3-44F9-BB40-A1443E30D7F5}"/>
              </a:ext>
            </a:extLst>
          </p:cNvPr>
          <p:cNvSpPr txBox="1"/>
          <p:nvPr/>
        </p:nvSpPr>
        <p:spPr>
          <a:xfrm>
            <a:off x="6500188" y="5099676"/>
            <a:ext cx="15204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Nicotinamid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pADPr</a:t>
            </a:r>
          </a:p>
        </p:txBody>
      </p:sp>
      <p:sp>
        <p:nvSpPr>
          <p:cNvPr id="344" name="Oval 6">
            <a:extLst>
              <a:ext uri="{FF2B5EF4-FFF2-40B4-BE49-F238E27FC236}">
                <a16:creationId xmlns:a16="http://schemas.microsoft.com/office/drawing/2014/main" id="{B9F39414-78E7-4C3D-842B-B986FFA0B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2987" y="5166626"/>
            <a:ext cx="587375" cy="285750"/>
          </a:xfrm>
          <a:prstGeom prst="ellipse">
            <a:avLst/>
          </a:prstGeom>
          <a:solidFill>
            <a:schemeClr val="bg2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g3</a:t>
            </a:r>
          </a:p>
        </p:txBody>
      </p:sp>
      <p:sp>
        <p:nvSpPr>
          <p:cNvPr id="345" name="Oval 7">
            <a:extLst>
              <a:ext uri="{FF2B5EF4-FFF2-40B4-BE49-F238E27FC236}">
                <a16:creationId xmlns:a16="http://schemas.microsoft.com/office/drawing/2014/main" id="{F81FBA3E-1A99-4EC0-9E87-6F4CBE010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1926" y="5180823"/>
            <a:ext cx="689213" cy="338438"/>
          </a:xfrm>
          <a:prstGeom prst="ellipse">
            <a:avLst/>
          </a:prstGeom>
          <a:solidFill>
            <a:schemeClr val="accent1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XRCC1</a:t>
            </a:r>
          </a:p>
        </p:txBody>
      </p:sp>
      <p:sp>
        <p:nvSpPr>
          <p:cNvPr id="346" name="Oval 9">
            <a:extLst>
              <a:ext uri="{FF2B5EF4-FFF2-40B4-BE49-F238E27FC236}">
                <a16:creationId xmlns:a16="http://schemas.microsoft.com/office/drawing/2014/main" id="{83858E0B-A84E-4784-98A5-549158DAAB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2024" y="5569852"/>
            <a:ext cx="574675" cy="358775"/>
          </a:xfrm>
          <a:prstGeom prst="ellipse">
            <a:avLst/>
          </a:prstGeom>
          <a:solidFill>
            <a:schemeClr val="accent6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7" name="Text Box 10">
            <a:extLst>
              <a:ext uri="{FF2B5EF4-FFF2-40B4-BE49-F238E27FC236}">
                <a16:creationId xmlns:a16="http://schemas.microsoft.com/office/drawing/2014/main" id="{13831F13-7E60-4EA8-97BF-5AE543EA8F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0337" y="5641809"/>
            <a:ext cx="470706" cy="250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β</a:t>
            </a:r>
          </a:p>
        </p:txBody>
      </p:sp>
      <p:sp>
        <p:nvSpPr>
          <p:cNvPr id="348" name="Line 11">
            <a:extLst>
              <a:ext uri="{FF2B5EF4-FFF2-40B4-BE49-F238E27FC236}">
                <a16:creationId xmlns:a16="http://schemas.microsoft.com/office/drawing/2014/main" id="{2C9FA564-EC60-407D-955B-0158ADB357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9473" y="5960376"/>
            <a:ext cx="368300" cy="0"/>
          </a:xfrm>
          <a:prstGeom prst="line">
            <a:avLst/>
          </a:prstGeom>
          <a:noFill/>
          <a:ln w="28575">
            <a:solidFill>
              <a:srgbClr val="FF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9" name="Oval 13">
            <a:extLst>
              <a:ext uri="{FF2B5EF4-FFF2-40B4-BE49-F238E27FC236}">
                <a16:creationId xmlns:a16="http://schemas.microsoft.com/office/drawing/2014/main" id="{D41A61E6-2157-47D1-A9CB-BBDAFB77A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5462" y="5477777"/>
            <a:ext cx="574675" cy="358775"/>
          </a:xfrm>
          <a:prstGeom prst="ellipse">
            <a:avLst/>
          </a:prstGeom>
          <a:solidFill>
            <a:schemeClr val="accent4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50" name="Rectangle 14">
            <a:extLst>
              <a:ext uri="{FF2B5EF4-FFF2-40B4-BE49-F238E27FC236}">
                <a16:creationId xmlns:a16="http://schemas.microsoft.com/office/drawing/2014/main" id="{B0A58993-2E53-4179-AB05-C44142AA57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9491" y="5552940"/>
            <a:ext cx="452368" cy="250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NK</a:t>
            </a: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D6379BE5-17BA-4617-89FC-639E9B936BD4}"/>
              </a:ext>
            </a:extLst>
          </p:cNvPr>
          <p:cNvGrpSpPr/>
          <p:nvPr/>
        </p:nvGrpSpPr>
        <p:grpSpPr>
          <a:xfrm>
            <a:off x="8357307" y="4267456"/>
            <a:ext cx="744845" cy="882176"/>
            <a:chOff x="8118771" y="4239346"/>
            <a:chExt cx="744845" cy="882176"/>
          </a:xfrm>
          <a:solidFill>
            <a:schemeClr val="accent1"/>
          </a:solidFill>
        </p:grpSpPr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2CD8619C-703A-42DA-BA0A-D7764EA772B7}"/>
                </a:ext>
              </a:extLst>
            </p:cNvPr>
            <p:cNvSpPr/>
            <p:nvPr/>
          </p:nvSpPr>
          <p:spPr bwMode="auto">
            <a:xfrm>
              <a:off x="8118771" y="436959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0C372099-4056-4374-B32F-6BD20A1058C8}"/>
                </a:ext>
              </a:extLst>
            </p:cNvPr>
            <p:cNvSpPr/>
            <p:nvPr/>
          </p:nvSpPr>
          <p:spPr bwMode="auto">
            <a:xfrm>
              <a:off x="8145629" y="443360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D03BB7E6-B6E3-4FDB-9B92-6D0ED208F44F}"/>
                </a:ext>
              </a:extLst>
            </p:cNvPr>
            <p:cNvSpPr/>
            <p:nvPr/>
          </p:nvSpPr>
          <p:spPr bwMode="auto">
            <a:xfrm>
              <a:off x="8177633" y="449582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127FC4F6-91C3-4E55-9EEF-1C8BC7834A7D}"/>
                </a:ext>
              </a:extLst>
            </p:cNvPr>
            <p:cNvSpPr/>
            <p:nvPr/>
          </p:nvSpPr>
          <p:spPr bwMode="auto">
            <a:xfrm>
              <a:off x="8196572" y="456161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B4F0DDD6-E014-4D69-93A3-1A1AA4B67E2A}"/>
                </a:ext>
              </a:extLst>
            </p:cNvPr>
            <p:cNvSpPr/>
            <p:nvPr/>
          </p:nvSpPr>
          <p:spPr bwMode="auto">
            <a:xfrm>
              <a:off x="8228576" y="461891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E52680C1-CAD4-48A9-8FDC-DAE79217E05F}"/>
                </a:ext>
              </a:extLst>
            </p:cNvPr>
            <p:cNvSpPr/>
            <p:nvPr/>
          </p:nvSpPr>
          <p:spPr bwMode="auto">
            <a:xfrm>
              <a:off x="8278375" y="465989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36F429BE-F8DD-44C4-8BF0-D8C905976A34}"/>
                </a:ext>
              </a:extLst>
            </p:cNvPr>
            <p:cNvSpPr/>
            <p:nvPr/>
          </p:nvSpPr>
          <p:spPr bwMode="auto">
            <a:xfrm>
              <a:off x="8326444" y="470375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D1CB93E6-364E-4B40-BA28-49A67B4DCA50}"/>
                </a:ext>
              </a:extLst>
            </p:cNvPr>
            <p:cNvSpPr/>
            <p:nvPr/>
          </p:nvSpPr>
          <p:spPr bwMode="auto">
            <a:xfrm>
              <a:off x="8388798" y="473321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92C6DE38-39B2-43E0-8386-822316CAFA2B}"/>
                </a:ext>
              </a:extLst>
            </p:cNvPr>
            <p:cNvSpPr/>
            <p:nvPr/>
          </p:nvSpPr>
          <p:spPr bwMode="auto">
            <a:xfrm>
              <a:off x="8455004" y="473121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FC913B33-5C88-4B54-A1F7-CA022D26A985}"/>
                </a:ext>
              </a:extLst>
            </p:cNvPr>
            <p:cNvSpPr/>
            <p:nvPr/>
          </p:nvSpPr>
          <p:spPr bwMode="auto">
            <a:xfrm>
              <a:off x="8520245" y="473831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AF60E6AB-D306-40B4-BDE9-C3CC1406AA38}"/>
                </a:ext>
              </a:extLst>
            </p:cNvPr>
            <p:cNvSpPr/>
            <p:nvPr/>
          </p:nvSpPr>
          <p:spPr bwMode="auto">
            <a:xfrm>
              <a:off x="8577837" y="477249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DC133A52-2BC1-4FE5-B781-0A5E3ED581AF}"/>
                </a:ext>
              </a:extLst>
            </p:cNvPr>
            <p:cNvSpPr/>
            <p:nvPr/>
          </p:nvSpPr>
          <p:spPr bwMode="auto">
            <a:xfrm>
              <a:off x="8640008" y="4772400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5" name="Oval 364">
              <a:extLst>
                <a:ext uri="{FF2B5EF4-FFF2-40B4-BE49-F238E27FC236}">
                  <a16:creationId xmlns:a16="http://schemas.microsoft.com/office/drawing/2014/main" id="{2E5677C7-6515-461E-A36B-3CA14F0355D8}"/>
                </a:ext>
              </a:extLst>
            </p:cNvPr>
            <p:cNvSpPr/>
            <p:nvPr/>
          </p:nvSpPr>
          <p:spPr bwMode="auto">
            <a:xfrm>
              <a:off x="8699437" y="474376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6" name="Oval 365">
              <a:extLst>
                <a:ext uri="{FF2B5EF4-FFF2-40B4-BE49-F238E27FC236}">
                  <a16:creationId xmlns:a16="http://schemas.microsoft.com/office/drawing/2014/main" id="{CC85A598-5F29-438D-9ABA-C94F9834F1A5}"/>
                </a:ext>
              </a:extLst>
            </p:cNvPr>
            <p:cNvSpPr/>
            <p:nvPr/>
          </p:nvSpPr>
          <p:spPr bwMode="auto">
            <a:xfrm>
              <a:off x="8745230" y="469396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98C44FFA-D5B0-46C0-91E8-324BFFCAA90C}"/>
                </a:ext>
              </a:extLst>
            </p:cNvPr>
            <p:cNvSpPr/>
            <p:nvPr/>
          </p:nvSpPr>
          <p:spPr bwMode="auto">
            <a:xfrm>
              <a:off x="8763445" y="462401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9CC35860-08BF-4683-9B62-DE4FAEDC811F}"/>
                </a:ext>
              </a:extLst>
            </p:cNvPr>
            <p:cNvSpPr/>
            <p:nvPr/>
          </p:nvSpPr>
          <p:spPr bwMode="auto">
            <a:xfrm>
              <a:off x="8786835" y="4561329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69" name="Oval 368">
              <a:extLst>
                <a:ext uri="{FF2B5EF4-FFF2-40B4-BE49-F238E27FC236}">
                  <a16:creationId xmlns:a16="http://schemas.microsoft.com/office/drawing/2014/main" id="{287A47BF-01C6-4E8F-ADDB-F9C50044A9A8}"/>
                </a:ext>
              </a:extLst>
            </p:cNvPr>
            <p:cNvSpPr/>
            <p:nvPr/>
          </p:nvSpPr>
          <p:spPr bwMode="auto">
            <a:xfrm>
              <a:off x="8799608" y="449053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0" name="Oval 369">
              <a:extLst>
                <a:ext uri="{FF2B5EF4-FFF2-40B4-BE49-F238E27FC236}">
                  <a16:creationId xmlns:a16="http://schemas.microsoft.com/office/drawing/2014/main" id="{136B1576-0E1B-4E5E-9F05-142EA402521E}"/>
                </a:ext>
              </a:extLst>
            </p:cNvPr>
            <p:cNvSpPr/>
            <p:nvPr/>
          </p:nvSpPr>
          <p:spPr bwMode="auto">
            <a:xfrm>
              <a:off x="8506615" y="480570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1" name="Oval 370">
              <a:extLst>
                <a:ext uri="{FF2B5EF4-FFF2-40B4-BE49-F238E27FC236}">
                  <a16:creationId xmlns:a16="http://schemas.microsoft.com/office/drawing/2014/main" id="{340F5C71-6297-4142-97C3-915844660853}"/>
                </a:ext>
              </a:extLst>
            </p:cNvPr>
            <p:cNvSpPr/>
            <p:nvPr/>
          </p:nvSpPr>
          <p:spPr bwMode="auto">
            <a:xfrm>
              <a:off x="8516027" y="486956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88067CAB-9507-4C2D-8845-EF5511287756}"/>
                </a:ext>
              </a:extLst>
            </p:cNvPr>
            <p:cNvSpPr/>
            <p:nvPr/>
          </p:nvSpPr>
          <p:spPr bwMode="auto">
            <a:xfrm>
              <a:off x="8535605" y="493100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B87D70A3-8BBF-47D5-A43C-CF7742FA741F}"/>
                </a:ext>
              </a:extLst>
            </p:cNvPr>
            <p:cNvSpPr/>
            <p:nvPr/>
          </p:nvSpPr>
          <p:spPr bwMode="auto">
            <a:xfrm>
              <a:off x="8555183" y="499828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69831FA5-1C2A-463E-B066-AE280A60C8C1}"/>
                </a:ext>
              </a:extLst>
            </p:cNvPr>
            <p:cNvSpPr/>
            <p:nvPr/>
          </p:nvSpPr>
          <p:spPr bwMode="auto">
            <a:xfrm>
              <a:off x="8582055" y="505751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C0343C4E-6685-4192-95E0-4A6E2529C1CF}"/>
                </a:ext>
              </a:extLst>
            </p:cNvPr>
            <p:cNvSpPr/>
            <p:nvPr/>
          </p:nvSpPr>
          <p:spPr bwMode="auto">
            <a:xfrm>
              <a:off x="8278302" y="458015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CD5C871-2B19-499D-93BF-19DA696F0EC2}"/>
                </a:ext>
              </a:extLst>
            </p:cNvPr>
            <p:cNvSpPr/>
            <p:nvPr/>
          </p:nvSpPr>
          <p:spPr bwMode="auto">
            <a:xfrm>
              <a:off x="8333696" y="454788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CCAB45BE-B605-4DE6-990C-9E1D61ED4610}"/>
                </a:ext>
              </a:extLst>
            </p:cNvPr>
            <p:cNvSpPr/>
            <p:nvPr/>
          </p:nvSpPr>
          <p:spPr bwMode="auto">
            <a:xfrm>
              <a:off x="8373728" y="449090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854C76C5-0FDE-47DB-9E56-4B3447F2780F}"/>
                </a:ext>
              </a:extLst>
            </p:cNvPr>
            <p:cNvSpPr/>
            <p:nvPr/>
          </p:nvSpPr>
          <p:spPr bwMode="auto">
            <a:xfrm>
              <a:off x="8410696" y="443571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C13EFA6-B33B-4196-BB42-F89A4E58B25B}"/>
                </a:ext>
              </a:extLst>
            </p:cNvPr>
            <p:cNvSpPr/>
            <p:nvPr/>
          </p:nvSpPr>
          <p:spPr bwMode="auto">
            <a:xfrm>
              <a:off x="8433448" y="437375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58583419-22D0-4DF1-BF4F-FEACDD80CCFE}"/>
                </a:ext>
              </a:extLst>
            </p:cNvPr>
            <p:cNvSpPr/>
            <p:nvPr/>
          </p:nvSpPr>
          <p:spPr bwMode="auto">
            <a:xfrm>
              <a:off x="8451026" y="430552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1407A764-3CA3-4C8E-8C44-C86BD2096DB5}"/>
                </a:ext>
              </a:extLst>
            </p:cNvPr>
            <p:cNvSpPr/>
            <p:nvPr/>
          </p:nvSpPr>
          <p:spPr bwMode="auto">
            <a:xfrm>
              <a:off x="8460269" y="423934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2" name="Oval 381">
              <a:extLst>
                <a:ext uri="{FF2B5EF4-FFF2-40B4-BE49-F238E27FC236}">
                  <a16:creationId xmlns:a16="http://schemas.microsoft.com/office/drawing/2014/main" id="{F11FC97C-6933-49B0-A84A-DB223CCC9F58}"/>
                </a:ext>
              </a:extLst>
            </p:cNvPr>
            <p:cNvSpPr/>
            <p:nvPr/>
          </p:nvSpPr>
          <p:spPr bwMode="auto">
            <a:xfrm>
              <a:off x="8229556" y="445275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3" name="Oval 382">
              <a:extLst>
                <a:ext uri="{FF2B5EF4-FFF2-40B4-BE49-F238E27FC236}">
                  <a16:creationId xmlns:a16="http://schemas.microsoft.com/office/drawing/2014/main" id="{302E4A66-0174-4A6B-861F-F3B21EF4DF67}"/>
                </a:ext>
              </a:extLst>
            </p:cNvPr>
            <p:cNvSpPr/>
            <p:nvPr/>
          </p:nvSpPr>
          <p:spPr bwMode="auto">
            <a:xfrm>
              <a:off x="8262436" y="439545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4" name="Oval 383">
              <a:extLst>
                <a:ext uri="{FF2B5EF4-FFF2-40B4-BE49-F238E27FC236}">
                  <a16:creationId xmlns:a16="http://schemas.microsoft.com/office/drawing/2014/main" id="{74D360E4-9BD6-4829-BA30-1DEDBC431477}"/>
                </a:ext>
              </a:extLst>
            </p:cNvPr>
            <p:cNvSpPr/>
            <p:nvPr/>
          </p:nvSpPr>
          <p:spPr bwMode="auto">
            <a:xfrm>
              <a:off x="8278302" y="4331359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385" name="Oval 384">
              <a:extLst>
                <a:ext uri="{FF2B5EF4-FFF2-40B4-BE49-F238E27FC236}">
                  <a16:creationId xmlns:a16="http://schemas.microsoft.com/office/drawing/2014/main" id="{3E46BB88-87D5-4C0D-A9AB-7E6E472F59BF}"/>
                </a:ext>
              </a:extLst>
            </p:cNvPr>
            <p:cNvSpPr/>
            <p:nvPr/>
          </p:nvSpPr>
          <p:spPr bwMode="auto">
            <a:xfrm>
              <a:off x="8287545" y="425660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D8A6E11B-341F-4B56-8E13-B138A41C4019}"/>
              </a:ext>
            </a:extLst>
          </p:cNvPr>
          <p:cNvGrpSpPr/>
          <p:nvPr/>
        </p:nvGrpSpPr>
        <p:grpSpPr>
          <a:xfrm>
            <a:off x="3385338" y="5178875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E9B68C99-1F4E-4939-8203-35E9B3AA0364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A25A446-C581-4605-BED2-AA8C6F8B5E27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960480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4A65D2C-6781-40D4-A264-6492F969D8D2}"/>
              </a:ext>
            </a:extLst>
          </p:cNvPr>
          <p:cNvGrpSpPr/>
          <p:nvPr/>
        </p:nvGrpSpPr>
        <p:grpSpPr>
          <a:xfrm>
            <a:off x="5212167" y="2506654"/>
            <a:ext cx="1460500" cy="290899"/>
            <a:chOff x="5212167" y="2506654"/>
            <a:chExt cx="1460500" cy="290899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962554B-C71D-4DEE-870C-C3551554FA64}"/>
                </a:ext>
              </a:extLst>
            </p:cNvPr>
            <p:cNvCxnSpPr/>
            <p:nvPr/>
          </p:nvCxnSpPr>
          <p:spPr>
            <a:xfrm>
              <a:off x="6317067" y="2645464"/>
              <a:ext cx="342900" cy="6991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25BE0D63-9736-456D-A0C6-933AB1290412}"/>
                </a:ext>
              </a:extLst>
            </p:cNvPr>
            <p:cNvCxnSpPr>
              <a:cxnSpLocks/>
            </p:cNvCxnSpPr>
            <p:nvPr/>
          </p:nvCxnSpPr>
          <p:spPr>
            <a:xfrm>
              <a:off x="5212167" y="2645153"/>
              <a:ext cx="876300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9AFB2B38-AA63-47EF-B071-8F556C3B82B9}"/>
                </a:ext>
              </a:extLst>
            </p:cNvPr>
            <p:cNvCxnSpPr/>
            <p:nvPr/>
          </p:nvCxnSpPr>
          <p:spPr>
            <a:xfrm>
              <a:off x="6195010" y="2506654"/>
              <a:ext cx="152400" cy="154685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32EC21C-EAC1-4940-AC7D-475208C68912}"/>
                </a:ext>
              </a:extLst>
            </p:cNvPr>
            <p:cNvCxnSpPr/>
            <p:nvPr/>
          </p:nvCxnSpPr>
          <p:spPr>
            <a:xfrm>
              <a:off x="5212167" y="2797553"/>
              <a:ext cx="1460500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E416E75-F300-4E00-97C9-D1828D54F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760" y="238127"/>
            <a:ext cx="10900098" cy="1103313"/>
          </a:xfrm>
        </p:spPr>
        <p:txBody>
          <a:bodyPr/>
          <a:lstStyle/>
          <a:p>
            <a:r>
              <a:rPr lang="en-GB" altLang="en-US" sz="3400" dirty="0"/>
              <a:t>PARP1 </a:t>
            </a:r>
            <a:r>
              <a:rPr lang="en-US" altLang="en-US" sz="3400" dirty="0"/>
              <a:t>Detects ssDNA Damage and Attracts Repair Proteins</a:t>
            </a:r>
            <a:endParaRPr lang="en-US" sz="3400" dirty="0"/>
          </a:p>
        </p:txBody>
      </p:sp>
      <p:sp>
        <p:nvSpPr>
          <p:cNvPr id="40" name="Text Box 11">
            <a:extLst>
              <a:ext uri="{FF2B5EF4-FFF2-40B4-BE49-F238E27FC236}">
                <a16:creationId xmlns:a16="http://schemas.microsoft.com/office/drawing/2014/main" id="{7ED8177C-5665-47DE-8CA4-240515731B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22" y="6182598"/>
            <a:ext cx="80105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hmoto. Onco Targets Ther. 2017;10:5195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ndhal. Trends Biochem Sci.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95;20:405-411. Caldecott. Exp Cell Res. 2014;329:2-8.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6C94EA-A677-4E09-B8F7-AABD6A2C0964}"/>
              </a:ext>
            </a:extLst>
          </p:cNvPr>
          <p:cNvGrpSpPr>
            <a:grpSpLocks/>
          </p:cNvGrpSpPr>
          <p:nvPr/>
        </p:nvGrpSpPr>
        <p:grpSpPr bwMode="auto">
          <a:xfrm>
            <a:off x="9194800" y="6102349"/>
            <a:ext cx="2552700" cy="424637"/>
            <a:chOff x="6294438" y="6210300"/>
            <a:chExt cx="2552700" cy="424637"/>
          </a:xfrm>
        </p:grpSpPr>
        <p:sp>
          <p:nvSpPr>
            <p:cNvPr id="42" name="Rectangle 9">
              <a:extLst>
                <a:ext uri="{FF2B5EF4-FFF2-40B4-BE49-F238E27FC236}">
                  <a16:creationId xmlns:a16="http://schemas.microsoft.com/office/drawing/2014/main" id="{8AF9AA77-2752-4AD5-A5F3-F3243762E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38" y="6357938"/>
              <a:ext cx="231505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43" name="Picture 10">
              <a:extLst>
                <a:ext uri="{FF2B5EF4-FFF2-40B4-BE49-F238E27FC236}">
                  <a16:creationId xmlns:a16="http://schemas.microsoft.com/office/drawing/2014/main" id="{EFC67CE2-41A3-4DB4-9D2F-D224D9B36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894" r="5573"/>
            <a:stretch>
              <a:fillRect/>
            </a:stretch>
          </p:blipFill>
          <p:spPr bwMode="auto">
            <a:xfrm>
              <a:off x="8277225" y="6210300"/>
              <a:ext cx="569913" cy="18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B65C460E-12D3-4B72-9942-7561D4E3A91B}"/>
              </a:ext>
            </a:extLst>
          </p:cNvPr>
          <p:cNvSpPr txBox="1"/>
          <p:nvPr/>
        </p:nvSpPr>
        <p:spPr>
          <a:xfrm>
            <a:off x="504920" y="3027621"/>
            <a:ext cx="190097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ing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NA dama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2132CA-E9AD-4F85-8E39-01A281080E18}"/>
              </a:ext>
            </a:extLst>
          </p:cNvPr>
          <p:cNvGrpSpPr/>
          <p:nvPr/>
        </p:nvGrpSpPr>
        <p:grpSpPr>
          <a:xfrm>
            <a:off x="508993" y="2651012"/>
            <a:ext cx="1831152" cy="152400"/>
            <a:chOff x="508993" y="2651012"/>
            <a:chExt cx="1831152" cy="152400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D05B9BE1-F79D-47C5-B6EC-78B1CAAE63FC}"/>
                </a:ext>
              </a:extLst>
            </p:cNvPr>
            <p:cNvCxnSpPr/>
            <p:nvPr/>
          </p:nvCxnSpPr>
          <p:spPr>
            <a:xfrm>
              <a:off x="508994" y="2651012"/>
              <a:ext cx="894639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2A740DB-D494-4099-AAC7-3F66DEFC7B73}"/>
                </a:ext>
              </a:extLst>
            </p:cNvPr>
            <p:cNvCxnSpPr/>
            <p:nvPr/>
          </p:nvCxnSpPr>
          <p:spPr>
            <a:xfrm>
              <a:off x="508993" y="2803412"/>
              <a:ext cx="183115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CC73299C-198B-45D1-A49A-DFBBADA584D9}"/>
                </a:ext>
              </a:extLst>
            </p:cNvPr>
            <p:cNvCxnSpPr/>
            <p:nvPr/>
          </p:nvCxnSpPr>
          <p:spPr>
            <a:xfrm>
              <a:off x="1632232" y="2651012"/>
              <a:ext cx="694126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73849A16-4FF7-403F-B0FF-A6AFFC037234}"/>
              </a:ext>
            </a:extLst>
          </p:cNvPr>
          <p:cNvSpPr txBox="1"/>
          <p:nvPr/>
        </p:nvSpPr>
        <p:spPr>
          <a:xfrm>
            <a:off x="2977819" y="3027620"/>
            <a:ext cx="15057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bin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DN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02C7B93-5917-4554-A4BA-1BA33B84971B}"/>
              </a:ext>
            </a:extLst>
          </p:cNvPr>
          <p:cNvGrpSpPr/>
          <p:nvPr/>
        </p:nvGrpSpPr>
        <p:grpSpPr>
          <a:xfrm>
            <a:off x="2809701" y="2651012"/>
            <a:ext cx="1831152" cy="152400"/>
            <a:chOff x="2809701" y="2651012"/>
            <a:chExt cx="1831152" cy="152400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367B987D-19A5-4181-A912-CC8DEF069B4F}"/>
                </a:ext>
              </a:extLst>
            </p:cNvPr>
            <p:cNvCxnSpPr/>
            <p:nvPr/>
          </p:nvCxnSpPr>
          <p:spPr>
            <a:xfrm>
              <a:off x="2809702" y="2651012"/>
              <a:ext cx="894639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FDEE1AD3-2645-4FF8-A965-72F2620E6123}"/>
                </a:ext>
              </a:extLst>
            </p:cNvPr>
            <p:cNvCxnSpPr/>
            <p:nvPr/>
          </p:nvCxnSpPr>
          <p:spPr>
            <a:xfrm>
              <a:off x="2809701" y="2803412"/>
              <a:ext cx="183115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B8CF683-B63C-4932-9D3A-A2E0691C6F80}"/>
                </a:ext>
              </a:extLst>
            </p:cNvPr>
            <p:cNvCxnSpPr/>
            <p:nvPr/>
          </p:nvCxnSpPr>
          <p:spPr>
            <a:xfrm>
              <a:off x="3932940" y="2651012"/>
              <a:ext cx="694126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EBE65EB0-459D-4FD3-ABCA-63F9462650AD}"/>
              </a:ext>
            </a:extLst>
          </p:cNvPr>
          <p:cNvSpPr txBox="1"/>
          <p:nvPr/>
        </p:nvSpPr>
        <p:spPr>
          <a:xfrm>
            <a:off x="5159808" y="3014921"/>
            <a:ext cx="173522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attrac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factors 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x damage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97372537-E5BB-4833-B3ED-5051D0D4B351}"/>
              </a:ext>
            </a:extLst>
          </p:cNvPr>
          <p:cNvCxnSpPr>
            <a:cxnSpLocks/>
          </p:cNvCxnSpPr>
          <p:nvPr/>
        </p:nvCxnSpPr>
        <p:spPr>
          <a:xfrm>
            <a:off x="2414359" y="2733324"/>
            <a:ext cx="313046" cy="0"/>
          </a:xfrm>
          <a:prstGeom prst="straightConnector1">
            <a:avLst/>
          </a:prstGeom>
          <a:ln w="50800" cmpd="sng">
            <a:solidFill>
              <a:schemeClr val="tx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FCA670CA-3BA0-4ADA-9DCC-E5B06CD9C84D}"/>
              </a:ext>
            </a:extLst>
          </p:cNvPr>
          <p:cNvCxnSpPr>
            <a:cxnSpLocks/>
          </p:cNvCxnSpPr>
          <p:nvPr/>
        </p:nvCxnSpPr>
        <p:spPr>
          <a:xfrm>
            <a:off x="4688167" y="2767521"/>
            <a:ext cx="313046" cy="0"/>
          </a:xfrm>
          <a:prstGeom prst="straightConnector1">
            <a:avLst/>
          </a:prstGeom>
          <a:ln w="50800" cmpd="sng">
            <a:solidFill>
              <a:schemeClr val="tx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C14C5C1E-549B-41F7-AF2C-13AA80477E04}"/>
              </a:ext>
            </a:extLst>
          </p:cNvPr>
          <p:cNvCxnSpPr>
            <a:cxnSpLocks/>
          </p:cNvCxnSpPr>
          <p:nvPr/>
        </p:nvCxnSpPr>
        <p:spPr>
          <a:xfrm>
            <a:off x="4770463" y="3394646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695899F9-FDDA-451F-AC92-CD77D3C36583}"/>
              </a:ext>
            </a:extLst>
          </p:cNvPr>
          <p:cNvCxnSpPr>
            <a:cxnSpLocks/>
          </p:cNvCxnSpPr>
          <p:nvPr/>
        </p:nvCxnSpPr>
        <p:spPr>
          <a:xfrm>
            <a:off x="2451332" y="3349309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12F4CE7E-7418-4DDD-A0EF-C56170DD4280}"/>
              </a:ext>
            </a:extLst>
          </p:cNvPr>
          <p:cNvGrpSpPr/>
          <p:nvPr/>
        </p:nvGrpSpPr>
        <p:grpSpPr>
          <a:xfrm>
            <a:off x="5160101" y="1492855"/>
            <a:ext cx="1153250" cy="1263011"/>
            <a:chOff x="7662068" y="3943085"/>
            <a:chExt cx="1153250" cy="126301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659916C-7FB2-41C5-A8AC-81E6480E44DB}"/>
                </a:ext>
              </a:extLst>
            </p:cNvPr>
            <p:cNvGrpSpPr/>
            <p:nvPr/>
          </p:nvGrpSpPr>
          <p:grpSpPr>
            <a:xfrm>
              <a:off x="8269286" y="3943085"/>
              <a:ext cx="546032" cy="882176"/>
              <a:chOff x="8727136" y="3561225"/>
              <a:chExt cx="546032" cy="88217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F5398E38-2DB1-4E21-8185-2F462419A11E}"/>
                  </a:ext>
                </a:extLst>
              </p:cNvPr>
              <p:cNvSpPr/>
              <p:nvPr/>
            </p:nvSpPr>
            <p:spPr bwMode="auto">
              <a:xfrm flipH="1">
                <a:off x="9209819" y="369147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412ADBB-A949-4A0E-8EE9-99A6BCB03A09}"/>
                  </a:ext>
                </a:extLst>
              </p:cNvPr>
              <p:cNvSpPr/>
              <p:nvPr/>
            </p:nvSpPr>
            <p:spPr bwMode="auto">
              <a:xfrm flipH="1">
                <a:off x="9183238" y="375548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28A22C7-325E-4E05-9150-5D44F165AF1D}"/>
                  </a:ext>
                </a:extLst>
              </p:cNvPr>
              <p:cNvSpPr/>
              <p:nvPr/>
            </p:nvSpPr>
            <p:spPr bwMode="auto">
              <a:xfrm flipH="1">
                <a:off x="9151564" y="381770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D64CA37-E8B1-406D-ACD1-37A8147E66EE}"/>
                  </a:ext>
                </a:extLst>
              </p:cNvPr>
              <p:cNvSpPr/>
              <p:nvPr/>
            </p:nvSpPr>
            <p:spPr bwMode="auto">
              <a:xfrm flipH="1">
                <a:off x="9132820" y="388349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00E84DBE-C1A7-4384-9532-11DD4685CAE3}"/>
                  </a:ext>
                </a:extLst>
              </p:cNvPr>
              <p:cNvSpPr/>
              <p:nvPr/>
            </p:nvSpPr>
            <p:spPr bwMode="auto">
              <a:xfrm flipH="1">
                <a:off x="9101145" y="394079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DA5E331-9A49-4BB8-A359-1ABB46F3303F}"/>
                  </a:ext>
                </a:extLst>
              </p:cNvPr>
              <p:cNvSpPr/>
              <p:nvPr/>
            </p:nvSpPr>
            <p:spPr bwMode="auto">
              <a:xfrm flipH="1">
                <a:off x="9051859" y="398177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761F5AA-9954-4BD8-841B-2B34052A772E}"/>
                  </a:ext>
                </a:extLst>
              </p:cNvPr>
              <p:cNvSpPr/>
              <p:nvPr/>
            </p:nvSpPr>
            <p:spPr bwMode="auto">
              <a:xfrm flipH="1">
                <a:off x="9004285" y="402563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803E240-DE46-4755-82C6-EDB12197D026}"/>
                  </a:ext>
                </a:extLst>
              </p:cNvPr>
              <p:cNvSpPr/>
              <p:nvPr/>
            </p:nvSpPr>
            <p:spPr bwMode="auto">
              <a:xfrm flipH="1">
                <a:off x="8942574" y="405509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697735BD-38D2-4D20-AA7B-81352EE40023}"/>
                  </a:ext>
                </a:extLst>
              </p:cNvPr>
              <p:cNvSpPr/>
              <p:nvPr/>
            </p:nvSpPr>
            <p:spPr bwMode="auto">
              <a:xfrm flipH="1">
                <a:off x="8877050" y="405309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DDBF7D9-1024-4C32-9EA4-B7735EB08856}"/>
                  </a:ext>
                </a:extLst>
              </p:cNvPr>
              <p:cNvSpPr/>
              <p:nvPr/>
            </p:nvSpPr>
            <p:spPr bwMode="auto">
              <a:xfrm flipH="1">
                <a:off x="8812481" y="406019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09554EF7-6653-44B6-9446-F69425A3CC95}"/>
                  </a:ext>
                </a:extLst>
              </p:cNvPr>
              <p:cNvGrpSpPr/>
              <p:nvPr/>
            </p:nvGrpSpPr>
            <p:grpSpPr>
              <a:xfrm>
                <a:off x="8727136" y="3698463"/>
                <a:ext cx="282836" cy="345967"/>
                <a:chOff x="8535995" y="3812412"/>
                <a:chExt cx="282836" cy="345967"/>
              </a:xfrm>
            </p:grpSpPr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C22F69B3-EDD5-49F0-874C-26CFE0E359A5}"/>
                    </a:ext>
                  </a:extLst>
                </p:cNvPr>
                <p:cNvSpPr/>
                <p:nvPr/>
              </p:nvSpPr>
              <p:spPr bwMode="auto">
                <a:xfrm flipH="1">
                  <a:off x="8755482" y="4094371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4211E972-DB27-4326-9671-264802896876}"/>
                    </a:ext>
                  </a:extLst>
                </p:cNvPr>
                <p:cNvSpPr/>
                <p:nvPr/>
              </p:nvSpPr>
              <p:spPr bwMode="auto">
                <a:xfrm flipH="1">
                  <a:off x="8693951" y="4094279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5F4F9E2E-ED16-42FD-B6EA-6996FFF047F8}"/>
                    </a:ext>
                  </a:extLst>
                </p:cNvPr>
                <p:cNvSpPr/>
                <p:nvPr/>
              </p:nvSpPr>
              <p:spPr bwMode="auto">
                <a:xfrm flipH="1">
                  <a:off x="8635134" y="4065645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36934866-3AF7-43F0-85C1-15180A75BF14}"/>
                    </a:ext>
                  </a:extLst>
                </p:cNvPr>
                <p:cNvSpPr/>
                <p:nvPr/>
              </p:nvSpPr>
              <p:spPr bwMode="auto">
                <a:xfrm flipH="1">
                  <a:off x="8589813" y="4015846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21E5806A-B777-4BF2-B5AB-AF1ABEF6E43B}"/>
                    </a:ext>
                  </a:extLst>
                </p:cNvPr>
                <p:cNvSpPr/>
                <p:nvPr/>
              </p:nvSpPr>
              <p:spPr bwMode="auto">
                <a:xfrm flipH="1">
                  <a:off x="8571786" y="3945892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EC99E359-01B4-405F-BBA9-7BE75C57CFA6}"/>
                    </a:ext>
                  </a:extLst>
                </p:cNvPr>
                <p:cNvSpPr/>
                <p:nvPr/>
              </p:nvSpPr>
              <p:spPr bwMode="auto">
                <a:xfrm flipH="1">
                  <a:off x="8548636" y="3883208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33EB002F-3292-4D7C-BC5E-5167A81E4F33}"/>
                    </a:ext>
                  </a:extLst>
                </p:cNvPr>
                <p:cNvSpPr/>
                <p:nvPr/>
              </p:nvSpPr>
              <p:spPr bwMode="auto">
                <a:xfrm flipH="1">
                  <a:off x="8535995" y="3812412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83614224-C088-4A99-9254-7F11A0DC7E7B}"/>
                  </a:ext>
                </a:extLst>
              </p:cNvPr>
              <p:cNvSpPr/>
              <p:nvPr/>
            </p:nvSpPr>
            <p:spPr bwMode="auto">
              <a:xfrm flipH="1">
                <a:off x="8825970" y="412758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C258DD9-3ED0-4763-941C-D9F758B23E78}"/>
                  </a:ext>
                </a:extLst>
              </p:cNvPr>
              <p:cNvSpPr/>
              <p:nvPr/>
            </p:nvSpPr>
            <p:spPr bwMode="auto">
              <a:xfrm flipH="1">
                <a:off x="8816655" y="4191442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2E906FF2-56E1-41D9-BB1E-C71118B8C66E}"/>
                  </a:ext>
                </a:extLst>
              </p:cNvPr>
              <p:cNvSpPr/>
              <p:nvPr/>
            </p:nvSpPr>
            <p:spPr bwMode="auto">
              <a:xfrm flipH="1">
                <a:off x="8797279" y="425288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66958F2-5596-4E80-A61E-F4862B43BF1A}"/>
                  </a:ext>
                </a:extLst>
              </p:cNvPr>
              <p:cNvSpPr/>
              <p:nvPr/>
            </p:nvSpPr>
            <p:spPr bwMode="auto">
              <a:xfrm flipH="1">
                <a:off x="8777902" y="432016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C3DE9734-36FB-49CB-AF7C-7DAF099BB093}"/>
                  </a:ext>
                </a:extLst>
              </p:cNvPr>
              <p:cNvSpPr/>
              <p:nvPr/>
            </p:nvSpPr>
            <p:spPr bwMode="auto">
              <a:xfrm flipH="1">
                <a:off x="8751307" y="437939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6CC0DFF-D5AC-4509-A2FB-A1172273C4F0}"/>
                  </a:ext>
                </a:extLst>
              </p:cNvPr>
              <p:cNvSpPr/>
              <p:nvPr/>
            </p:nvSpPr>
            <p:spPr bwMode="auto">
              <a:xfrm flipH="1">
                <a:off x="9051931" y="390203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39FE9A8-5E5C-4B26-9063-1780A0535E3B}"/>
                  </a:ext>
                </a:extLst>
              </p:cNvPr>
              <p:cNvSpPr/>
              <p:nvPr/>
            </p:nvSpPr>
            <p:spPr bwMode="auto">
              <a:xfrm flipH="1">
                <a:off x="8997108" y="3869766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15929193-AA9C-4975-9DE0-CC4AAD4A836C}"/>
                  </a:ext>
                </a:extLst>
              </p:cNvPr>
              <p:cNvSpPr/>
              <p:nvPr/>
            </p:nvSpPr>
            <p:spPr bwMode="auto">
              <a:xfrm flipH="1">
                <a:off x="8957488" y="381278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DB0E61DA-3E5E-4116-A408-9DC47F9CB286}"/>
                  </a:ext>
                </a:extLst>
              </p:cNvPr>
              <p:cNvSpPr/>
              <p:nvPr/>
            </p:nvSpPr>
            <p:spPr bwMode="auto">
              <a:xfrm flipH="1">
                <a:off x="8920901" y="375759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F4481E0-D853-4A96-8FEC-EFBBE26E3862}"/>
                  </a:ext>
                </a:extLst>
              </p:cNvPr>
              <p:cNvSpPr/>
              <p:nvPr/>
            </p:nvSpPr>
            <p:spPr bwMode="auto">
              <a:xfrm flipH="1">
                <a:off x="8898384" y="369563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6A91A660-D17C-4BA0-B23E-49E5372775D1}"/>
                  </a:ext>
                </a:extLst>
              </p:cNvPr>
              <p:cNvSpPr/>
              <p:nvPr/>
            </p:nvSpPr>
            <p:spPr bwMode="auto">
              <a:xfrm flipH="1">
                <a:off x="8880987" y="362740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D34BE1D-E9A7-46E8-BA12-F0B4B4EAB24B}"/>
                  </a:ext>
                </a:extLst>
              </p:cNvPr>
              <p:cNvSpPr/>
              <p:nvPr/>
            </p:nvSpPr>
            <p:spPr bwMode="auto">
              <a:xfrm flipH="1">
                <a:off x="8871839" y="356122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3FBDBEF-2D13-483B-8163-770F5A86D859}"/>
                  </a:ext>
                </a:extLst>
              </p:cNvPr>
              <p:cNvSpPr/>
              <p:nvPr/>
            </p:nvSpPr>
            <p:spPr bwMode="auto">
              <a:xfrm flipH="1">
                <a:off x="9100175" y="377463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A7B4AA17-5EA5-46F4-9223-6CC017B1856A}"/>
                  </a:ext>
                </a:extLst>
              </p:cNvPr>
              <p:cNvSpPr/>
              <p:nvPr/>
            </p:nvSpPr>
            <p:spPr bwMode="auto">
              <a:xfrm flipH="1">
                <a:off x="9067634" y="371733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D80C487-83E0-49D1-A411-FBED261C162E}"/>
                  </a:ext>
                </a:extLst>
              </p:cNvPr>
              <p:cNvSpPr/>
              <p:nvPr/>
            </p:nvSpPr>
            <p:spPr bwMode="auto">
              <a:xfrm flipH="1">
                <a:off x="9051931" y="3653238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10C2FD2-BC4C-4545-BE9D-1F9B328677A5}"/>
                  </a:ext>
                </a:extLst>
              </p:cNvPr>
              <p:cNvSpPr/>
              <p:nvPr/>
            </p:nvSpPr>
            <p:spPr bwMode="auto">
              <a:xfrm flipH="1">
                <a:off x="9042784" y="3578486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22" name="Oval 6">
              <a:extLst>
                <a:ext uri="{FF2B5EF4-FFF2-40B4-BE49-F238E27FC236}">
                  <a16:creationId xmlns:a16="http://schemas.microsoft.com/office/drawing/2014/main" id="{13C74C4A-A7AB-4B9D-A99E-94C0D4CF2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2068" y="4659505"/>
              <a:ext cx="689213" cy="285750"/>
            </a:xfrm>
            <a:prstGeom prst="ellipse">
              <a:avLst/>
            </a:prstGeom>
            <a:solidFill>
              <a:schemeClr val="bg2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Lig3</a:t>
              </a:r>
            </a:p>
          </p:txBody>
        </p:sp>
        <p:sp>
          <p:nvSpPr>
            <p:cNvPr id="123" name="Oval 7">
              <a:extLst>
                <a:ext uri="{FF2B5EF4-FFF2-40B4-BE49-F238E27FC236}">
                  <a16:creationId xmlns:a16="http://schemas.microsoft.com/office/drawing/2014/main" id="{CFCC5ABE-2766-4E76-8F0D-39BEF8080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4709" y="4867658"/>
              <a:ext cx="689213" cy="338438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XRCC1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A3B7D90-47A1-4151-8D86-245D5C6BEB91}"/>
                </a:ext>
              </a:extLst>
            </p:cNvPr>
            <p:cNvGrpSpPr/>
            <p:nvPr/>
          </p:nvGrpSpPr>
          <p:grpSpPr>
            <a:xfrm>
              <a:off x="7855551" y="4340719"/>
              <a:ext cx="574675" cy="358775"/>
              <a:chOff x="8892024" y="5569852"/>
              <a:chExt cx="574675" cy="358775"/>
            </a:xfrm>
          </p:grpSpPr>
          <p:sp>
            <p:nvSpPr>
              <p:cNvPr id="124" name="Oval 9">
                <a:extLst>
                  <a:ext uri="{FF2B5EF4-FFF2-40B4-BE49-F238E27FC236}">
                    <a16:creationId xmlns:a16="http://schemas.microsoft.com/office/drawing/2014/main" id="{6A8F682A-098E-4D88-BAAD-765B006E97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92024" y="5569852"/>
                <a:ext cx="574675" cy="358775"/>
              </a:xfrm>
              <a:prstGeom prst="ellipse">
                <a:avLst/>
              </a:prstGeom>
              <a:solidFill>
                <a:schemeClr val="accent6"/>
              </a:solidFill>
              <a:ln w="63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5" name="Text Box 10">
                <a:extLst>
                  <a:ext uri="{FF2B5EF4-FFF2-40B4-BE49-F238E27FC236}">
                    <a16:creationId xmlns:a16="http://schemas.microsoft.com/office/drawing/2014/main" id="{4B75A33C-78DD-409A-A621-0D6C0C3349E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13350" y="5641809"/>
                <a:ext cx="470706" cy="250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cap="rnd">
                    <a:solidFill>
                      <a:srgbClr val="000000"/>
                    </a:solidFill>
                    <a:prstDash val="sysDot"/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Lβ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0F9DA2B-B6C9-4AE1-A85B-C1B637A1566E}"/>
                </a:ext>
              </a:extLst>
            </p:cNvPr>
            <p:cNvGrpSpPr/>
            <p:nvPr/>
          </p:nvGrpSpPr>
          <p:grpSpPr>
            <a:xfrm>
              <a:off x="8236126" y="4591833"/>
              <a:ext cx="574675" cy="358775"/>
              <a:chOff x="8455462" y="5505209"/>
              <a:chExt cx="574675" cy="358775"/>
            </a:xfrm>
          </p:grpSpPr>
          <p:sp>
            <p:nvSpPr>
              <p:cNvPr id="126" name="Oval 13">
                <a:extLst>
                  <a:ext uri="{FF2B5EF4-FFF2-40B4-BE49-F238E27FC236}">
                    <a16:creationId xmlns:a16="http://schemas.microsoft.com/office/drawing/2014/main" id="{FF1318A8-E174-42E1-ACC1-4F04118A21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55462" y="5505209"/>
                <a:ext cx="574675" cy="358775"/>
              </a:xfrm>
              <a:prstGeom prst="ellipse">
                <a:avLst/>
              </a:prstGeom>
              <a:solidFill>
                <a:schemeClr val="accent4"/>
              </a:solidFill>
              <a:ln w="63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7" name="Rectangle 14">
                <a:extLst>
                  <a:ext uri="{FF2B5EF4-FFF2-40B4-BE49-F238E27FC236}">
                    <a16:creationId xmlns:a16="http://schemas.microsoft.com/office/drawing/2014/main" id="{E3257842-117C-4E62-89EF-030B21D51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0916" y="5580372"/>
                <a:ext cx="452368" cy="250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cap="rnd">
                    <a:solidFill>
                      <a:srgbClr val="000000"/>
                    </a:solidFill>
                    <a:prstDash val="sysDot"/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PNK</a:t>
                </a:r>
              </a:p>
            </p:txBody>
          </p:sp>
        </p:grpSp>
      </p:grpSp>
      <p:sp>
        <p:nvSpPr>
          <p:cNvPr id="128" name="Lightning Bolt 127">
            <a:extLst>
              <a:ext uri="{FF2B5EF4-FFF2-40B4-BE49-F238E27FC236}">
                <a16:creationId xmlns:a16="http://schemas.microsoft.com/office/drawing/2014/main" id="{69E024BC-2002-4D27-A3D7-C82F0B32CF56}"/>
              </a:ext>
            </a:extLst>
          </p:cNvPr>
          <p:cNvSpPr/>
          <p:nvPr/>
        </p:nvSpPr>
        <p:spPr>
          <a:xfrm rot="21119913" flipH="1">
            <a:off x="1454823" y="2208760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FE63389-EB2B-4F73-950C-FE9A6B621DCA}"/>
              </a:ext>
            </a:extLst>
          </p:cNvPr>
          <p:cNvGrpSpPr/>
          <p:nvPr/>
        </p:nvGrpSpPr>
        <p:grpSpPr>
          <a:xfrm>
            <a:off x="3397221" y="2244987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6980713D-C128-44D1-B5F7-AC3BDA10CB09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FAA1381-2F2C-4633-8E41-EF46DE0617CA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F76B8100-D963-4586-A72D-4E140CEEEBC7}"/>
              </a:ext>
            </a:extLst>
          </p:cNvPr>
          <p:cNvGrpSpPr/>
          <p:nvPr/>
        </p:nvGrpSpPr>
        <p:grpSpPr>
          <a:xfrm>
            <a:off x="6248487" y="2262362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1FFCD06C-AAE1-4794-B08E-C0B363E2C1E1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8967E58-FD15-4F38-AF43-A3D589683E43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71957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0857B-E1B2-CA45-8746-8BF40DE06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losure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1FA7AD-5974-AA43-A154-4E584C4020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Research support from CLOVIS</a:t>
            </a:r>
            <a:br>
              <a:rPr lang="en-US"/>
            </a:br>
            <a:r>
              <a:rPr lang="en-US"/>
              <a:t>Prior advisory role to Pfizer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Prostate Cancer Foundation</a:t>
            </a:r>
          </a:p>
          <a:p>
            <a:pPr marL="0" indent="0">
              <a:buNone/>
            </a:pPr>
            <a:r>
              <a:rPr lang="en-US"/>
              <a:t>NIH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5260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4A65D2C-6781-40D4-A264-6492F969D8D2}"/>
              </a:ext>
            </a:extLst>
          </p:cNvPr>
          <p:cNvGrpSpPr/>
          <p:nvPr/>
        </p:nvGrpSpPr>
        <p:grpSpPr>
          <a:xfrm>
            <a:off x="5212167" y="2506654"/>
            <a:ext cx="1460500" cy="290899"/>
            <a:chOff x="5212167" y="2506654"/>
            <a:chExt cx="1460500" cy="290899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962554B-C71D-4DEE-870C-C3551554FA64}"/>
                </a:ext>
              </a:extLst>
            </p:cNvPr>
            <p:cNvCxnSpPr/>
            <p:nvPr/>
          </p:nvCxnSpPr>
          <p:spPr>
            <a:xfrm>
              <a:off x="6317067" y="2645464"/>
              <a:ext cx="342900" cy="6991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25BE0D63-9736-456D-A0C6-933AB1290412}"/>
                </a:ext>
              </a:extLst>
            </p:cNvPr>
            <p:cNvCxnSpPr>
              <a:cxnSpLocks/>
            </p:cNvCxnSpPr>
            <p:nvPr/>
          </p:nvCxnSpPr>
          <p:spPr>
            <a:xfrm>
              <a:off x="5212167" y="2645153"/>
              <a:ext cx="876300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9AFB2B38-AA63-47EF-B071-8F556C3B82B9}"/>
                </a:ext>
              </a:extLst>
            </p:cNvPr>
            <p:cNvCxnSpPr/>
            <p:nvPr/>
          </p:nvCxnSpPr>
          <p:spPr>
            <a:xfrm>
              <a:off x="6195010" y="2506654"/>
              <a:ext cx="152400" cy="154685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32EC21C-EAC1-4940-AC7D-475208C68912}"/>
                </a:ext>
              </a:extLst>
            </p:cNvPr>
            <p:cNvCxnSpPr/>
            <p:nvPr/>
          </p:nvCxnSpPr>
          <p:spPr>
            <a:xfrm>
              <a:off x="5212167" y="2797553"/>
              <a:ext cx="1460500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E416E75-F300-4E00-97C9-D1828D54F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760" y="238127"/>
            <a:ext cx="10900098" cy="1103313"/>
          </a:xfrm>
        </p:spPr>
        <p:txBody>
          <a:bodyPr/>
          <a:lstStyle/>
          <a:p>
            <a:r>
              <a:rPr lang="en-GB" altLang="en-US" sz="3400" dirty="0"/>
              <a:t>PARP1 </a:t>
            </a:r>
            <a:r>
              <a:rPr lang="en-US" altLang="en-US" sz="3400" dirty="0"/>
              <a:t>Detects ssDNA Damage and Attracts Repair Proteins</a:t>
            </a:r>
            <a:endParaRPr lang="en-US" sz="3400" dirty="0"/>
          </a:p>
        </p:txBody>
      </p:sp>
      <p:sp>
        <p:nvSpPr>
          <p:cNvPr id="40" name="Text Box 11">
            <a:extLst>
              <a:ext uri="{FF2B5EF4-FFF2-40B4-BE49-F238E27FC236}">
                <a16:creationId xmlns:a16="http://schemas.microsoft.com/office/drawing/2014/main" id="{7ED8177C-5665-47DE-8CA4-240515731B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22" y="6182598"/>
            <a:ext cx="80105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hmoto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nco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Targets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r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2017;10:5195.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urai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Cancer Res. 2012;72:5588-5599. </a:t>
            </a:r>
            <a:b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urai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Mol Cancer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r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2014;13:433-443.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mmier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i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nsl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Med. 2016;8:362ps17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6C94EA-A677-4E09-B8F7-AABD6A2C0964}"/>
              </a:ext>
            </a:extLst>
          </p:cNvPr>
          <p:cNvGrpSpPr>
            <a:grpSpLocks/>
          </p:cNvGrpSpPr>
          <p:nvPr/>
        </p:nvGrpSpPr>
        <p:grpSpPr bwMode="auto">
          <a:xfrm>
            <a:off x="9194800" y="6102349"/>
            <a:ext cx="2552700" cy="424637"/>
            <a:chOff x="6294438" y="6210300"/>
            <a:chExt cx="2552700" cy="424637"/>
          </a:xfrm>
        </p:grpSpPr>
        <p:sp>
          <p:nvSpPr>
            <p:cNvPr id="42" name="Rectangle 9">
              <a:extLst>
                <a:ext uri="{FF2B5EF4-FFF2-40B4-BE49-F238E27FC236}">
                  <a16:creationId xmlns:a16="http://schemas.microsoft.com/office/drawing/2014/main" id="{8AF9AA77-2752-4AD5-A5F3-F3243762E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38" y="6357938"/>
              <a:ext cx="231505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43" name="Picture 10">
              <a:extLst>
                <a:ext uri="{FF2B5EF4-FFF2-40B4-BE49-F238E27FC236}">
                  <a16:creationId xmlns:a16="http://schemas.microsoft.com/office/drawing/2014/main" id="{EFC67CE2-41A3-4DB4-9D2F-D224D9B36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894" r="5573"/>
            <a:stretch>
              <a:fillRect/>
            </a:stretch>
          </p:blipFill>
          <p:spPr bwMode="auto">
            <a:xfrm>
              <a:off x="8277225" y="6210300"/>
              <a:ext cx="569913" cy="18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B65C460E-12D3-4B72-9942-7561D4E3A91B}"/>
              </a:ext>
            </a:extLst>
          </p:cNvPr>
          <p:cNvSpPr txBox="1"/>
          <p:nvPr/>
        </p:nvSpPr>
        <p:spPr>
          <a:xfrm>
            <a:off x="504920" y="3027621"/>
            <a:ext cx="190097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ing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NA dama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2132CA-E9AD-4F85-8E39-01A281080E18}"/>
              </a:ext>
            </a:extLst>
          </p:cNvPr>
          <p:cNvGrpSpPr/>
          <p:nvPr/>
        </p:nvGrpSpPr>
        <p:grpSpPr>
          <a:xfrm>
            <a:off x="508993" y="2651012"/>
            <a:ext cx="1831152" cy="152400"/>
            <a:chOff x="508993" y="2651012"/>
            <a:chExt cx="1831152" cy="152400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D05B9BE1-F79D-47C5-B6EC-78B1CAAE63FC}"/>
                </a:ext>
              </a:extLst>
            </p:cNvPr>
            <p:cNvCxnSpPr/>
            <p:nvPr/>
          </p:nvCxnSpPr>
          <p:spPr>
            <a:xfrm>
              <a:off x="508994" y="2651012"/>
              <a:ext cx="894639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2A740DB-D494-4099-AAC7-3F66DEFC7B73}"/>
                </a:ext>
              </a:extLst>
            </p:cNvPr>
            <p:cNvCxnSpPr/>
            <p:nvPr/>
          </p:nvCxnSpPr>
          <p:spPr>
            <a:xfrm>
              <a:off x="508993" y="2803412"/>
              <a:ext cx="183115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CC73299C-198B-45D1-A49A-DFBBADA584D9}"/>
                </a:ext>
              </a:extLst>
            </p:cNvPr>
            <p:cNvCxnSpPr/>
            <p:nvPr/>
          </p:nvCxnSpPr>
          <p:spPr>
            <a:xfrm>
              <a:off x="1632232" y="2651012"/>
              <a:ext cx="694126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73849A16-4FF7-403F-B0FF-A6AFFC037234}"/>
              </a:ext>
            </a:extLst>
          </p:cNvPr>
          <p:cNvSpPr txBox="1"/>
          <p:nvPr/>
        </p:nvSpPr>
        <p:spPr>
          <a:xfrm>
            <a:off x="2977819" y="3027620"/>
            <a:ext cx="15057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bin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DN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02C7B93-5917-4554-A4BA-1BA33B84971B}"/>
              </a:ext>
            </a:extLst>
          </p:cNvPr>
          <p:cNvGrpSpPr/>
          <p:nvPr/>
        </p:nvGrpSpPr>
        <p:grpSpPr>
          <a:xfrm>
            <a:off x="2809701" y="2651012"/>
            <a:ext cx="1831152" cy="152400"/>
            <a:chOff x="2809701" y="2651012"/>
            <a:chExt cx="1831152" cy="152400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367B987D-19A5-4181-A912-CC8DEF069B4F}"/>
                </a:ext>
              </a:extLst>
            </p:cNvPr>
            <p:cNvCxnSpPr/>
            <p:nvPr/>
          </p:nvCxnSpPr>
          <p:spPr>
            <a:xfrm>
              <a:off x="2809702" y="2651012"/>
              <a:ext cx="894639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FDEE1AD3-2645-4FF8-A965-72F2620E6123}"/>
                </a:ext>
              </a:extLst>
            </p:cNvPr>
            <p:cNvCxnSpPr/>
            <p:nvPr/>
          </p:nvCxnSpPr>
          <p:spPr>
            <a:xfrm>
              <a:off x="2809701" y="2803412"/>
              <a:ext cx="183115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B8CF683-B63C-4932-9D3A-A2E0691C6F80}"/>
                </a:ext>
              </a:extLst>
            </p:cNvPr>
            <p:cNvCxnSpPr/>
            <p:nvPr/>
          </p:nvCxnSpPr>
          <p:spPr>
            <a:xfrm>
              <a:off x="3932940" y="2651012"/>
              <a:ext cx="694126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EBE65EB0-459D-4FD3-ABCA-63F9462650AD}"/>
              </a:ext>
            </a:extLst>
          </p:cNvPr>
          <p:cNvSpPr txBox="1"/>
          <p:nvPr/>
        </p:nvSpPr>
        <p:spPr>
          <a:xfrm>
            <a:off x="5159808" y="3014921"/>
            <a:ext cx="173522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attrac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factors 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x damage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97372537-E5BB-4833-B3ED-5051D0D4B351}"/>
              </a:ext>
            </a:extLst>
          </p:cNvPr>
          <p:cNvCxnSpPr>
            <a:cxnSpLocks/>
          </p:cNvCxnSpPr>
          <p:nvPr/>
        </p:nvCxnSpPr>
        <p:spPr>
          <a:xfrm>
            <a:off x="2414359" y="2733324"/>
            <a:ext cx="313046" cy="0"/>
          </a:xfrm>
          <a:prstGeom prst="straightConnector1">
            <a:avLst/>
          </a:prstGeom>
          <a:ln w="50800" cmpd="sng">
            <a:solidFill>
              <a:schemeClr val="tx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FCA670CA-3BA0-4ADA-9DCC-E5B06CD9C84D}"/>
              </a:ext>
            </a:extLst>
          </p:cNvPr>
          <p:cNvCxnSpPr>
            <a:cxnSpLocks/>
          </p:cNvCxnSpPr>
          <p:nvPr/>
        </p:nvCxnSpPr>
        <p:spPr>
          <a:xfrm>
            <a:off x="4688167" y="2767521"/>
            <a:ext cx="313046" cy="0"/>
          </a:xfrm>
          <a:prstGeom prst="straightConnector1">
            <a:avLst/>
          </a:prstGeom>
          <a:ln w="50800" cmpd="sng">
            <a:solidFill>
              <a:schemeClr val="tx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C14C5C1E-549B-41F7-AF2C-13AA80477E04}"/>
              </a:ext>
            </a:extLst>
          </p:cNvPr>
          <p:cNvCxnSpPr>
            <a:cxnSpLocks/>
          </p:cNvCxnSpPr>
          <p:nvPr/>
        </p:nvCxnSpPr>
        <p:spPr>
          <a:xfrm>
            <a:off x="4770463" y="3394646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695899F9-FDDA-451F-AC92-CD77D3C36583}"/>
              </a:ext>
            </a:extLst>
          </p:cNvPr>
          <p:cNvCxnSpPr>
            <a:cxnSpLocks/>
          </p:cNvCxnSpPr>
          <p:nvPr/>
        </p:nvCxnSpPr>
        <p:spPr>
          <a:xfrm>
            <a:off x="2451332" y="3349309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12F4CE7E-7418-4DDD-A0EF-C56170DD4280}"/>
              </a:ext>
            </a:extLst>
          </p:cNvPr>
          <p:cNvGrpSpPr/>
          <p:nvPr/>
        </p:nvGrpSpPr>
        <p:grpSpPr>
          <a:xfrm>
            <a:off x="5160101" y="1492855"/>
            <a:ext cx="1153250" cy="1263011"/>
            <a:chOff x="7662068" y="3943085"/>
            <a:chExt cx="1153250" cy="126301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659916C-7FB2-41C5-A8AC-81E6480E44DB}"/>
                </a:ext>
              </a:extLst>
            </p:cNvPr>
            <p:cNvGrpSpPr/>
            <p:nvPr/>
          </p:nvGrpSpPr>
          <p:grpSpPr>
            <a:xfrm>
              <a:off x="8269286" y="3943085"/>
              <a:ext cx="546032" cy="882176"/>
              <a:chOff x="8727136" y="3561225"/>
              <a:chExt cx="546032" cy="88217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F5398E38-2DB1-4E21-8185-2F462419A11E}"/>
                  </a:ext>
                </a:extLst>
              </p:cNvPr>
              <p:cNvSpPr/>
              <p:nvPr/>
            </p:nvSpPr>
            <p:spPr bwMode="auto">
              <a:xfrm flipH="1">
                <a:off x="9209819" y="369147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412ADBB-A949-4A0E-8EE9-99A6BCB03A09}"/>
                  </a:ext>
                </a:extLst>
              </p:cNvPr>
              <p:cNvSpPr/>
              <p:nvPr/>
            </p:nvSpPr>
            <p:spPr bwMode="auto">
              <a:xfrm flipH="1">
                <a:off x="9183238" y="375548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28A22C7-325E-4E05-9150-5D44F165AF1D}"/>
                  </a:ext>
                </a:extLst>
              </p:cNvPr>
              <p:cNvSpPr/>
              <p:nvPr/>
            </p:nvSpPr>
            <p:spPr bwMode="auto">
              <a:xfrm flipH="1">
                <a:off x="9151564" y="381770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D64CA37-E8B1-406D-ACD1-37A8147E66EE}"/>
                  </a:ext>
                </a:extLst>
              </p:cNvPr>
              <p:cNvSpPr/>
              <p:nvPr/>
            </p:nvSpPr>
            <p:spPr bwMode="auto">
              <a:xfrm flipH="1">
                <a:off x="9132820" y="388349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00E84DBE-C1A7-4384-9532-11DD4685CAE3}"/>
                  </a:ext>
                </a:extLst>
              </p:cNvPr>
              <p:cNvSpPr/>
              <p:nvPr/>
            </p:nvSpPr>
            <p:spPr bwMode="auto">
              <a:xfrm flipH="1">
                <a:off x="9101145" y="394079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DA5E331-9A49-4BB8-A359-1ABB46F3303F}"/>
                  </a:ext>
                </a:extLst>
              </p:cNvPr>
              <p:cNvSpPr/>
              <p:nvPr/>
            </p:nvSpPr>
            <p:spPr bwMode="auto">
              <a:xfrm flipH="1">
                <a:off x="9051859" y="398177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761F5AA-9954-4BD8-841B-2B34052A772E}"/>
                  </a:ext>
                </a:extLst>
              </p:cNvPr>
              <p:cNvSpPr/>
              <p:nvPr/>
            </p:nvSpPr>
            <p:spPr bwMode="auto">
              <a:xfrm flipH="1">
                <a:off x="9004285" y="402563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803E240-DE46-4755-82C6-EDB12197D026}"/>
                  </a:ext>
                </a:extLst>
              </p:cNvPr>
              <p:cNvSpPr/>
              <p:nvPr/>
            </p:nvSpPr>
            <p:spPr bwMode="auto">
              <a:xfrm flipH="1">
                <a:off x="8942574" y="405509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697735BD-38D2-4D20-AA7B-81352EE40023}"/>
                  </a:ext>
                </a:extLst>
              </p:cNvPr>
              <p:cNvSpPr/>
              <p:nvPr/>
            </p:nvSpPr>
            <p:spPr bwMode="auto">
              <a:xfrm flipH="1">
                <a:off x="8877050" y="405309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DDBF7D9-1024-4C32-9EA4-B7735EB08856}"/>
                  </a:ext>
                </a:extLst>
              </p:cNvPr>
              <p:cNvSpPr/>
              <p:nvPr/>
            </p:nvSpPr>
            <p:spPr bwMode="auto">
              <a:xfrm flipH="1">
                <a:off x="8812481" y="406019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09554EF7-6653-44B6-9446-F69425A3CC95}"/>
                  </a:ext>
                </a:extLst>
              </p:cNvPr>
              <p:cNvGrpSpPr/>
              <p:nvPr/>
            </p:nvGrpSpPr>
            <p:grpSpPr>
              <a:xfrm>
                <a:off x="8727136" y="3698463"/>
                <a:ext cx="282836" cy="345967"/>
                <a:chOff x="8535995" y="3812412"/>
                <a:chExt cx="282836" cy="345967"/>
              </a:xfrm>
            </p:grpSpPr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C22F69B3-EDD5-49F0-874C-26CFE0E359A5}"/>
                    </a:ext>
                  </a:extLst>
                </p:cNvPr>
                <p:cNvSpPr/>
                <p:nvPr/>
              </p:nvSpPr>
              <p:spPr bwMode="auto">
                <a:xfrm flipH="1">
                  <a:off x="8755482" y="4094371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4211E972-DB27-4326-9671-264802896876}"/>
                    </a:ext>
                  </a:extLst>
                </p:cNvPr>
                <p:cNvSpPr/>
                <p:nvPr/>
              </p:nvSpPr>
              <p:spPr bwMode="auto">
                <a:xfrm flipH="1">
                  <a:off x="8693951" y="4094279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5F4F9E2E-ED16-42FD-B6EA-6996FFF047F8}"/>
                    </a:ext>
                  </a:extLst>
                </p:cNvPr>
                <p:cNvSpPr/>
                <p:nvPr/>
              </p:nvSpPr>
              <p:spPr bwMode="auto">
                <a:xfrm flipH="1">
                  <a:off x="8635134" y="4065645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36934866-3AF7-43F0-85C1-15180A75BF14}"/>
                    </a:ext>
                  </a:extLst>
                </p:cNvPr>
                <p:cNvSpPr/>
                <p:nvPr/>
              </p:nvSpPr>
              <p:spPr bwMode="auto">
                <a:xfrm flipH="1">
                  <a:off x="8589813" y="4015846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21E5806A-B777-4BF2-B5AB-AF1ABEF6E43B}"/>
                    </a:ext>
                  </a:extLst>
                </p:cNvPr>
                <p:cNvSpPr/>
                <p:nvPr/>
              </p:nvSpPr>
              <p:spPr bwMode="auto">
                <a:xfrm flipH="1">
                  <a:off x="8571786" y="3945892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EC99E359-01B4-405F-BBA9-7BE75C57CFA6}"/>
                    </a:ext>
                  </a:extLst>
                </p:cNvPr>
                <p:cNvSpPr/>
                <p:nvPr/>
              </p:nvSpPr>
              <p:spPr bwMode="auto">
                <a:xfrm flipH="1">
                  <a:off x="8548636" y="3883208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33EB002F-3292-4D7C-BC5E-5167A81E4F33}"/>
                    </a:ext>
                  </a:extLst>
                </p:cNvPr>
                <p:cNvSpPr/>
                <p:nvPr/>
              </p:nvSpPr>
              <p:spPr bwMode="auto">
                <a:xfrm flipH="1">
                  <a:off x="8535995" y="3812412"/>
                  <a:ext cx="63349" cy="6400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non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DCDC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83614224-C088-4A99-9254-7F11A0DC7E7B}"/>
                  </a:ext>
                </a:extLst>
              </p:cNvPr>
              <p:cNvSpPr/>
              <p:nvPr/>
            </p:nvSpPr>
            <p:spPr bwMode="auto">
              <a:xfrm flipH="1">
                <a:off x="8825970" y="412758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C258DD9-3ED0-4763-941C-D9F758B23E78}"/>
                  </a:ext>
                </a:extLst>
              </p:cNvPr>
              <p:cNvSpPr/>
              <p:nvPr/>
            </p:nvSpPr>
            <p:spPr bwMode="auto">
              <a:xfrm flipH="1">
                <a:off x="8816655" y="4191442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2E906FF2-56E1-41D9-BB1E-C71118B8C66E}"/>
                  </a:ext>
                </a:extLst>
              </p:cNvPr>
              <p:cNvSpPr/>
              <p:nvPr/>
            </p:nvSpPr>
            <p:spPr bwMode="auto">
              <a:xfrm flipH="1">
                <a:off x="8797279" y="425288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66958F2-5596-4E80-A61E-F4862B43BF1A}"/>
                  </a:ext>
                </a:extLst>
              </p:cNvPr>
              <p:cNvSpPr/>
              <p:nvPr/>
            </p:nvSpPr>
            <p:spPr bwMode="auto">
              <a:xfrm flipH="1">
                <a:off x="8777902" y="432016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C3DE9734-36FB-49CB-AF7C-7DAF099BB093}"/>
                  </a:ext>
                </a:extLst>
              </p:cNvPr>
              <p:cNvSpPr/>
              <p:nvPr/>
            </p:nvSpPr>
            <p:spPr bwMode="auto">
              <a:xfrm flipH="1">
                <a:off x="8751307" y="437939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6CC0DFF-D5AC-4509-A2FB-A1172273C4F0}"/>
                  </a:ext>
                </a:extLst>
              </p:cNvPr>
              <p:cNvSpPr/>
              <p:nvPr/>
            </p:nvSpPr>
            <p:spPr bwMode="auto">
              <a:xfrm flipH="1">
                <a:off x="9051931" y="3902033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39FE9A8-5E5C-4B26-9063-1780A0535E3B}"/>
                  </a:ext>
                </a:extLst>
              </p:cNvPr>
              <p:cNvSpPr/>
              <p:nvPr/>
            </p:nvSpPr>
            <p:spPr bwMode="auto">
              <a:xfrm flipH="1">
                <a:off x="8997108" y="3869766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15929193-AA9C-4975-9DE0-CC4AAD4A836C}"/>
                  </a:ext>
                </a:extLst>
              </p:cNvPr>
              <p:cNvSpPr/>
              <p:nvPr/>
            </p:nvSpPr>
            <p:spPr bwMode="auto">
              <a:xfrm flipH="1">
                <a:off x="8957488" y="381278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DB0E61DA-3E5E-4116-A408-9DC47F9CB286}"/>
                  </a:ext>
                </a:extLst>
              </p:cNvPr>
              <p:cNvSpPr/>
              <p:nvPr/>
            </p:nvSpPr>
            <p:spPr bwMode="auto">
              <a:xfrm flipH="1">
                <a:off x="8920901" y="3757591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F4481E0-D853-4A96-8FEC-EFBBE26E3862}"/>
                  </a:ext>
                </a:extLst>
              </p:cNvPr>
              <p:cNvSpPr/>
              <p:nvPr/>
            </p:nvSpPr>
            <p:spPr bwMode="auto">
              <a:xfrm flipH="1">
                <a:off x="8898384" y="369563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6A91A660-D17C-4BA0-B23E-49E5372775D1}"/>
                  </a:ext>
                </a:extLst>
              </p:cNvPr>
              <p:cNvSpPr/>
              <p:nvPr/>
            </p:nvSpPr>
            <p:spPr bwMode="auto">
              <a:xfrm flipH="1">
                <a:off x="8880987" y="3627404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D34BE1D-E9A7-46E8-BA12-F0B4B4EAB24B}"/>
                  </a:ext>
                </a:extLst>
              </p:cNvPr>
              <p:cNvSpPr/>
              <p:nvPr/>
            </p:nvSpPr>
            <p:spPr bwMode="auto">
              <a:xfrm flipH="1">
                <a:off x="8871839" y="3561225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3FBDBEF-2D13-483B-8163-770F5A86D859}"/>
                  </a:ext>
                </a:extLst>
              </p:cNvPr>
              <p:cNvSpPr/>
              <p:nvPr/>
            </p:nvSpPr>
            <p:spPr bwMode="auto">
              <a:xfrm flipH="1">
                <a:off x="9100175" y="377463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A7B4AA17-5EA5-46F4-9223-6CC017B1856A}"/>
                  </a:ext>
                </a:extLst>
              </p:cNvPr>
              <p:cNvSpPr/>
              <p:nvPr/>
            </p:nvSpPr>
            <p:spPr bwMode="auto">
              <a:xfrm flipH="1">
                <a:off x="9067634" y="3717337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D80C487-83E0-49D1-A411-FBED261C162E}"/>
                  </a:ext>
                </a:extLst>
              </p:cNvPr>
              <p:cNvSpPr/>
              <p:nvPr/>
            </p:nvSpPr>
            <p:spPr bwMode="auto">
              <a:xfrm flipH="1">
                <a:off x="9051931" y="3653238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10C2FD2-BC4C-4545-BE9D-1F9B328677A5}"/>
                  </a:ext>
                </a:extLst>
              </p:cNvPr>
              <p:cNvSpPr/>
              <p:nvPr/>
            </p:nvSpPr>
            <p:spPr bwMode="auto">
              <a:xfrm flipH="1">
                <a:off x="9042784" y="3578486"/>
                <a:ext cx="63349" cy="640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DCDC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22" name="Oval 6">
              <a:extLst>
                <a:ext uri="{FF2B5EF4-FFF2-40B4-BE49-F238E27FC236}">
                  <a16:creationId xmlns:a16="http://schemas.microsoft.com/office/drawing/2014/main" id="{13C74C4A-A7AB-4B9D-A99E-94C0D4CF2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2068" y="4659505"/>
              <a:ext cx="689213" cy="285750"/>
            </a:xfrm>
            <a:prstGeom prst="ellipse">
              <a:avLst/>
            </a:prstGeom>
            <a:solidFill>
              <a:schemeClr val="bg2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Lig3</a:t>
              </a:r>
            </a:p>
          </p:txBody>
        </p:sp>
        <p:sp>
          <p:nvSpPr>
            <p:cNvPr id="123" name="Oval 7">
              <a:extLst>
                <a:ext uri="{FF2B5EF4-FFF2-40B4-BE49-F238E27FC236}">
                  <a16:creationId xmlns:a16="http://schemas.microsoft.com/office/drawing/2014/main" id="{CFCC5ABE-2766-4E76-8F0D-39BEF8080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4709" y="4867658"/>
              <a:ext cx="689213" cy="338438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XRCC1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A3B7D90-47A1-4151-8D86-245D5C6BEB91}"/>
                </a:ext>
              </a:extLst>
            </p:cNvPr>
            <p:cNvGrpSpPr/>
            <p:nvPr/>
          </p:nvGrpSpPr>
          <p:grpSpPr>
            <a:xfrm>
              <a:off x="7855551" y="4340719"/>
              <a:ext cx="574675" cy="358775"/>
              <a:chOff x="8892024" y="5569852"/>
              <a:chExt cx="574675" cy="358775"/>
            </a:xfrm>
          </p:grpSpPr>
          <p:sp>
            <p:nvSpPr>
              <p:cNvPr id="124" name="Oval 9">
                <a:extLst>
                  <a:ext uri="{FF2B5EF4-FFF2-40B4-BE49-F238E27FC236}">
                    <a16:creationId xmlns:a16="http://schemas.microsoft.com/office/drawing/2014/main" id="{6A8F682A-098E-4D88-BAAD-765B006E97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92024" y="5569852"/>
                <a:ext cx="574675" cy="358775"/>
              </a:xfrm>
              <a:prstGeom prst="ellipse">
                <a:avLst/>
              </a:prstGeom>
              <a:solidFill>
                <a:schemeClr val="accent6"/>
              </a:solidFill>
              <a:ln w="63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5" name="Text Box 10">
                <a:extLst>
                  <a:ext uri="{FF2B5EF4-FFF2-40B4-BE49-F238E27FC236}">
                    <a16:creationId xmlns:a16="http://schemas.microsoft.com/office/drawing/2014/main" id="{4B75A33C-78DD-409A-A621-0D6C0C3349E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13350" y="5641809"/>
                <a:ext cx="470706" cy="250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cap="rnd">
                    <a:solidFill>
                      <a:srgbClr val="000000"/>
                    </a:solidFill>
                    <a:prstDash val="sysDot"/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Lβ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0F9DA2B-B6C9-4AE1-A85B-C1B637A1566E}"/>
                </a:ext>
              </a:extLst>
            </p:cNvPr>
            <p:cNvGrpSpPr/>
            <p:nvPr/>
          </p:nvGrpSpPr>
          <p:grpSpPr>
            <a:xfrm>
              <a:off x="8236126" y="4591833"/>
              <a:ext cx="574675" cy="358775"/>
              <a:chOff x="8455462" y="5505209"/>
              <a:chExt cx="574675" cy="358775"/>
            </a:xfrm>
          </p:grpSpPr>
          <p:sp>
            <p:nvSpPr>
              <p:cNvPr id="126" name="Oval 13">
                <a:extLst>
                  <a:ext uri="{FF2B5EF4-FFF2-40B4-BE49-F238E27FC236}">
                    <a16:creationId xmlns:a16="http://schemas.microsoft.com/office/drawing/2014/main" id="{FF1318A8-E174-42E1-ACC1-4F04118A21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55462" y="5505209"/>
                <a:ext cx="574675" cy="358775"/>
              </a:xfrm>
              <a:prstGeom prst="ellipse">
                <a:avLst/>
              </a:prstGeom>
              <a:solidFill>
                <a:schemeClr val="accent4"/>
              </a:solidFill>
              <a:ln w="63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7" name="Rectangle 14">
                <a:extLst>
                  <a:ext uri="{FF2B5EF4-FFF2-40B4-BE49-F238E27FC236}">
                    <a16:creationId xmlns:a16="http://schemas.microsoft.com/office/drawing/2014/main" id="{E3257842-117C-4E62-89EF-030B21D51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0916" y="5580372"/>
                <a:ext cx="452368" cy="250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cap="rnd">
                    <a:solidFill>
                      <a:srgbClr val="000000"/>
                    </a:solidFill>
                    <a:prstDash val="sysDot"/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noAutofit/>
              </a:bodyPr>
              <a:lstStyle>
                <a:lvl1pPr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 defTabSz="7620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defTabSz="7620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panose="020B0604020202020204" pitchFamily="34" charset="0"/>
                  <a:buChar char="–"/>
                  <a:defRPr sz="1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762000" rtl="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PNK</a:t>
                </a:r>
              </a:p>
            </p:txBody>
          </p:sp>
        </p:grpSp>
      </p:grpSp>
      <p:sp>
        <p:nvSpPr>
          <p:cNvPr id="128" name="Lightning Bolt 127">
            <a:extLst>
              <a:ext uri="{FF2B5EF4-FFF2-40B4-BE49-F238E27FC236}">
                <a16:creationId xmlns:a16="http://schemas.microsoft.com/office/drawing/2014/main" id="{69E024BC-2002-4D27-A3D7-C82F0B32CF56}"/>
              </a:ext>
            </a:extLst>
          </p:cNvPr>
          <p:cNvSpPr/>
          <p:nvPr/>
        </p:nvSpPr>
        <p:spPr>
          <a:xfrm rot="21119913" flipH="1">
            <a:off x="1454823" y="2208760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FE63389-EB2B-4F73-950C-FE9A6B621DCA}"/>
              </a:ext>
            </a:extLst>
          </p:cNvPr>
          <p:cNvGrpSpPr/>
          <p:nvPr/>
        </p:nvGrpSpPr>
        <p:grpSpPr>
          <a:xfrm>
            <a:off x="3397221" y="2244987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6980713D-C128-44D1-B5F7-AC3BDA10CB09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FAA1381-2F2C-4633-8E41-EF46DE0617CA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F76B8100-D963-4586-A72D-4E140CEEEBC7}"/>
              </a:ext>
            </a:extLst>
          </p:cNvPr>
          <p:cNvGrpSpPr/>
          <p:nvPr/>
        </p:nvGrpSpPr>
        <p:grpSpPr>
          <a:xfrm>
            <a:off x="6248487" y="2262362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1FFCD06C-AAE1-4794-B08E-C0B363E2C1E1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8967E58-FD15-4F38-AF43-A3D589683E43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D5C2F113-6867-46A6-AF4E-87AD4A340B05}"/>
              </a:ext>
            </a:extLst>
          </p:cNvPr>
          <p:cNvSpPr txBox="1"/>
          <p:nvPr/>
        </p:nvSpPr>
        <p:spPr>
          <a:xfrm>
            <a:off x="7490930" y="3014921"/>
            <a:ext cx="169309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difies itsel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detach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67C21803-C225-4CA6-98E9-171FA1A6986B}"/>
              </a:ext>
            </a:extLst>
          </p:cNvPr>
          <p:cNvCxnSpPr/>
          <p:nvPr/>
        </p:nvCxnSpPr>
        <p:spPr>
          <a:xfrm>
            <a:off x="7416459" y="2638312"/>
            <a:ext cx="1818452" cy="424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CD3EAE5-1E86-4C57-BB4D-93E9CE4CE7FC}"/>
              </a:ext>
            </a:extLst>
          </p:cNvPr>
          <p:cNvCxnSpPr/>
          <p:nvPr/>
        </p:nvCxnSpPr>
        <p:spPr>
          <a:xfrm>
            <a:off x="7416459" y="2790712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CB4254B3-5242-4AC5-9414-523284BE1CAA}"/>
              </a:ext>
            </a:extLst>
          </p:cNvPr>
          <p:cNvSpPr txBox="1"/>
          <p:nvPr/>
        </p:nvSpPr>
        <p:spPr>
          <a:xfrm>
            <a:off x="10258997" y="2990554"/>
            <a:ext cx="118038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ai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e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62AF2DAD-3663-41F3-B2A0-3761C5B84A60}"/>
              </a:ext>
            </a:extLst>
          </p:cNvPr>
          <p:cNvCxnSpPr/>
          <p:nvPr/>
        </p:nvCxnSpPr>
        <p:spPr>
          <a:xfrm>
            <a:off x="9928172" y="2613945"/>
            <a:ext cx="1818452" cy="424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E9E0EE3-ACAA-4B45-80F7-72CA1113D214}"/>
              </a:ext>
            </a:extLst>
          </p:cNvPr>
          <p:cNvCxnSpPr/>
          <p:nvPr/>
        </p:nvCxnSpPr>
        <p:spPr>
          <a:xfrm>
            <a:off x="9928172" y="2766345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206B9DEE-4C08-4EBC-B73C-796E96785C56}"/>
              </a:ext>
            </a:extLst>
          </p:cNvPr>
          <p:cNvSpPr txBox="1"/>
          <p:nvPr/>
        </p:nvSpPr>
        <p:spPr>
          <a:xfrm>
            <a:off x="5159808" y="4426837"/>
            <a:ext cx="6333850" cy="138499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uck on You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1 must modify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tself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detach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 inhibitors prevent this modification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D06E78C0-1065-490B-ADF2-0636B2E6CE53}"/>
              </a:ext>
            </a:extLst>
          </p:cNvPr>
          <p:cNvCxnSpPr>
            <a:cxnSpLocks/>
          </p:cNvCxnSpPr>
          <p:nvPr/>
        </p:nvCxnSpPr>
        <p:spPr>
          <a:xfrm>
            <a:off x="9426029" y="2721801"/>
            <a:ext cx="313046" cy="0"/>
          </a:xfrm>
          <a:prstGeom prst="straightConnector1">
            <a:avLst/>
          </a:prstGeom>
          <a:ln w="50800" cmpd="sng">
            <a:solidFill>
              <a:schemeClr val="tx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F317D9D-ED75-4420-A342-5693C8A659EE}"/>
              </a:ext>
            </a:extLst>
          </p:cNvPr>
          <p:cNvCxnSpPr>
            <a:cxnSpLocks/>
          </p:cNvCxnSpPr>
          <p:nvPr/>
        </p:nvCxnSpPr>
        <p:spPr>
          <a:xfrm>
            <a:off x="7067250" y="3381746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282545A3-3A7E-433F-A7AC-EEC6EA7DA63C}"/>
              </a:ext>
            </a:extLst>
          </p:cNvPr>
          <p:cNvCxnSpPr>
            <a:cxnSpLocks/>
          </p:cNvCxnSpPr>
          <p:nvPr/>
        </p:nvCxnSpPr>
        <p:spPr>
          <a:xfrm>
            <a:off x="9601038" y="3349309"/>
            <a:ext cx="27607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Left Brace 107">
            <a:extLst>
              <a:ext uri="{FF2B5EF4-FFF2-40B4-BE49-F238E27FC236}">
                <a16:creationId xmlns:a16="http://schemas.microsoft.com/office/drawing/2014/main" id="{822E5195-870C-49B7-AA95-B4BD3C95E559}"/>
              </a:ext>
            </a:extLst>
          </p:cNvPr>
          <p:cNvSpPr/>
          <p:nvPr/>
        </p:nvSpPr>
        <p:spPr bwMode="auto">
          <a:xfrm rot="16200000">
            <a:off x="8183134" y="3479173"/>
            <a:ext cx="268777" cy="1371600"/>
          </a:xfrm>
          <a:prstGeom prst="leftBrace">
            <a:avLst>
              <a:gd name="adj1" fmla="val 29596"/>
              <a:gd name="adj2" fmla="val 50000"/>
            </a:avLst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147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8B8C506-02E8-4A15-B9A9-C961C7755342}"/>
              </a:ext>
            </a:extLst>
          </p:cNvPr>
          <p:cNvGrpSpPr/>
          <p:nvPr/>
        </p:nvGrpSpPr>
        <p:grpSpPr>
          <a:xfrm rot="3225968" flipH="1">
            <a:off x="8921177" y="1940725"/>
            <a:ext cx="725585" cy="882176"/>
            <a:chOff x="8118771" y="4239346"/>
            <a:chExt cx="744845" cy="882176"/>
          </a:xfrm>
          <a:solidFill>
            <a:schemeClr val="accent1"/>
          </a:solidFill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831DCB7F-870B-41C4-8CE0-FEE7EBBDBAFC}"/>
                </a:ext>
              </a:extLst>
            </p:cNvPr>
            <p:cNvSpPr/>
            <p:nvPr/>
          </p:nvSpPr>
          <p:spPr bwMode="auto">
            <a:xfrm>
              <a:off x="8118771" y="436959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F406E507-80DC-4E70-9EFB-9E736FC696F7}"/>
                </a:ext>
              </a:extLst>
            </p:cNvPr>
            <p:cNvSpPr/>
            <p:nvPr/>
          </p:nvSpPr>
          <p:spPr bwMode="auto">
            <a:xfrm>
              <a:off x="8145629" y="443360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9FC1E4DC-83E3-480A-817C-C7C59686A5AD}"/>
                </a:ext>
              </a:extLst>
            </p:cNvPr>
            <p:cNvSpPr/>
            <p:nvPr/>
          </p:nvSpPr>
          <p:spPr bwMode="auto">
            <a:xfrm>
              <a:off x="8177633" y="449582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4081F1A3-0B09-49D9-BD25-802050C356CC}"/>
                </a:ext>
              </a:extLst>
            </p:cNvPr>
            <p:cNvSpPr/>
            <p:nvPr/>
          </p:nvSpPr>
          <p:spPr bwMode="auto">
            <a:xfrm>
              <a:off x="8196572" y="456161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3CC5E8DC-8635-4A15-9B40-A2016302D91B}"/>
                </a:ext>
              </a:extLst>
            </p:cNvPr>
            <p:cNvSpPr/>
            <p:nvPr/>
          </p:nvSpPr>
          <p:spPr bwMode="auto">
            <a:xfrm>
              <a:off x="8228576" y="461891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4657089C-FA89-423C-A449-4F452C3AC842}"/>
                </a:ext>
              </a:extLst>
            </p:cNvPr>
            <p:cNvSpPr/>
            <p:nvPr/>
          </p:nvSpPr>
          <p:spPr bwMode="auto">
            <a:xfrm>
              <a:off x="8278375" y="465989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86AFA684-7DE4-4FF6-8ABA-3C0BF1DE0A90}"/>
                </a:ext>
              </a:extLst>
            </p:cNvPr>
            <p:cNvSpPr/>
            <p:nvPr/>
          </p:nvSpPr>
          <p:spPr bwMode="auto">
            <a:xfrm>
              <a:off x="8326444" y="470375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B16EE97B-1387-4AEC-A566-A469A901D448}"/>
                </a:ext>
              </a:extLst>
            </p:cNvPr>
            <p:cNvSpPr/>
            <p:nvPr/>
          </p:nvSpPr>
          <p:spPr bwMode="auto">
            <a:xfrm>
              <a:off x="8388798" y="473321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08485FDD-A7D0-4793-A80D-43E43894002D}"/>
                </a:ext>
              </a:extLst>
            </p:cNvPr>
            <p:cNvSpPr/>
            <p:nvPr/>
          </p:nvSpPr>
          <p:spPr bwMode="auto">
            <a:xfrm>
              <a:off x="8455004" y="473121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30ACF8F2-DBCC-4EA6-93B1-ED732B49617B}"/>
                </a:ext>
              </a:extLst>
            </p:cNvPr>
            <p:cNvSpPr/>
            <p:nvPr/>
          </p:nvSpPr>
          <p:spPr bwMode="auto">
            <a:xfrm>
              <a:off x="8520245" y="473831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BEB258A-6A6F-4490-8575-3BE9E1AEB516}"/>
                </a:ext>
              </a:extLst>
            </p:cNvPr>
            <p:cNvSpPr/>
            <p:nvPr/>
          </p:nvSpPr>
          <p:spPr bwMode="auto">
            <a:xfrm>
              <a:off x="8577837" y="477249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DF3817C1-0AAB-4195-97F0-CC4242E3AFD8}"/>
                </a:ext>
              </a:extLst>
            </p:cNvPr>
            <p:cNvSpPr/>
            <p:nvPr/>
          </p:nvSpPr>
          <p:spPr bwMode="auto">
            <a:xfrm>
              <a:off x="8640008" y="4772400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D91454D4-AA8E-4350-8BAD-498BF0997054}"/>
                </a:ext>
              </a:extLst>
            </p:cNvPr>
            <p:cNvSpPr/>
            <p:nvPr/>
          </p:nvSpPr>
          <p:spPr bwMode="auto">
            <a:xfrm>
              <a:off x="8699437" y="474376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55EDD798-B735-49C6-B0CF-93AD9A0D7F29}"/>
                </a:ext>
              </a:extLst>
            </p:cNvPr>
            <p:cNvSpPr/>
            <p:nvPr/>
          </p:nvSpPr>
          <p:spPr bwMode="auto">
            <a:xfrm>
              <a:off x="8745230" y="469396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AE202EAE-7246-46AE-8F4A-8D053B0B66B8}"/>
                </a:ext>
              </a:extLst>
            </p:cNvPr>
            <p:cNvSpPr/>
            <p:nvPr/>
          </p:nvSpPr>
          <p:spPr bwMode="auto">
            <a:xfrm>
              <a:off x="8763445" y="462401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7FA2BE43-ACC1-4D87-BE49-E313477060C8}"/>
                </a:ext>
              </a:extLst>
            </p:cNvPr>
            <p:cNvSpPr/>
            <p:nvPr/>
          </p:nvSpPr>
          <p:spPr bwMode="auto">
            <a:xfrm>
              <a:off x="8786835" y="4561329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E5E5BEA4-C991-4D05-9403-E1B4D0D36C06}"/>
                </a:ext>
              </a:extLst>
            </p:cNvPr>
            <p:cNvSpPr/>
            <p:nvPr/>
          </p:nvSpPr>
          <p:spPr bwMode="auto">
            <a:xfrm>
              <a:off x="8799608" y="449053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9D2296F-265C-45FB-A9D3-4616743D08D3}"/>
                </a:ext>
              </a:extLst>
            </p:cNvPr>
            <p:cNvSpPr/>
            <p:nvPr/>
          </p:nvSpPr>
          <p:spPr bwMode="auto">
            <a:xfrm>
              <a:off x="8506615" y="480570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550EA711-2183-46F9-9A7D-384CB1EA615F}"/>
                </a:ext>
              </a:extLst>
            </p:cNvPr>
            <p:cNvSpPr/>
            <p:nvPr/>
          </p:nvSpPr>
          <p:spPr bwMode="auto">
            <a:xfrm>
              <a:off x="8516027" y="4869563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5EFD23D9-115B-4F89-A92F-B3338C4FEB51}"/>
                </a:ext>
              </a:extLst>
            </p:cNvPr>
            <p:cNvSpPr/>
            <p:nvPr/>
          </p:nvSpPr>
          <p:spPr bwMode="auto">
            <a:xfrm>
              <a:off x="8535605" y="493100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4F551C83-75B6-45EB-9859-7929A23BBBE2}"/>
                </a:ext>
              </a:extLst>
            </p:cNvPr>
            <p:cNvSpPr/>
            <p:nvPr/>
          </p:nvSpPr>
          <p:spPr bwMode="auto">
            <a:xfrm>
              <a:off x="8555183" y="499828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A508AA22-8418-4051-AB20-BD01BBABAD76}"/>
                </a:ext>
              </a:extLst>
            </p:cNvPr>
            <p:cNvSpPr/>
            <p:nvPr/>
          </p:nvSpPr>
          <p:spPr bwMode="auto">
            <a:xfrm>
              <a:off x="8582055" y="505751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7750E9DD-9C14-4011-925C-C0ABB731664F}"/>
                </a:ext>
              </a:extLst>
            </p:cNvPr>
            <p:cNvSpPr/>
            <p:nvPr/>
          </p:nvSpPr>
          <p:spPr bwMode="auto">
            <a:xfrm>
              <a:off x="8278302" y="4580154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0B25BCB5-885F-4B82-A331-4D76D61580EB}"/>
                </a:ext>
              </a:extLst>
            </p:cNvPr>
            <p:cNvSpPr/>
            <p:nvPr/>
          </p:nvSpPr>
          <p:spPr bwMode="auto">
            <a:xfrm>
              <a:off x="8333696" y="454788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4E92C6B1-E8AA-46B4-95B9-61CC954FDE45}"/>
                </a:ext>
              </a:extLst>
            </p:cNvPr>
            <p:cNvSpPr/>
            <p:nvPr/>
          </p:nvSpPr>
          <p:spPr bwMode="auto">
            <a:xfrm>
              <a:off x="8373728" y="449090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2798D031-13F1-497B-8087-8A64F10F190C}"/>
                </a:ext>
              </a:extLst>
            </p:cNvPr>
            <p:cNvSpPr/>
            <p:nvPr/>
          </p:nvSpPr>
          <p:spPr bwMode="auto">
            <a:xfrm>
              <a:off x="8410696" y="4435712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BF2138D7-E574-4DB1-A94B-46709229EFB7}"/>
                </a:ext>
              </a:extLst>
            </p:cNvPr>
            <p:cNvSpPr/>
            <p:nvPr/>
          </p:nvSpPr>
          <p:spPr bwMode="auto">
            <a:xfrm>
              <a:off x="8433448" y="437375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C10763C0-D109-4793-B042-26EB5D51729E}"/>
                </a:ext>
              </a:extLst>
            </p:cNvPr>
            <p:cNvSpPr/>
            <p:nvPr/>
          </p:nvSpPr>
          <p:spPr bwMode="auto">
            <a:xfrm>
              <a:off x="8451026" y="4305525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ECF7EBBA-8338-4474-B7B4-7AA3C900B5ED}"/>
                </a:ext>
              </a:extLst>
            </p:cNvPr>
            <p:cNvSpPr/>
            <p:nvPr/>
          </p:nvSpPr>
          <p:spPr bwMode="auto">
            <a:xfrm>
              <a:off x="8460269" y="4239346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30F06D85-2453-496A-B256-64B991656D0B}"/>
                </a:ext>
              </a:extLst>
            </p:cNvPr>
            <p:cNvSpPr/>
            <p:nvPr/>
          </p:nvSpPr>
          <p:spPr bwMode="auto">
            <a:xfrm>
              <a:off x="8229556" y="445275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D04F95F-7090-4EC8-B9FF-40816919EE2B}"/>
                </a:ext>
              </a:extLst>
            </p:cNvPr>
            <p:cNvSpPr/>
            <p:nvPr/>
          </p:nvSpPr>
          <p:spPr bwMode="auto">
            <a:xfrm>
              <a:off x="8262436" y="4395458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8038964D-92ED-4A3D-BBE3-C8D56343641C}"/>
                </a:ext>
              </a:extLst>
            </p:cNvPr>
            <p:cNvSpPr/>
            <p:nvPr/>
          </p:nvSpPr>
          <p:spPr bwMode="auto">
            <a:xfrm>
              <a:off x="8278302" y="4331359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1D5E3706-716B-4EB9-A5F9-FE06FE8EDA2B}"/>
                </a:ext>
              </a:extLst>
            </p:cNvPr>
            <p:cNvSpPr/>
            <p:nvPr/>
          </p:nvSpPr>
          <p:spPr bwMode="auto">
            <a:xfrm>
              <a:off x="8287545" y="4256607"/>
              <a:ext cx="64008" cy="64008"/>
            </a:xfrm>
            <a:prstGeom prst="ellipse">
              <a:avLst/>
            </a:prstGeom>
            <a:grpFill/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B3DA4CE8-79B4-4A85-A404-A0870D809703}"/>
              </a:ext>
            </a:extLst>
          </p:cNvPr>
          <p:cNvGrpSpPr/>
          <p:nvPr/>
        </p:nvGrpSpPr>
        <p:grpSpPr>
          <a:xfrm>
            <a:off x="8140409" y="2223879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8F0FC06D-FFD5-407C-A17E-939B2A7E7AC2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220A883E-D190-4274-B852-3366C59E6277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A5A0DD6B-9722-48A3-8A75-1A43D627D60A}"/>
              </a:ext>
            </a:extLst>
          </p:cNvPr>
          <p:cNvGrpSpPr/>
          <p:nvPr/>
        </p:nvGrpSpPr>
        <p:grpSpPr>
          <a:xfrm rot="20699800">
            <a:off x="8363889" y="1818754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36D9049D-8DC7-47AA-8CAC-9287F9EF4BA7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FCAA36D2-DAF7-4559-B4A1-134C53B772F7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75233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51AA2D8A-67A9-DF46-AD4B-DB873C263EAD}"/>
              </a:ext>
            </a:extLst>
          </p:cNvPr>
          <p:cNvSpPr txBox="1"/>
          <p:nvPr/>
        </p:nvSpPr>
        <p:spPr>
          <a:xfrm>
            <a:off x="2785916" y="2466021"/>
            <a:ext cx="1531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rmal Cel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9578970-8F19-B244-A8A9-8FD65DB104CC}"/>
              </a:ext>
            </a:extLst>
          </p:cNvPr>
          <p:cNvSpPr txBox="1"/>
          <p:nvPr/>
        </p:nvSpPr>
        <p:spPr>
          <a:xfrm>
            <a:off x="4491429" y="1829895"/>
            <a:ext cx="20300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R Repair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490375E-A96E-FB4D-8E10-E6A9EF87CF51}"/>
              </a:ext>
            </a:extLst>
          </p:cNvPr>
          <p:cNvSpPr txBox="1"/>
          <p:nvPr/>
        </p:nvSpPr>
        <p:spPr>
          <a:xfrm>
            <a:off x="6521509" y="1522119"/>
            <a:ext cx="20137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sDNA Brea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air?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6B867F-1002-C040-9276-F2ACB51C5792}"/>
              </a:ext>
            </a:extLst>
          </p:cNvPr>
          <p:cNvSpPr txBox="1"/>
          <p:nvPr/>
        </p:nvSpPr>
        <p:spPr>
          <a:xfrm>
            <a:off x="1924847" y="3417758"/>
            <a:ext cx="23922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rmal Cells + PARPi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B91450A-93B3-B840-90C9-B518AD967DBC}"/>
              </a:ext>
            </a:extLst>
          </p:cNvPr>
          <p:cNvSpPr txBox="1"/>
          <p:nvPr/>
        </p:nvSpPr>
        <p:spPr>
          <a:xfrm>
            <a:off x="1233376" y="5321231"/>
            <a:ext cx="30837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RR-Deficient Cells + PARPi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7A0A265-941E-634D-8161-BA5A42BE82E0}"/>
              </a:ext>
            </a:extLst>
          </p:cNvPr>
          <p:cNvCxnSpPr>
            <a:cxnSpLocks/>
          </p:cNvCxnSpPr>
          <p:nvPr/>
        </p:nvCxnSpPr>
        <p:spPr>
          <a:xfrm>
            <a:off x="4472671" y="3191065"/>
            <a:ext cx="5733288" cy="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C3C6C9D-653E-9445-80D1-EBEE7C7B6382}"/>
              </a:ext>
            </a:extLst>
          </p:cNvPr>
          <p:cNvCxnSpPr>
            <a:cxnSpLocks/>
          </p:cNvCxnSpPr>
          <p:nvPr/>
        </p:nvCxnSpPr>
        <p:spPr>
          <a:xfrm>
            <a:off x="4472671" y="4137720"/>
            <a:ext cx="5744271" cy="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CDC317E-D6A5-CA4D-BDCC-1B87ED77362F}"/>
              </a:ext>
            </a:extLst>
          </p:cNvPr>
          <p:cNvCxnSpPr>
            <a:cxnSpLocks/>
          </p:cNvCxnSpPr>
          <p:nvPr/>
        </p:nvCxnSpPr>
        <p:spPr>
          <a:xfrm flipV="1">
            <a:off x="4472670" y="6079940"/>
            <a:ext cx="5751576" cy="1334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374497D-6842-F840-944C-51A73783178F}"/>
              </a:ext>
            </a:extLst>
          </p:cNvPr>
          <p:cNvCxnSpPr>
            <a:cxnSpLocks/>
          </p:cNvCxnSpPr>
          <p:nvPr/>
        </p:nvCxnSpPr>
        <p:spPr>
          <a:xfrm flipV="1">
            <a:off x="4491413" y="2254360"/>
            <a:ext cx="0" cy="3837328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9754CDE-D51F-2A49-802A-55F031DE13A8}"/>
              </a:ext>
            </a:extLst>
          </p:cNvPr>
          <p:cNvCxnSpPr>
            <a:cxnSpLocks/>
          </p:cNvCxnSpPr>
          <p:nvPr/>
        </p:nvCxnSpPr>
        <p:spPr>
          <a:xfrm flipV="1">
            <a:off x="6521509" y="2246901"/>
            <a:ext cx="0" cy="3844786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BEDB8B1-EEBC-554A-B1D0-E3701C7E08DC}"/>
              </a:ext>
            </a:extLst>
          </p:cNvPr>
          <p:cNvCxnSpPr>
            <a:cxnSpLocks/>
          </p:cNvCxnSpPr>
          <p:nvPr/>
        </p:nvCxnSpPr>
        <p:spPr>
          <a:xfrm flipV="1">
            <a:off x="8535214" y="2258647"/>
            <a:ext cx="1" cy="383304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1829CF8-9E13-3A4D-BBDE-2164CA6EF390}"/>
              </a:ext>
            </a:extLst>
          </p:cNvPr>
          <p:cNvCxnSpPr>
            <a:cxnSpLocks/>
          </p:cNvCxnSpPr>
          <p:nvPr/>
        </p:nvCxnSpPr>
        <p:spPr>
          <a:xfrm>
            <a:off x="4473140" y="2254360"/>
            <a:ext cx="5751576" cy="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CBAA6A6-3092-2141-847B-2CA5F5B29FC8}"/>
              </a:ext>
            </a:extLst>
          </p:cNvPr>
          <p:cNvCxnSpPr>
            <a:cxnSpLocks/>
          </p:cNvCxnSpPr>
          <p:nvPr/>
        </p:nvCxnSpPr>
        <p:spPr>
          <a:xfrm>
            <a:off x="4485363" y="5083781"/>
            <a:ext cx="5722435" cy="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988BE77-0F57-3745-AE54-55810DB3AE08}"/>
              </a:ext>
            </a:extLst>
          </p:cNvPr>
          <p:cNvCxnSpPr>
            <a:cxnSpLocks/>
          </p:cNvCxnSpPr>
          <p:nvPr/>
        </p:nvCxnSpPr>
        <p:spPr>
          <a:xfrm flipV="1">
            <a:off x="10207798" y="2246900"/>
            <a:ext cx="1" cy="3833040"/>
          </a:xfrm>
          <a:prstGeom prst="line">
            <a:avLst/>
          </a:prstGeom>
          <a:ln w="381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63AC896-981F-E046-8BC4-E4ABC124A78F}"/>
              </a:ext>
            </a:extLst>
          </p:cNvPr>
          <p:cNvSpPr/>
          <p:nvPr/>
        </p:nvSpPr>
        <p:spPr>
          <a:xfrm>
            <a:off x="5220664" y="2409652"/>
            <a:ext cx="571609" cy="5716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2513BFB-DD18-474E-AD12-8C78706EBF4F}"/>
              </a:ext>
            </a:extLst>
          </p:cNvPr>
          <p:cNvSpPr/>
          <p:nvPr/>
        </p:nvSpPr>
        <p:spPr>
          <a:xfrm>
            <a:off x="7242557" y="2409652"/>
            <a:ext cx="571609" cy="5716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6A46EF78-D964-9843-A42E-31B0DDAF571C}"/>
              </a:ext>
            </a:extLst>
          </p:cNvPr>
          <p:cNvSpPr/>
          <p:nvPr/>
        </p:nvSpPr>
        <p:spPr>
          <a:xfrm>
            <a:off x="5220664" y="3415549"/>
            <a:ext cx="571609" cy="5716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B7E18F8D-0981-644B-86C6-4EB46ADBA4A2}"/>
              </a:ext>
            </a:extLst>
          </p:cNvPr>
          <p:cNvSpPr/>
          <p:nvPr/>
        </p:nvSpPr>
        <p:spPr>
          <a:xfrm>
            <a:off x="7242557" y="3415549"/>
            <a:ext cx="571609" cy="571609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8F362175-746C-C34F-B981-4F3EA40653D4}"/>
              </a:ext>
            </a:extLst>
          </p:cNvPr>
          <p:cNvSpPr/>
          <p:nvPr/>
        </p:nvSpPr>
        <p:spPr>
          <a:xfrm>
            <a:off x="5220664" y="4330892"/>
            <a:ext cx="571609" cy="571609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8DE7FA50-C50C-844A-97EA-6F9DC899F483}"/>
              </a:ext>
            </a:extLst>
          </p:cNvPr>
          <p:cNvSpPr/>
          <p:nvPr/>
        </p:nvSpPr>
        <p:spPr>
          <a:xfrm>
            <a:off x="7242557" y="4330892"/>
            <a:ext cx="571609" cy="5716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9AA4EEFA-B4E1-FE40-B0A2-D6B14B51BEBF}"/>
              </a:ext>
            </a:extLst>
          </p:cNvPr>
          <p:cNvSpPr/>
          <p:nvPr/>
        </p:nvSpPr>
        <p:spPr>
          <a:xfrm>
            <a:off x="5220664" y="5269127"/>
            <a:ext cx="571609" cy="571609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690597D3-9672-4E48-B1F3-C176FBD77593}"/>
              </a:ext>
            </a:extLst>
          </p:cNvPr>
          <p:cNvSpPr/>
          <p:nvPr/>
        </p:nvSpPr>
        <p:spPr>
          <a:xfrm>
            <a:off x="7242557" y="5269127"/>
            <a:ext cx="571609" cy="571609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862E8FB1-BC65-8243-A79A-DE6A5DFAC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8802" y="5153749"/>
            <a:ext cx="845354" cy="876094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47B1457C-DD5A-4F45-9FDB-A41A1F79E0F6}"/>
              </a:ext>
            </a:extLst>
          </p:cNvPr>
          <p:cNvSpPr txBox="1"/>
          <p:nvPr/>
        </p:nvSpPr>
        <p:spPr>
          <a:xfrm>
            <a:off x="2094445" y="4369495"/>
            <a:ext cx="22226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RR-Deficient Cel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21DC7A-8991-BD44-967D-8AA382169C88}"/>
              </a:ext>
            </a:extLst>
          </p:cNvPr>
          <p:cNvSpPr txBox="1"/>
          <p:nvPr/>
        </p:nvSpPr>
        <p:spPr bwMode="auto">
          <a:xfrm>
            <a:off x="9116663" y="2492771"/>
            <a:ext cx="5296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Y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2D427F2-BB76-4C89-A5B6-F70F7C0DB976}"/>
              </a:ext>
            </a:extLst>
          </p:cNvPr>
          <p:cNvSpPr txBox="1"/>
          <p:nvPr/>
        </p:nvSpPr>
        <p:spPr>
          <a:xfrm>
            <a:off x="8555159" y="1829895"/>
            <a:ext cx="1652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ell Viability?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49B55D-5004-4B94-87E0-5E8FB28420E2}"/>
              </a:ext>
            </a:extLst>
          </p:cNvPr>
          <p:cNvSpPr txBox="1"/>
          <p:nvPr/>
        </p:nvSpPr>
        <p:spPr bwMode="auto">
          <a:xfrm>
            <a:off x="9116663" y="3393682"/>
            <a:ext cx="5296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Y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C266292-91A8-4E34-9D57-8E942D5A1C56}"/>
              </a:ext>
            </a:extLst>
          </p:cNvPr>
          <p:cNvSpPr txBox="1"/>
          <p:nvPr/>
        </p:nvSpPr>
        <p:spPr bwMode="auto">
          <a:xfrm>
            <a:off x="9116663" y="4346457"/>
            <a:ext cx="5296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Yes</a:t>
            </a:r>
          </a:p>
        </p:txBody>
      </p:sp>
      <p:sp>
        <p:nvSpPr>
          <p:cNvPr id="41" name="Text Box 11">
            <a:extLst>
              <a:ext uri="{FF2B5EF4-FFF2-40B4-BE49-F238E27FC236}">
                <a16:creationId xmlns:a16="http://schemas.microsoft.com/office/drawing/2014/main" id="{37EF3BE3-1E1C-4DCC-B14C-44D99703DB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047" y="6376504"/>
            <a:ext cx="86142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shworth. J Clin Oncol. 2008;26:3785. Lord. Nat Rev Cancer. 2016;16:110. Lord. Science. 2017;355;1152.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9C44E24-9DAC-4B05-BDD4-04305D3E0BCC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60"/>
            <a:ext cx="2488502" cy="447823"/>
            <a:chOff x="9527309" y="3551529"/>
            <a:chExt cx="2488502" cy="448324"/>
          </a:xfrm>
        </p:grpSpPr>
        <p:pic>
          <p:nvPicPr>
            <p:cNvPr id="43" name="Picture 9">
              <a:extLst>
                <a:ext uri="{FF2B5EF4-FFF2-40B4-BE49-F238E27FC236}">
                  <a16:creationId xmlns:a16="http://schemas.microsoft.com/office/drawing/2014/main" id="{7F55B86C-C420-4A90-87D4-49A02E4D73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Rectangle 8">
              <a:extLst>
                <a:ext uri="{FF2B5EF4-FFF2-40B4-BE49-F238E27FC236}">
                  <a16:creationId xmlns:a16="http://schemas.microsoft.com/office/drawing/2014/main" id="{DD9678A6-B1C6-4F94-B000-8A4B1F402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5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2AB773EA-27AC-4876-AFAE-26CCA0519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Lethality With PARPi Is Produced by Conditional Drug Sensitivity in HRR-Deficient Cells </a:t>
            </a:r>
          </a:p>
        </p:txBody>
      </p:sp>
    </p:spTree>
    <p:extLst>
      <p:ext uri="{BB962C8B-B14F-4D97-AF65-F5344CB8AC3E}">
        <p14:creationId xmlns:p14="http://schemas.microsoft.com/office/powerpoint/2010/main" val="28421247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1A5897D-3EA3-49CB-82E2-A7F35E389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PARP1 Inhibition Affects HRR-Deficient Cells</a:t>
            </a:r>
          </a:p>
        </p:txBody>
      </p:sp>
      <p:sp>
        <p:nvSpPr>
          <p:cNvPr id="58" name="Text Box 11">
            <a:extLst>
              <a:ext uri="{FF2B5EF4-FFF2-40B4-BE49-F238E27FC236}">
                <a16:creationId xmlns:a16="http://schemas.microsoft.com/office/drawing/2014/main" id="{81BC2EEA-1C62-4FC8-9C5E-37840CEF9B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222" y="6173360"/>
            <a:ext cx="893543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a-DK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yant. Nature. 2005;434:913. Farmer. Nature. 2005;434:917. 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cCabe. Cancer Res. 2006;66:8109.</a:t>
            </a:r>
            <a:b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ttenberg. </a:t>
            </a:r>
            <a:r>
              <a:rPr kumimoji="0" lang="pl-PL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 Natl Acad Sci U S A. 2008;105:17079.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da-DK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ng. NEJM. 2009;361:123.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2BB9160-B954-4590-AE5F-22D8822A4F82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60"/>
            <a:ext cx="2488502" cy="447823"/>
            <a:chOff x="9527309" y="3551529"/>
            <a:chExt cx="2488502" cy="448324"/>
          </a:xfrm>
        </p:grpSpPr>
        <p:pic>
          <p:nvPicPr>
            <p:cNvPr id="87" name="Picture 9">
              <a:extLst>
                <a:ext uri="{FF2B5EF4-FFF2-40B4-BE49-F238E27FC236}">
                  <a16:creationId xmlns:a16="http://schemas.microsoft.com/office/drawing/2014/main" id="{B26CF99A-5AE0-4BB7-9098-9BAA5769CF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Rectangle 8">
              <a:extLst>
                <a:ext uri="{FF2B5EF4-FFF2-40B4-BE49-F238E27FC236}">
                  <a16:creationId xmlns:a16="http://schemas.microsoft.com/office/drawing/2014/main" id="{8E4524A7-63EA-4F3C-9E0A-DECC00157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47C57439-59F2-48F5-B43D-915818067A46}"/>
              </a:ext>
            </a:extLst>
          </p:cNvPr>
          <p:cNvSpPr txBox="1"/>
          <p:nvPr/>
        </p:nvSpPr>
        <p:spPr>
          <a:xfrm>
            <a:off x="676271" y="1278467"/>
            <a:ext cx="4037644" cy="46166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ilure of Single-Strand Repair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511D6E5-23DA-4A21-8641-8794EEF75811}"/>
              </a:ext>
            </a:extLst>
          </p:cNvPr>
          <p:cNvCxnSpPr>
            <a:cxnSpLocks/>
          </p:cNvCxnSpPr>
          <p:nvPr/>
        </p:nvCxnSpPr>
        <p:spPr>
          <a:xfrm>
            <a:off x="9877387" y="3532970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B7E354D-060B-4650-B273-95C7B8926627}"/>
              </a:ext>
            </a:extLst>
          </p:cNvPr>
          <p:cNvCxnSpPr>
            <a:cxnSpLocks/>
          </p:cNvCxnSpPr>
          <p:nvPr/>
        </p:nvCxnSpPr>
        <p:spPr>
          <a:xfrm flipH="1">
            <a:off x="10016580" y="3535367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AED68636-5460-495F-A0DC-3955A043009F}"/>
              </a:ext>
            </a:extLst>
          </p:cNvPr>
          <p:cNvSpPr txBox="1"/>
          <p:nvPr/>
        </p:nvSpPr>
        <p:spPr>
          <a:xfrm>
            <a:off x="6468008" y="3721568"/>
            <a:ext cx="18409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ub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break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900A0E7D-EAFD-4390-9DA4-371CBB78AEA4}"/>
              </a:ext>
            </a:extLst>
          </p:cNvPr>
          <p:cNvCxnSpPr/>
          <p:nvPr/>
        </p:nvCxnSpPr>
        <p:spPr>
          <a:xfrm>
            <a:off x="873419" y="2770610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A8CF93DC-8B71-4446-85A7-2D24AB3E5806}"/>
              </a:ext>
            </a:extLst>
          </p:cNvPr>
          <p:cNvCxnSpPr/>
          <p:nvPr/>
        </p:nvCxnSpPr>
        <p:spPr>
          <a:xfrm>
            <a:off x="873418" y="2923010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D9547F0A-A4B5-420D-8400-681A45C6AD34}"/>
              </a:ext>
            </a:extLst>
          </p:cNvPr>
          <p:cNvCxnSpPr/>
          <p:nvPr/>
        </p:nvCxnSpPr>
        <p:spPr>
          <a:xfrm>
            <a:off x="1996657" y="2770610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3E85E7A5-4FE7-4C08-AC3D-EE020EC14E64}"/>
              </a:ext>
            </a:extLst>
          </p:cNvPr>
          <p:cNvCxnSpPr/>
          <p:nvPr/>
        </p:nvCxnSpPr>
        <p:spPr>
          <a:xfrm>
            <a:off x="6442069" y="3415736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CFA07F1-EDA6-4448-ABE4-7062C5DEEE53}"/>
              </a:ext>
            </a:extLst>
          </p:cNvPr>
          <p:cNvCxnSpPr/>
          <p:nvPr/>
        </p:nvCxnSpPr>
        <p:spPr>
          <a:xfrm>
            <a:off x="7565307" y="3415736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D187F66B-64D1-4D1E-9D61-3B923877B7A7}"/>
              </a:ext>
            </a:extLst>
          </p:cNvPr>
          <p:cNvCxnSpPr/>
          <p:nvPr/>
        </p:nvCxnSpPr>
        <p:spPr>
          <a:xfrm>
            <a:off x="6442069" y="3542736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B736503-9F15-401B-9C76-E8337C90F2B0}"/>
              </a:ext>
            </a:extLst>
          </p:cNvPr>
          <p:cNvCxnSpPr/>
          <p:nvPr/>
        </p:nvCxnSpPr>
        <p:spPr>
          <a:xfrm>
            <a:off x="7565307" y="3542736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EE923A4-38F1-4613-9E82-B73723FF70E5}"/>
              </a:ext>
            </a:extLst>
          </p:cNvPr>
          <p:cNvCxnSpPr/>
          <p:nvPr/>
        </p:nvCxnSpPr>
        <p:spPr>
          <a:xfrm>
            <a:off x="3519987" y="2770610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FA0BA7E6-D216-436B-9C50-49CD7F517680}"/>
              </a:ext>
            </a:extLst>
          </p:cNvPr>
          <p:cNvCxnSpPr/>
          <p:nvPr/>
        </p:nvCxnSpPr>
        <p:spPr>
          <a:xfrm>
            <a:off x="3519986" y="2923010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9AF1649-5D20-49CE-93A1-BF54F12C458D}"/>
              </a:ext>
            </a:extLst>
          </p:cNvPr>
          <p:cNvCxnSpPr/>
          <p:nvPr/>
        </p:nvCxnSpPr>
        <p:spPr>
          <a:xfrm>
            <a:off x="4643225" y="2770610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E36FA3E4-F1B5-4DD1-A2B4-56EB923F154E}"/>
              </a:ext>
            </a:extLst>
          </p:cNvPr>
          <p:cNvSpPr txBox="1"/>
          <p:nvPr/>
        </p:nvSpPr>
        <p:spPr>
          <a:xfrm>
            <a:off x="933272" y="3000242"/>
            <a:ext cx="17223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damag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544705A9-64F6-4A1C-8A7C-9BD0B5AB923E}"/>
              </a:ext>
            </a:extLst>
          </p:cNvPr>
          <p:cNvSpPr txBox="1"/>
          <p:nvPr/>
        </p:nvSpPr>
        <p:spPr>
          <a:xfrm>
            <a:off x="3870836" y="3000242"/>
            <a:ext cx="1241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air fails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7742661C-F080-4690-A347-49E2FC6A753F}"/>
              </a:ext>
            </a:extLst>
          </p:cNvPr>
          <p:cNvCxnSpPr>
            <a:cxnSpLocks/>
          </p:cNvCxnSpPr>
          <p:nvPr/>
        </p:nvCxnSpPr>
        <p:spPr>
          <a:xfrm flipV="1">
            <a:off x="9877387" y="3232565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8167652-CD42-4061-905B-7ECB4D0158B2}"/>
              </a:ext>
            </a:extLst>
          </p:cNvPr>
          <p:cNvCxnSpPr/>
          <p:nvPr/>
        </p:nvCxnSpPr>
        <p:spPr>
          <a:xfrm>
            <a:off x="9460364" y="3415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3F0B4BF-B934-406B-98DB-87AA6BA0947C}"/>
              </a:ext>
            </a:extLst>
          </p:cNvPr>
          <p:cNvCxnSpPr/>
          <p:nvPr/>
        </p:nvCxnSpPr>
        <p:spPr>
          <a:xfrm>
            <a:off x="9460364" y="3542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2D3636C-461A-4E33-82B6-5024FA926AB1}"/>
              </a:ext>
            </a:extLst>
          </p:cNvPr>
          <p:cNvSpPr txBox="1"/>
          <p:nvPr/>
        </p:nvSpPr>
        <p:spPr>
          <a:xfrm>
            <a:off x="9123072" y="3746968"/>
            <a:ext cx="18074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EJ repai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s deletions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D2E34C68-001C-4EA3-9066-A2E8152AC7CC}"/>
              </a:ext>
            </a:extLst>
          </p:cNvPr>
          <p:cNvCxnSpPr>
            <a:cxnSpLocks/>
          </p:cNvCxnSpPr>
          <p:nvPr/>
        </p:nvCxnSpPr>
        <p:spPr>
          <a:xfrm>
            <a:off x="2810142" y="2834110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E979179C-E1DC-47CE-871F-BAD0A0D8D2B3}"/>
              </a:ext>
            </a:extLst>
          </p:cNvPr>
          <p:cNvCxnSpPr>
            <a:cxnSpLocks/>
          </p:cNvCxnSpPr>
          <p:nvPr/>
        </p:nvCxnSpPr>
        <p:spPr>
          <a:xfrm>
            <a:off x="8566730" y="3457732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CBDF66F8-6660-48EF-B1BE-B84E4D625E83}"/>
              </a:ext>
            </a:extLst>
          </p:cNvPr>
          <p:cNvSpPr txBox="1"/>
          <p:nvPr/>
        </p:nvSpPr>
        <p:spPr>
          <a:xfrm>
            <a:off x="6854391" y="1973243"/>
            <a:ext cx="8434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</a:t>
            </a: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6034B657-6CE2-40C6-A567-536253D5F78D}"/>
              </a:ext>
            </a:extLst>
          </p:cNvPr>
          <p:cNvCxnSpPr>
            <a:cxnSpLocks/>
          </p:cNvCxnSpPr>
          <p:nvPr/>
        </p:nvCxnSpPr>
        <p:spPr>
          <a:xfrm>
            <a:off x="5754184" y="2240598"/>
            <a:ext cx="950650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6E93B071-9C40-43BB-AFEC-0B0510BC6260}"/>
              </a:ext>
            </a:extLst>
          </p:cNvPr>
          <p:cNvCxnSpPr>
            <a:cxnSpLocks/>
          </p:cNvCxnSpPr>
          <p:nvPr/>
        </p:nvCxnSpPr>
        <p:spPr>
          <a:xfrm>
            <a:off x="5754184" y="3426281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E0F4D515-77F3-4134-8BC2-72835C0A5F7B}"/>
              </a:ext>
            </a:extLst>
          </p:cNvPr>
          <p:cNvCxnSpPr>
            <a:cxnSpLocks/>
          </p:cNvCxnSpPr>
          <p:nvPr/>
        </p:nvCxnSpPr>
        <p:spPr>
          <a:xfrm flipV="1">
            <a:off x="5770660" y="2228154"/>
            <a:ext cx="0" cy="1219528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EF8F791E-8942-4AD0-BC1C-C6577C3BE911}"/>
              </a:ext>
            </a:extLst>
          </p:cNvPr>
          <p:cNvSpPr txBox="1"/>
          <p:nvPr/>
        </p:nvSpPr>
        <p:spPr>
          <a:xfrm>
            <a:off x="6377247" y="2610268"/>
            <a:ext cx="19189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ication collapse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1A73C0C-A959-4EAC-92E5-2CA624ED4B5A}"/>
              </a:ext>
            </a:extLst>
          </p:cNvPr>
          <p:cNvCxnSpPr>
            <a:cxnSpLocks/>
          </p:cNvCxnSpPr>
          <p:nvPr/>
        </p:nvCxnSpPr>
        <p:spPr>
          <a:xfrm flipH="1" flipV="1">
            <a:off x="10016580" y="3234962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E31EFCEA-7701-4855-93D5-EDCEB2FDE0FB}"/>
              </a:ext>
            </a:extLst>
          </p:cNvPr>
          <p:cNvCxnSpPr/>
          <p:nvPr/>
        </p:nvCxnSpPr>
        <p:spPr>
          <a:xfrm>
            <a:off x="10188981" y="3415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C323159A-CC1F-4549-9FC7-63AEEA120324}"/>
              </a:ext>
            </a:extLst>
          </p:cNvPr>
          <p:cNvCxnSpPr/>
          <p:nvPr/>
        </p:nvCxnSpPr>
        <p:spPr>
          <a:xfrm>
            <a:off x="10188981" y="3542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2E5B4497-06C9-4C10-B930-FB2857849A7D}"/>
              </a:ext>
            </a:extLst>
          </p:cNvPr>
          <p:cNvCxnSpPr>
            <a:cxnSpLocks/>
          </p:cNvCxnSpPr>
          <p:nvPr/>
        </p:nvCxnSpPr>
        <p:spPr>
          <a:xfrm>
            <a:off x="5417201" y="2844435"/>
            <a:ext cx="35470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C1CB0A55-B862-4940-A777-10BDA940DC0B}"/>
              </a:ext>
            </a:extLst>
          </p:cNvPr>
          <p:cNvCxnSpPr>
            <a:cxnSpLocks/>
          </p:cNvCxnSpPr>
          <p:nvPr/>
        </p:nvCxnSpPr>
        <p:spPr>
          <a:xfrm flipH="1">
            <a:off x="7958816" y="2220947"/>
            <a:ext cx="850771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5F4DF6F3-8FEC-46F1-99BB-B905D367E22E}"/>
              </a:ext>
            </a:extLst>
          </p:cNvPr>
          <p:cNvCxnSpPr>
            <a:cxnSpLocks/>
          </p:cNvCxnSpPr>
          <p:nvPr/>
        </p:nvCxnSpPr>
        <p:spPr>
          <a:xfrm flipV="1">
            <a:off x="8794597" y="2205957"/>
            <a:ext cx="0" cy="1251775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7" name="Picture 146">
            <a:extLst>
              <a:ext uri="{FF2B5EF4-FFF2-40B4-BE49-F238E27FC236}">
                <a16:creationId xmlns:a16="http://schemas.microsoft.com/office/drawing/2014/main" id="{BC892C12-19D8-49F6-A31D-2BAACA7F7D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7584" y="1689503"/>
            <a:ext cx="908927" cy="941979"/>
          </a:xfrm>
          <a:prstGeom prst="rect">
            <a:avLst/>
          </a:prstGeom>
        </p:spPr>
      </p:pic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81E860B-552F-4D40-B37A-4A4F53DD0CBA}"/>
              </a:ext>
            </a:extLst>
          </p:cNvPr>
          <p:cNvGrpSpPr/>
          <p:nvPr/>
        </p:nvGrpSpPr>
        <p:grpSpPr>
          <a:xfrm>
            <a:off x="9448467" y="2010249"/>
            <a:ext cx="1150842" cy="962030"/>
            <a:chOff x="9920971" y="3207382"/>
            <a:chExt cx="1150842" cy="962030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FDEF6A2-56AA-42EE-88A4-B0542215AC7C}"/>
                </a:ext>
              </a:extLst>
            </p:cNvPr>
            <p:cNvCxnSpPr>
              <a:cxnSpLocks/>
            </p:cNvCxnSpPr>
            <p:nvPr/>
          </p:nvCxnSpPr>
          <p:spPr>
            <a:xfrm>
              <a:off x="9920971" y="3459062"/>
              <a:ext cx="115084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CF2350B5-BF5F-414C-BE20-895418E29EE8}"/>
                </a:ext>
              </a:extLst>
            </p:cNvPr>
            <p:cNvCxnSpPr>
              <a:cxnSpLocks/>
            </p:cNvCxnSpPr>
            <p:nvPr/>
          </p:nvCxnSpPr>
          <p:spPr>
            <a:xfrm>
              <a:off x="9920971" y="3586062"/>
              <a:ext cx="115084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12DCD782-7ECB-4B2B-A212-65C12FD2DACE}"/>
                </a:ext>
              </a:extLst>
            </p:cNvPr>
            <p:cNvSpPr txBox="1"/>
            <p:nvPr/>
          </p:nvSpPr>
          <p:spPr>
            <a:xfrm>
              <a:off x="9970738" y="3800080"/>
              <a:ext cx="10829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R repair</a:t>
              </a:r>
            </a:p>
          </p:txBody>
        </p: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E44C60BD-D918-45D1-8094-D9D4294ACA5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019501" y="3233744"/>
              <a:ext cx="1029867" cy="712338"/>
            </a:xfrm>
            <a:prstGeom prst="straightConnector1">
              <a:avLst/>
            </a:prstGeom>
            <a:ln w="38100" cmpd="sng">
              <a:solidFill>
                <a:srgbClr val="FF0000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6B1A8E26-7FB4-42A2-823C-E2B8A13082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9500" y="3207382"/>
              <a:ext cx="1029867" cy="712338"/>
            </a:xfrm>
            <a:prstGeom prst="straightConnector1">
              <a:avLst/>
            </a:prstGeom>
            <a:ln w="38100" cmpd="sng">
              <a:solidFill>
                <a:srgbClr val="FF0000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1FF73921-FC89-49B3-9350-48CD43E9FD2E}"/>
              </a:ext>
            </a:extLst>
          </p:cNvPr>
          <p:cNvSpPr txBox="1"/>
          <p:nvPr/>
        </p:nvSpPr>
        <p:spPr>
          <a:xfrm>
            <a:off x="6468008" y="3721568"/>
            <a:ext cx="18409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ub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break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DC588A7-2A02-4885-BDC0-099DC7898510}"/>
              </a:ext>
            </a:extLst>
          </p:cNvPr>
          <p:cNvSpPr txBox="1"/>
          <p:nvPr/>
        </p:nvSpPr>
        <p:spPr>
          <a:xfrm>
            <a:off x="9123072" y="3746968"/>
            <a:ext cx="18074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EJ repai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s deletions</a:t>
            </a:r>
          </a:p>
        </p:txBody>
      </p:sp>
      <p:sp>
        <p:nvSpPr>
          <p:cNvPr id="156" name="Lightning Bolt 155">
            <a:extLst>
              <a:ext uri="{FF2B5EF4-FFF2-40B4-BE49-F238E27FC236}">
                <a16:creationId xmlns:a16="http://schemas.microsoft.com/office/drawing/2014/main" id="{EC06132F-D521-4980-8DA0-FDCDDCDC5178}"/>
              </a:ext>
            </a:extLst>
          </p:cNvPr>
          <p:cNvSpPr/>
          <p:nvPr/>
        </p:nvSpPr>
        <p:spPr>
          <a:xfrm rot="21119913" flipH="1">
            <a:off x="1823834" y="2334452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Lightning Bolt 156">
            <a:extLst>
              <a:ext uri="{FF2B5EF4-FFF2-40B4-BE49-F238E27FC236}">
                <a16:creationId xmlns:a16="http://schemas.microsoft.com/office/drawing/2014/main" id="{7AF3980A-A9B7-4F0D-B650-BCC823C3E9B1}"/>
              </a:ext>
            </a:extLst>
          </p:cNvPr>
          <p:cNvSpPr/>
          <p:nvPr/>
        </p:nvSpPr>
        <p:spPr>
          <a:xfrm rot="21119913" flipH="1">
            <a:off x="7348210" y="3089891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Oval 6">
            <a:extLst>
              <a:ext uri="{FF2B5EF4-FFF2-40B4-BE49-F238E27FC236}">
                <a16:creationId xmlns:a16="http://schemas.microsoft.com/office/drawing/2014/main" id="{37ECCD4B-4772-4D26-9FEB-6BEFAB6FB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8162" y="2057661"/>
            <a:ext cx="689213" cy="285750"/>
          </a:xfrm>
          <a:prstGeom prst="ellipse">
            <a:avLst/>
          </a:prstGeom>
          <a:solidFill>
            <a:schemeClr val="bg2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g3</a:t>
            </a:r>
          </a:p>
        </p:txBody>
      </p:sp>
      <p:sp>
        <p:nvSpPr>
          <p:cNvPr id="159" name="Oval 7">
            <a:extLst>
              <a:ext uri="{FF2B5EF4-FFF2-40B4-BE49-F238E27FC236}">
                <a16:creationId xmlns:a16="http://schemas.microsoft.com/office/drawing/2014/main" id="{C7AA76B5-BD40-44AC-AEC8-498EFA49A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1913" y="2187184"/>
            <a:ext cx="689213" cy="338438"/>
          </a:xfrm>
          <a:prstGeom prst="ellipse">
            <a:avLst/>
          </a:prstGeom>
          <a:solidFill>
            <a:schemeClr val="accent1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XRCC1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A6367D91-1840-4FF3-9C61-67C4AC24202B}"/>
              </a:ext>
            </a:extLst>
          </p:cNvPr>
          <p:cNvGrpSpPr/>
          <p:nvPr/>
        </p:nvGrpSpPr>
        <p:grpSpPr>
          <a:xfrm>
            <a:off x="3765686" y="1863102"/>
            <a:ext cx="574675" cy="358775"/>
            <a:chOff x="8892024" y="5569852"/>
            <a:chExt cx="574675" cy="358775"/>
          </a:xfrm>
        </p:grpSpPr>
        <p:sp>
          <p:nvSpPr>
            <p:cNvPr id="161" name="Oval 9">
              <a:extLst>
                <a:ext uri="{FF2B5EF4-FFF2-40B4-BE49-F238E27FC236}">
                  <a16:creationId xmlns:a16="http://schemas.microsoft.com/office/drawing/2014/main" id="{7579E6B4-CB76-4108-92B5-8B8FA2A01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2024" y="5569852"/>
              <a:ext cx="574675" cy="358775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2" name="Text Box 10">
              <a:extLst>
                <a:ext uri="{FF2B5EF4-FFF2-40B4-BE49-F238E27FC236}">
                  <a16:creationId xmlns:a16="http://schemas.microsoft.com/office/drawing/2014/main" id="{9CED354F-7786-4043-BB86-DD2B919ADE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13350" y="5641809"/>
              <a:ext cx="470706" cy="250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Lβ</a:t>
              </a: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6AFAB9E9-775D-4CEB-B32C-4F061F6F9891}"/>
              </a:ext>
            </a:extLst>
          </p:cNvPr>
          <p:cNvGrpSpPr/>
          <p:nvPr/>
        </p:nvGrpSpPr>
        <p:grpSpPr>
          <a:xfrm>
            <a:off x="4404781" y="1781396"/>
            <a:ext cx="574675" cy="358775"/>
            <a:chOff x="8455462" y="5477777"/>
            <a:chExt cx="574675" cy="358775"/>
          </a:xfrm>
        </p:grpSpPr>
        <p:sp>
          <p:nvSpPr>
            <p:cNvPr id="164" name="Oval 13">
              <a:extLst>
                <a:ext uri="{FF2B5EF4-FFF2-40B4-BE49-F238E27FC236}">
                  <a16:creationId xmlns:a16="http://schemas.microsoft.com/office/drawing/2014/main" id="{98C01631-FF81-442E-8589-2CCA13C6E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5462" y="5477777"/>
              <a:ext cx="574675" cy="358775"/>
            </a:xfrm>
            <a:prstGeom prst="ellipse">
              <a:avLst/>
            </a:prstGeom>
            <a:solidFill>
              <a:schemeClr val="accent4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5" name="Rectangle 14">
              <a:extLst>
                <a:ext uri="{FF2B5EF4-FFF2-40B4-BE49-F238E27FC236}">
                  <a16:creationId xmlns:a16="http://schemas.microsoft.com/office/drawing/2014/main" id="{9094B7D1-4B84-4499-82D7-41592119D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0916" y="5552940"/>
              <a:ext cx="452368" cy="250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NK</a:t>
              </a:r>
            </a:p>
          </p:txBody>
        </p: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1CC62A5D-DEFE-224C-9587-D4B4C26984CD}"/>
              </a:ext>
            </a:extLst>
          </p:cNvPr>
          <p:cNvSpPr/>
          <p:nvPr/>
        </p:nvSpPr>
        <p:spPr bwMode="auto">
          <a:xfrm>
            <a:off x="8662086" y="5625236"/>
            <a:ext cx="3323968" cy="1039238"/>
          </a:xfrm>
          <a:prstGeom prst="round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3441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1A5897D-3EA3-49CB-82E2-A7F35E389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</p:spPr>
        <p:txBody>
          <a:bodyPr/>
          <a:lstStyle/>
          <a:p>
            <a:r>
              <a:rPr lang="en-US" dirty="0"/>
              <a:t>How PARP1 Inhibition Affects HRR-Deficient Cells</a:t>
            </a:r>
          </a:p>
        </p:txBody>
      </p:sp>
      <p:sp>
        <p:nvSpPr>
          <p:cNvPr id="58" name="Text Box 11">
            <a:extLst>
              <a:ext uri="{FF2B5EF4-FFF2-40B4-BE49-F238E27FC236}">
                <a16:creationId xmlns:a16="http://schemas.microsoft.com/office/drawing/2014/main" id="{81BC2EEA-1C62-4FC8-9C5E-37840CEF9B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863" y="6109957"/>
            <a:ext cx="624420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a-DK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yant. Nature. 2005;434:913. Farmer. Nature. 2005;434:917. 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cCabe. Cancer Res. 2006;66:8109. Rottenberg. </a:t>
            </a:r>
            <a:r>
              <a:rPr kumimoji="0" lang="pl-PL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 Natl Acad Sci U S A. 2008;105:17079.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da-DK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ng. NEJM. 2009;361:123. 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hmoto. Onco Targets Ther. 2017;10:5195. Murai. Cancer Res. 2012;72:5588. Murai. Mol Cancer Ther. 2014;13:433. Pommier. Sci Transl Med. 2016;8:362ps17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05E3834-0ED5-42FA-9C99-6293C1DD255F}"/>
              </a:ext>
            </a:extLst>
          </p:cNvPr>
          <p:cNvSpPr txBox="1"/>
          <p:nvPr/>
        </p:nvSpPr>
        <p:spPr>
          <a:xfrm>
            <a:off x="676271" y="1278467"/>
            <a:ext cx="4037644" cy="46166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ilure of Single-Strand Repair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5A02458-D445-4C51-9B0C-1DA843CFC562}"/>
              </a:ext>
            </a:extLst>
          </p:cNvPr>
          <p:cNvCxnSpPr>
            <a:cxnSpLocks/>
          </p:cNvCxnSpPr>
          <p:nvPr/>
        </p:nvCxnSpPr>
        <p:spPr>
          <a:xfrm>
            <a:off x="9877387" y="3532970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F6925BEF-BFDC-4AD2-95B4-92F012A30461}"/>
              </a:ext>
            </a:extLst>
          </p:cNvPr>
          <p:cNvCxnSpPr>
            <a:cxnSpLocks/>
          </p:cNvCxnSpPr>
          <p:nvPr/>
        </p:nvCxnSpPr>
        <p:spPr>
          <a:xfrm flipH="1">
            <a:off x="10016580" y="3535367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CDF2DC2C-B44B-4AD1-9DAF-B4745374EA07}"/>
              </a:ext>
            </a:extLst>
          </p:cNvPr>
          <p:cNvSpPr txBox="1"/>
          <p:nvPr/>
        </p:nvSpPr>
        <p:spPr>
          <a:xfrm>
            <a:off x="6468008" y="3721568"/>
            <a:ext cx="18409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ub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break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EC84006-29DA-4E1C-B2DD-CB3B4336528B}"/>
              </a:ext>
            </a:extLst>
          </p:cNvPr>
          <p:cNvCxnSpPr/>
          <p:nvPr/>
        </p:nvCxnSpPr>
        <p:spPr>
          <a:xfrm>
            <a:off x="873419" y="2770610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684BC4D-38E4-4293-828A-E57726378B2F}"/>
              </a:ext>
            </a:extLst>
          </p:cNvPr>
          <p:cNvCxnSpPr/>
          <p:nvPr/>
        </p:nvCxnSpPr>
        <p:spPr>
          <a:xfrm>
            <a:off x="873418" y="2923010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3E53FFD-847E-4882-A270-A715033E66C1}"/>
              </a:ext>
            </a:extLst>
          </p:cNvPr>
          <p:cNvCxnSpPr/>
          <p:nvPr/>
        </p:nvCxnSpPr>
        <p:spPr>
          <a:xfrm>
            <a:off x="1996657" y="2770610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D8B416F2-185F-46A1-892A-9512959B11BB}"/>
              </a:ext>
            </a:extLst>
          </p:cNvPr>
          <p:cNvCxnSpPr/>
          <p:nvPr/>
        </p:nvCxnSpPr>
        <p:spPr>
          <a:xfrm>
            <a:off x="6442069" y="3415736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1215644-A95B-4AFB-93CA-4277114B229C}"/>
              </a:ext>
            </a:extLst>
          </p:cNvPr>
          <p:cNvCxnSpPr/>
          <p:nvPr/>
        </p:nvCxnSpPr>
        <p:spPr>
          <a:xfrm>
            <a:off x="7565307" y="3415736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8B7B1FD-614A-4886-B3E6-CBF77A806D11}"/>
              </a:ext>
            </a:extLst>
          </p:cNvPr>
          <p:cNvCxnSpPr/>
          <p:nvPr/>
        </p:nvCxnSpPr>
        <p:spPr>
          <a:xfrm>
            <a:off x="6442069" y="3542736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E8B9005-6970-4F23-8E00-2CA5E9ECD7A7}"/>
              </a:ext>
            </a:extLst>
          </p:cNvPr>
          <p:cNvCxnSpPr/>
          <p:nvPr/>
        </p:nvCxnSpPr>
        <p:spPr>
          <a:xfrm>
            <a:off x="7565307" y="3542736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77D435E-E682-4261-9DE1-00AE210F6BC5}"/>
              </a:ext>
            </a:extLst>
          </p:cNvPr>
          <p:cNvCxnSpPr/>
          <p:nvPr/>
        </p:nvCxnSpPr>
        <p:spPr>
          <a:xfrm>
            <a:off x="3519987" y="2770610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FD285C1-224D-4895-A8C3-237B5A660241}"/>
              </a:ext>
            </a:extLst>
          </p:cNvPr>
          <p:cNvCxnSpPr/>
          <p:nvPr/>
        </p:nvCxnSpPr>
        <p:spPr>
          <a:xfrm>
            <a:off x="3519986" y="2923010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09EC056-4324-47A3-88A5-467F6B891C18}"/>
              </a:ext>
            </a:extLst>
          </p:cNvPr>
          <p:cNvCxnSpPr/>
          <p:nvPr/>
        </p:nvCxnSpPr>
        <p:spPr>
          <a:xfrm>
            <a:off x="4643225" y="2770610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734DF781-D60B-419D-B9C3-4CAE2778523C}"/>
              </a:ext>
            </a:extLst>
          </p:cNvPr>
          <p:cNvSpPr txBox="1"/>
          <p:nvPr/>
        </p:nvSpPr>
        <p:spPr>
          <a:xfrm>
            <a:off x="933272" y="3000242"/>
            <a:ext cx="17223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damag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67B6501-4729-479F-A05A-3112C92762E6}"/>
              </a:ext>
            </a:extLst>
          </p:cNvPr>
          <p:cNvSpPr txBox="1"/>
          <p:nvPr/>
        </p:nvSpPr>
        <p:spPr>
          <a:xfrm>
            <a:off x="3870836" y="3000242"/>
            <a:ext cx="1241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air fails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B9087FC-2ACD-4276-8A0D-440C882BA162}"/>
              </a:ext>
            </a:extLst>
          </p:cNvPr>
          <p:cNvCxnSpPr>
            <a:cxnSpLocks/>
          </p:cNvCxnSpPr>
          <p:nvPr/>
        </p:nvCxnSpPr>
        <p:spPr>
          <a:xfrm flipV="1">
            <a:off x="9877387" y="3232565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A998475-68E4-49B2-AD02-FD0C86735134}"/>
              </a:ext>
            </a:extLst>
          </p:cNvPr>
          <p:cNvCxnSpPr/>
          <p:nvPr/>
        </p:nvCxnSpPr>
        <p:spPr>
          <a:xfrm>
            <a:off x="9460364" y="3415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3AD4E4A-EDBA-4873-90FD-76F3D327A244}"/>
              </a:ext>
            </a:extLst>
          </p:cNvPr>
          <p:cNvCxnSpPr/>
          <p:nvPr/>
        </p:nvCxnSpPr>
        <p:spPr>
          <a:xfrm>
            <a:off x="9460364" y="3542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6A76A118-2672-4831-9610-5528CC48DBCA}"/>
              </a:ext>
            </a:extLst>
          </p:cNvPr>
          <p:cNvSpPr txBox="1"/>
          <p:nvPr/>
        </p:nvSpPr>
        <p:spPr>
          <a:xfrm>
            <a:off x="9123072" y="3746968"/>
            <a:ext cx="18074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EJ repai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s deletions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E37BD303-7AD2-4511-97F1-A053BE574EFF}"/>
              </a:ext>
            </a:extLst>
          </p:cNvPr>
          <p:cNvCxnSpPr>
            <a:cxnSpLocks/>
          </p:cNvCxnSpPr>
          <p:nvPr/>
        </p:nvCxnSpPr>
        <p:spPr>
          <a:xfrm>
            <a:off x="2810142" y="2834110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E8FE824-F94D-4C5E-AA8F-F710992ABC67}"/>
              </a:ext>
            </a:extLst>
          </p:cNvPr>
          <p:cNvCxnSpPr>
            <a:cxnSpLocks/>
          </p:cNvCxnSpPr>
          <p:nvPr/>
        </p:nvCxnSpPr>
        <p:spPr>
          <a:xfrm>
            <a:off x="8566730" y="3457732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8D816682-72B2-4EFE-A4C0-D83641624D67}"/>
              </a:ext>
            </a:extLst>
          </p:cNvPr>
          <p:cNvSpPr txBox="1"/>
          <p:nvPr/>
        </p:nvSpPr>
        <p:spPr>
          <a:xfrm>
            <a:off x="6854391" y="1973243"/>
            <a:ext cx="8434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FE5FC704-2D4E-4393-869B-EDA1DAA4277A}"/>
              </a:ext>
            </a:extLst>
          </p:cNvPr>
          <p:cNvCxnSpPr>
            <a:cxnSpLocks/>
          </p:cNvCxnSpPr>
          <p:nvPr/>
        </p:nvCxnSpPr>
        <p:spPr>
          <a:xfrm>
            <a:off x="5754184" y="2240598"/>
            <a:ext cx="950650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F206ABB-ED6F-4706-9CDD-D065DBE9BBFA}"/>
              </a:ext>
            </a:extLst>
          </p:cNvPr>
          <p:cNvCxnSpPr>
            <a:cxnSpLocks/>
          </p:cNvCxnSpPr>
          <p:nvPr/>
        </p:nvCxnSpPr>
        <p:spPr>
          <a:xfrm>
            <a:off x="5754184" y="3426281"/>
            <a:ext cx="51493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5154711-B916-47CE-AC8C-748162658D0E}"/>
              </a:ext>
            </a:extLst>
          </p:cNvPr>
          <p:cNvCxnSpPr>
            <a:cxnSpLocks/>
          </p:cNvCxnSpPr>
          <p:nvPr/>
        </p:nvCxnSpPr>
        <p:spPr>
          <a:xfrm flipV="1">
            <a:off x="5770660" y="2228154"/>
            <a:ext cx="0" cy="1219528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6B76FD57-5E34-4092-A9CF-89FE1C029946}"/>
              </a:ext>
            </a:extLst>
          </p:cNvPr>
          <p:cNvSpPr txBox="1"/>
          <p:nvPr/>
        </p:nvSpPr>
        <p:spPr>
          <a:xfrm>
            <a:off x="6377247" y="2610268"/>
            <a:ext cx="19189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ication collapse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3425DAA-7712-4FA1-8541-CCDB29B130F8}"/>
              </a:ext>
            </a:extLst>
          </p:cNvPr>
          <p:cNvCxnSpPr>
            <a:cxnSpLocks/>
          </p:cNvCxnSpPr>
          <p:nvPr/>
        </p:nvCxnSpPr>
        <p:spPr>
          <a:xfrm flipH="1" flipV="1">
            <a:off x="10016580" y="3234962"/>
            <a:ext cx="182727" cy="192349"/>
          </a:xfrm>
          <a:prstGeom prst="line">
            <a:avLst/>
          </a:prstGeom>
          <a:ln w="762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364ABA9-E7B6-4DD2-B464-C2FD6C6927EA}"/>
              </a:ext>
            </a:extLst>
          </p:cNvPr>
          <p:cNvCxnSpPr/>
          <p:nvPr/>
        </p:nvCxnSpPr>
        <p:spPr>
          <a:xfrm>
            <a:off x="10188981" y="3415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14FA2B4-E698-4199-8C86-E997E51E20DF}"/>
              </a:ext>
            </a:extLst>
          </p:cNvPr>
          <p:cNvCxnSpPr/>
          <p:nvPr/>
        </p:nvCxnSpPr>
        <p:spPr>
          <a:xfrm>
            <a:off x="10188981" y="3542736"/>
            <a:ext cx="430713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06090869-7629-4ADB-B883-BCAF6902CB3F}"/>
              </a:ext>
            </a:extLst>
          </p:cNvPr>
          <p:cNvCxnSpPr>
            <a:cxnSpLocks/>
          </p:cNvCxnSpPr>
          <p:nvPr/>
        </p:nvCxnSpPr>
        <p:spPr>
          <a:xfrm>
            <a:off x="5417201" y="2844435"/>
            <a:ext cx="354703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F2EAC365-1465-413B-9081-A787D003777E}"/>
              </a:ext>
            </a:extLst>
          </p:cNvPr>
          <p:cNvCxnSpPr>
            <a:cxnSpLocks/>
          </p:cNvCxnSpPr>
          <p:nvPr/>
        </p:nvCxnSpPr>
        <p:spPr>
          <a:xfrm flipH="1">
            <a:off x="7958816" y="2220947"/>
            <a:ext cx="850771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38EFAB29-5C44-469F-92D5-D1EA0E037FBC}"/>
              </a:ext>
            </a:extLst>
          </p:cNvPr>
          <p:cNvCxnSpPr>
            <a:cxnSpLocks/>
          </p:cNvCxnSpPr>
          <p:nvPr/>
        </p:nvCxnSpPr>
        <p:spPr>
          <a:xfrm flipV="1">
            <a:off x="8794597" y="2205957"/>
            <a:ext cx="0" cy="1251775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Picture 54">
            <a:extLst>
              <a:ext uri="{FF2B5EF4-FFF2-40B4-BE49-F238E27FC236}">
                <a16:creationId xmlns:a16="http://schemas.microsoft.com/office/drawing/2014/main" id="{877E7324-DFB9-45CD-ADB1-2F42684C1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7584" y="1689503"/>
            <a:ext cx="908927" cy="941979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E8AA0815-87EF-40A4-AE22-5502DA533838}"/>
              </a:ext>
            </a:extLst>
          </p:cNvPr>
          <p:cNvGrpSpPr/>
          <p:nvPr/>
        </p:nvGrpSpPr>
        <p:grpSpPr>
          <a:xfrm>
            <a:off x="9448467" y="2010249"/>
            <a:ext cx="1150842" cy="962030"/>
            <a:chOff x="9920971" y="3207382"/>
            <a:chExt cx="1150842" cy="962030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0AA8D901-A4CD-417D-8899-411ED9AB794D}"/>
                </a:ext>
              </a:extLst>
            </p:cNvPr>
            <p:cNvCxnSpPr>
              <a:cxnSpLocks/>
            </p:cNvCxnSpPr>
            <p:nvPr/>
          </p:nvCxnSpPr>
          <p:spPr>
            <a:xfrm>
              <a:off x="9920971" y="3459062"/>
              <a:ext cx="115084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BE995F9-6BC9-4C50-9533-BB403AECE21F}"/>
                </a:ext>
              </a:extLst>
            </p:cNvPr>
            <p:cNvCxnSpPr>
              <a:cxnSpLocks/>
            </p:cNvCxnSpPr>
            <p:nvPr/>
          </p:nvCxnSpPr>
          <p:spPr>
            <a:xfrm>
              <a:off x="9920971" y="3586062"/>
              <a:ext cx="1150842" cy="0"/>
            </a:xfrm>
            <a:prstGeom prst="line">
              <a:avLst/>
            </a:prstGeom>
            <a:ln w="762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67383F7-DB7B-4B29-AE77-BFEA72E0BC8D}"/>
                </a:ext>
              </a:extLst>
            </p:cNvPr>
            <p:cNvSpPr txBox="1"/>
            <p:nvPr/>
          </p:nvSpPr>
          <p:spPr>
            <a:xfrm>
              <a:off x="9970738" y="3800080"/>
              <a:ext cx="10829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R repair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B8AEFE49-202E-40D2-95CA-2902A8663C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019501" y="3233744"/>
              <a:ext cx="1029867" cy="712338"/>
            </a:xfrm>
            <a:prstGeom prst="straightConnector1">
              <a:avLst/>
            </a:prstGeom>
            <a:ln w="38100" cmpd="sng">
              <a:solidFill>
                <a:srgbClr val="FF0000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459CD864-BD16-4657-A2D4-1C2979EF17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9500" y="3207382"/>
              <a:ext cx="1029867" cy="712338"/>
            </a:xfrm>
            <a:prstGeom prst="straightConnector1">
              <a:avLst/>
            </a:prstGeom>
            <a:ln w="38100" cmpd="sng">
              <a:solidFill>
                <a:srgbClr val="FF0000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TextBox 85">
            <a:extLst>
              <a:ext uri="{FF2B5EF4-FFF2-40B4-BE49-F238E27FC236}">
                <a16:creationId xmlns:a16="http://schemas.microsoft.com/office/drawing/2014/main" id="{B9C7785E-914E-413F-8C45-370F88A7869D}"/>
              </a:ext>
            </a:extLst>
          </p:cNvPr>
          <p:cNvSpPr txBox="1"/>
          <p:nvPr/>
        </p:nvSpPr>
        <p:spPr>
          <a:xfrm>
            <a:off x="6468008" y="3721568"/>
            <a:ext cx="18409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ub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break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C73F6CB-F8C7-428C-BF72-83C6F2515380}"/>
              </a:ext>
            </a:extLst>
          </p:cNvPr>
          <p:cNvSpPr txBox="1"/>
          <p:nvPr/>
        </p:nvSpPr>
        <p:spPr>
          <a:xfrm>
            <a:off x="9123072" y="3746968"/>
            <a:ext cx="18074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EJ repai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s deletion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E728ECE-CF88-4B23-A5B0-8DFB04A366A7}"/>
              </a:ext>
            </a:extLst>
          </p:cNvPr>
          <p:cNvSpPr txBox="1"/>
          <p:nvPr/>
        </p:nvSpPr>
        <p:spPr>
          <a:xfrm>
            <a:off x="676271" y="3991025"/>
            <a:ext cx="4410503" cy="46166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pping of PARP Protein on DNA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A8384E2-9FA3-4C4B-A180-9F9FB4E171E5}"/>
              </a:ext>
            </a:extLst>
          </p:cNvPr>
          <p:cNvCxnSpPr/>
          <p:nvPr/>
        </p:nvCxnSpPr>
        <p:spPr>
          <a:xfrm>
            <a:off x="6191257" y="4734423"/>
            <a:ext cx="3937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6BE8715F-8AD9-454B-B3D1-7153E97A8909}"/>
              </a:ext>
            </a:extLst>
          </p:cNvPr>
          <p:cNvCxnSpPr/>
          <p:nvPr/>
        </p:nvCxnSpPr>
        <p:spPr>
          <a:xfrm>
            <a:off x="6127757" y="5737723"/>
            <a:ext cx="4572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7536A84-1419-44CC-8491-9463DE5FDC50}"/>
              </a:ext>
            </a:extLst>
          </p:cNvPr>
          <p:cNvCxnSpPr/>
          <p:nvPr/>
        </p:nvCxnSpPr>
        <p:spPr>
          <a:xfrm flipV="1">
            <a:off x="6555325" y="5276292"/>
            <a:ext cx="977899" cy="465665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38D6C61-4DC3-475D-A62C-69A182E58BCE}"/>
              </a:ext>
            </a:extLst>
          </p:cNvPr>
          <p:cNvCxnSpPr/>
          <p:nvPr/>
        </p:nvCxnSpPr>
        <p:spPr>
          <a:xfrm>
            <a:off x="6559558" y="4730192"/>
            <a:ext cx="982133" cy="300565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297D742-A421-44C3-9304-657995AA54D4}"/>
              </a:ext>
            </a:extLst>
          </p:cNvPr>
          <p:cNvCxnSpPr/>
          <p:nvPr/>
        </p:nvCxnSpPr>
        <p:spPr>
          <a:xfrm>
            <a:off x="7512057" y="5026524"/>
            <a:ext cx="4826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3C1DA536-BA7C-4CFF-B70B-742CC1D50697}"/>
              </a:ext>
            </a:extLst>
          </p:cNvPr>
          <p:cNvGrpSpPr/>
          <p:nvPr/>
        </p:nvGrpSpPr>
        <p:grpSpPr>
          <a:xfrm>
            <a:off x="6127757" y="5204323"/>
            <a:ext cx="1206501" cy="355600"/>
            <a:chOff x="6127757" y="5396347"/>
            <a:chExt cx="1206501" cy="355600"/>
          </a:xfrm>
        </p:grpSpPr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E25C47D-83EF-4C42-901F-924CC82AF818}"/>
                </a:ext>
              </a:extLst>
            </p:cNvPr>
            <p:cNvCxnSpPr/>
            <p:nvPr/>
          </p:nvCxnSpPr>
          <p:spPr>
            <a:xfrm>
              <a:off x="6127757" y="5751947"/>
              <a:ext cx="457200" cy="0"/>
            </a:xfrm>
            <a:prstGeom prst="line">
              <a:avLst/>
            </a:prstGeom>
            <a:ln w="76200" cmpd="sng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02B4242-F2D2-4862-8EAF-C55BBFC0F694}"/>
                </a:ext>
              </a:extLst>
            </p:cNvPr>
            <p:cNvCxnSpPr/>
            <p:nvPr/>
          </p:nvCxnSpPr>
          <p:spPr>
            <a:xfrm flipV="1">
              <a:off x="6563791" y="5396347"/>
              <a:ext cx="770467" cy="355600"/>
            </a:xfrm>
            <a:prstGeom prst="line">
              <a:avLst/>
            </a:prstGeom>
            <a:ln w="76200" cmpd="sng">
              <a:solidFill>
                <a:schemeClr val="tx2"/>
              </a:solidFill>
              <a:headEnd type="non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E3CF850-464C-4AFE-BAC2-8CCDC9CB1885}"/>
              </a:ext>
            </a:extLst>
          </p:cNvPr>
          <p:cNvGrpSpPr/>
          <p:nvPr/>
        </p:nvGrpSpPr>
        <p:grpSpPr>
          <a:xfrm>
            <a:off x="6127757" y="4899523"/>
            <a:ext cx="1117601" cy="211666"/>
            <a:chOff x="6127757" y="5091547"/>
            <a:chExt cx="1117601" cy="211666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D6C07264-5D90-4D9E-8311-EDB7BD2E7030}"/>
                </a:ext>
              </a:extLst>
            </p:cNvPr>
            <p:cNvCxnSpPr/>
            <p:nvPr/>
          </p:nvCxnSpPr>
          <p:spPr>
            <a:xfrm>
              <a:off x="6127757" y="5095780"/>
              <a:ext cx="457200" cy="0"/>
            </a:xfrm>
            <a:prstGeom prst="line">
              <a:avLst/>
            </a:prstGeom>
            <a:ln w="76200" cmpd="sng">
              <a:solidFill>
                <a:schemeClr val="tx2"/>
              </a:solidFill>
              <a:headEnd type="triangl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A855709-66B6-4323-B211-49DEAD141669}"/>
                </a:ext>
              </a:extLst>
            </p:cNvPr>
            <p:cNvCxnSpPr/>
            <p:nvPr/>
          </p:nvCxnSpPr>
          <p:spPr>
            <a:xfrm>
              <a:off x="6563791" y="5091547"/>
              <a:ext cx="681567" cy="211666"/>
            </a:xfrm>
            <a:prstGeom prst="line">
              <a:avLst/>
            </a:prstGeom>
            <a:ln w="76200" cmpd="sng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1F0C63B-209A-4A2E-99C6-831D849D13A5}"/>
              </a:ext>
            </a:extLst>
          </p:cNvPr>
          <p:cNvCxnSpPr/>
          <p:nvPr/>
        </p:nvCxnSpPr>
        <p:spPr>
          <a:xfrm>
            <a:off x="7512057" y="5280519"/>
            <a:ext cx="482600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84422C3F-27A4-4CB0-9D28-DF037BE5A2EB}"/>
              </a:ext>
            </a:extLst>
          </p:cNvPr>
          <p:cNvSpPr txBox="1"/>
          <p:nvPr/>
        </p:nvSpPr>
        <p:spPr>
          <a:xfrm>
            <a:off x="896643" y="5484564"/>
            <a:ext cx="15564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-strand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A damage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5B52E5E5-9882-4AC7-AD92-4AFB3E26262F}"/>
              </a:ext>
            </a:extLst>
          </p:cNvPr>
          <p:cNvCxnSpPr/>
          <p:nvPr/>
        </p:nvCxnSpPr>
        <p:spPr>
          <a:xfrm>
            <a:off x="728459" y="5191431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7A1AB6DD-9605-4693-89CA-485669CF7D53}"/>
              </a:ext>
            </a:extLst>
          </p:cNvPr>
          <p:cNvCxnSpPr/>
          <p:nvPr/>
        </p:nvCxnSpPr>
        <p:spPr>
          <a:xfrm>
            <a:off x="728458" y="5343831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6BD7398-E6E7-40D7-9B78-ECFA8D77EDA5}"/>
              </a:ext>
            </a:extLst>
          </p:cNvPr>
          <p:cNvCxnSpPr/>
          <p:nvPr/>
        </p:nvCxnSpPr>
        <p:spPr>
          <a:xfrm>
            <a:off x="1851697" y="5191431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BC8D2C94-AC6D-4B6F-99E2-04062BE70081}"/>
              </a:ext>
            </a:extLst>
          </p:cNvPr>
          <p:cNvSpPr txBox="1"/>
          <p:nvPr/>
        </p:nvSpPr>
        <p:spPr>
          <a:xfrm>
            <a:off x="3412536" y="5484563"/>
            <a:ext cx="1856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mag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ected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A057E43-D1E4-491D-BEBD-B536E9755EE3}"/>
              </a:ext>
            </a:extLst>
          </p:cNvPr>
          <p:cNvCxnSpPr/>
          <p:nvPr/>
        </p:nvCxnSpPr>
        <p:spPr>
          <a:xfrm>
            <a:off x="3419754" y="5191431"/>
            <a:ext cx="894639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E2B2868A-5B7B-409E-B80A-1A641F4BD821}"/>
              </a:ext>
            </a:extLst>
          </p:cNvPr>
          <p:cNvCxnSpPr/>
          <p:nvPr/>
        </p:nvCxnSpPr>
        <p:spPr>
          <a:xfrm>
            <a:off x="3419753" y="5343831"/>
            <a:ext cx="1831152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03810D53-F210-4DD1-8AAA-59899AFE40E7}"/>
              </a:ext>
            </a:extLst>
          </p:cNvPr>
          <p:cNvCxnSpPr/>
          <p:nvPr/>
        </p:nvCxnSpPr>
        <p:spPr>
          <a:xfrm>
            <a:off x="4542992" y="5191431"/>
            <a:ext cx="694126" cy="0"/>
          </a:xfrm>
          <a:prstGeom prst="line">
            <a:avLst/>
          </a:prstGeom>
          <a:ln w="762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5FF85097-1035-4E54-B3D8-E9246BAC7923}"/>
              </a:ext>
            </a:extLst>
          </p:cNvPr>
          <p:cNvSpPr txBox="1"/>
          <p:nvPr/>
        </p:nvSpPr>
        <p:spPr>
          <a:xfrm>
            <a:off x="6560068" y="5609378"/>
            <a:ext cx="1918923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P stuck 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ication fork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C6766D07-ED90-4978-A6A8-F917FC8D2B52}"/>
              </a:ext>
            </a:extLst>
          </p:cNvPr>
          <p:cNvSpPr txBox="1"/>
          <p:nvPr/>
        </p:nvSpPr>
        <p:spPr>
          <a:xfrm>
            <a:off x="9410419" y="5129410"/>
            <a:ext cx="8434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A111ED6-1CBA-4001-B9A9-4A0FFC06673A}"/>
              </a:ext>
            </a:extLst>
          </p:cNvPr>
          <p:cNvSpPr txBox="1"/>
          <p:nvPr/>
        </p:nvSpPr>
        <p:spPr>
          <a:xfrm>
            <a:off x="8837505" y="5766435"/>
            <a:ext cx="2078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ication collapse</a:t>
            </a:r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DB3AEC0-9097-4394-BEF5-DB747CB36805}"/>
              </a:ext>
            </a:extLst>
          </p:cNvPr>
          <p:cNvCxnSpPr>
            <a:cxnSpLocks/>
          </p:cNvCxnSpPr>
          <p:nvPr/>
        </p:nvCxnSpPr>
        <p:spPr>
          <a:xfrm>
            <a:off x="8342642" y="5396110"/>
            <a:ext cx="514933" cy="0"/>
          </a:xfrm>
          <a:prstGeom prst="straightConnector1">
            <a:avLst/>
          </a:prstGeom>
          <a:ln w="508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1ECD1E75-0481-4F3A-8F82-452706147260}"/>
              </a:ext>
            </a:extLst>
          </p:cNvPr>
          <p:cNvCxnSpPr>
            <a:cxnSpLocks/>
          </p:cNvCxnSpPr>
          <p:nvPr/>
        </p:nvCxnSpPr>
        <p:spPr>
          <a:xfrm>
            <a:off x="2714449" y="5254931"/>
            <a:ext cx="514933" cy="0"/>
          </a:xfrm>
          <a:prstGeom prst="straightConnector1">
            <a:avLst/>
          </a:prstGeom>
          <a:ln w="508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DFC02D0D-004F-43A1-A93A-EEEC718C1A14}"/>
              </a:ext>
            </a:extLst>
          </p:cNvPr>
          <p:cNvCxnSpPr>
            <a:cxnSpLocks/>
          </p:cNvCxnSpPr>
          <p:nvPr/>
        </p:nvCxnSpPr>
        <p:spPr>
          <a:xfrm>
            <a:off x="5417500" y="5276292"/>
            <a:ext cx="514933" cy="0"/>
          </a:xfrm>
          <a:prstGeom prst="straightConnector1">
            <a:avLst/>
          </a:prstGeom>
          <a:ln w="508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2B87CC83-5120-432A-AA71-13B5F12A21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1208" y="4866082"/>
            <a:ext cx="908927" cy="941979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B8E26998-CBF8-4AC1-8E3A-4FACFECA6922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60"/>
            <a:ext cx="2488502" cy="447823"/>
            <a:chOff x="9527309" y="3551529"/>
            <a:chExt cx="2488502" cy="448324"/>
          </a:xfrm>
        </p:grpSpPr>
        <p:pic>
          <p:nvPicPr>
            <p:cNvPr id="145" name="Picture 9">
              <a:extLst>
                <a:ext uri="{FF2B5EF4-FFF2-40B4-BE49-F238E27FC236}">
                  <a16:creationId xmlns:a16="http://schemas.microsoft.com/office/drawing/2014/main" id="{566B3DD5-848A-4A0D-A43D-471AD93FA2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6" name="Rectangle 8">
              <a:extLst>
                <a:ext uri="{FF2B5EF4-FFF2-40B4-BE49-F238E27FC236}">
                  <a16:creationId xmlns:a16="http://schemas.microsoft.com/office/drawing/2014/main" id="{23864FCC-108C-4A86-A2ED-A20F2E9D6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5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57" name="Lightning Bolt 156">
            <a:extLst>
              <a:ext uri="{FF2B5EF4-FFF2-40B4-BE49-F238E27FC236}">
                <a16:creationId xmlns:a16="http://schemas.microsoft.com/office/drawing/2014/main" id="{D9A1D2B0-5AB6-4B79-B9BD-5EEE9C747FAE}"/>
              </a:ext>
            </a:extLst>
          </p:cNvPr>
          <p:cNvSpPr/>
          <p:nvPr/>
        </p:nvSpPr>
        <p:spPr>
          <a:xfrm rot="21119913" flipH="1">
            <a:off x="1823834" y="2334452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Lightning Bolt 157">
            <a:extLst>
              <a:ext uri="{FF2B5EF4-FFF2-40B4-BE49-F238E27FC236}">
                <a16:creationId xmlns:a16="http://schemas.microsoft.com/office/drawing/2014/main" id="{C22053DA-CC5D-4613-BE66-D79CBB41089C}"/>
              </a:ext>
            </a:extLst>
          </p:cNvPr>
          <p:cNvSpPr/>
          <p:nvPr/>
        </p:nvSpPr>
        <p:spPr>
          <a:xfrm rot="21119913" flipH="1">
            <a:off x="1643050" y="4764143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Lightning Bolt 158">
            <a:extLst>
              <a:ext uri="{FF2B5EF4-FFF2-40B4-BE49-F238E27FC236}">
                <a16:creationId xmlns:a16="http://schemas.microsoft.com/office/drawing/2014/main" id="{38F53D0D-97E4-41CF-9B38-56A1BE062ED5}"/>
              </a:ext>
            </a:extLst>
          </p:cNvPr>
          <p:cNvSpPr/>
          <p:nvPr/>
        </p:nvSpPr>
        <p:spPr>
          <a:xfrm rot="21119913" flipH="1">
            <a:off x="7348210" y="3089891"/>
            <a:ext cx="299835" cy="457200"/>
          </a:xfrm>
          <a:prstGeom prst="lightningBolt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Oval 6">
            <a:extLst>
              <a:ext uri="{FF2B5EF4-FFF2-40B4-BE49-F238E27FC236}">
                <a16:creationId xmlns:a16="http://schemas.microsoft.com/office/drawing/2014/main" id="{F85A6EED-B61C-4CE4-8CE1-36ECD20F5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8162" y="2057661"/>
            <a:ext cx="689213" cy="285750"/>
          </a:xfrm>
          <a:prstGeom prst="ellipse">
            <a:avLst/>
          </a:prstGeom>
          <a:solidFill>
            <a:schemeClr val="bg2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 anchor="ctr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g3</a:t>
            </a:r>
          </a:p>
        </p:txBody>
      </p:sp>
      <p:sp>
        <p:nvSpPr>
          <p:cNvPr id="163" name="Oval 7">
            <a:extLst>
              <a:ext uri="{FF2B5EF4-FFF2-40B4-BE49-F238E27FC236}">
                <a16:creationId xmlns:a16="http://schemas.microsoft.com/office/drawing/2014/main" id="{0E0CC75E-B2CE-4208-B128-6C83FBF30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1913" y="2187184"/>
            <a:ext cx="689213" cy="338438"/>
          </a:xfrm>
          <a:prstGeom prst="ellipse">
            <a:avLst/>
          </a:prstGeom>
          <a:solidFill>
            <a:schemeClr val="accent1"/>
          </a:solidFill>
          <a:ln w="6350">
            <a:solidFill>
              <a:srgbClr val="000000"/>
            </a:solidFill>
            <a:round/>
            <a:headEnd/>
            <a:tailEnd/>
          </a:ln>
        </p:spPr>
        <p:txBody>
          <a:bodyPr wrap="none">
            <a:noAutofit/>
          </a:bodyPr>
          <a:lstStyle>
            <a:lvl1pPr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8B3D9A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7620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XRCC1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0D3465B0-6651-4059-B7CF-2BA5A31F9BD7}"/>
              </a:ext>
            </a:extLst>
          </p:cNvPr>
          <p:cNvGrpSpPr/>
          <p:nvPr/>
        </p:nvGrpSpPr>
        <p:grpSpPr>
          <a:xfrm>
            <a:off x="3765686" y="1863102"/>
            <a:ext cx="574675" cy="358775"/>
            <a:chOff x="8892024" y="5569852"/>
            <a:chExt cx="574675" cy="358775"/>
          </a:xfrm>
        </p:grpSpPr>
        <p:sp>
          <p:nvSpPr>
            <p:cNvPr id="168" name="Oval 9">
              <a:extLst>
                <a:ext uri="{FF2B5EF4-FFF2-40B4-BE49-F238E27FC236}">
                  <a16:creationId xmlns:a16="http://schemas.microsoft.com/office/drawing/2014/main" id="{A389833F-2F4D-449C-8DE5-3AF2F33D26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2024" y="5569852"/>
              <a:ext cx="574675" cy="358775"/>
            </a:xfrm>
            <a:prstGeom prst="ellipse">
              <a:avLst/>
            </a:prstGeom>
            <a:solidFill>
              <a:schemeClr val="accent6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9" name="Text Box 10">
              <a:extLst>
                <a:ext uri="{FF2B5EF4-FFF2-40B4-BE49-F238E27FC236}">
                  <a16:creationId xmlns:a16="http://schemas.microsoft.com/office/drawing/2014/main" id="{C4975E0A-AD39-48EB-822D-B5A2E32EED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13350" y="5641809"/>
              <a:ext cx="470706" cy="250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Lβ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FFE168C4-70DF-43FF-90A1-FFC063D414B1}"/>
              </a:ext>
            </a:extLst>
          </p:cNvPr>
          <p:cNvGrpSpPr/>
          <p:nvPr/>
        </p:nvGrpSpPr>
        <p:grpSpPr>
          <a:xfrm>
            <a:off x="4404781" y="1781396"/>
            <a:ext cx="574675" cy="358775"/>
            <a:chOff x="8455462" y="5477777"/>
            <a:chExt cx="574675" cy="358775"/>
          </a:xfrm>
        </p:grpSpPr>
        <p:sp>
          <p:nvSpPr>
            <p:cNvPr id="166" name="Oval 13">
              <a:extLst>
                <a:ext uri="{FF2B5EF4-FFF2-40B4-BE49-F238E27FC236}">
                  <a16:creationId xmlns:a16="http://schemas.microsoft.com/office/drawing/2014/main" id="{CB1EF2AF-467B-408F-9EC3-650AA3503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5462" y="5477777"/>
              <a:ext cx="574675" cy="358775"/>
            </a:xfrm>
            <a:prstGeom prst="ellipse">
              <a:avLst/>
            </a:prstGeom>
            <a:solidFill>
              <a:schemeClr val="accent4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7" name="Rectangle 14">
              <a:extLst>
                <a:ext uri="{FF2B5EF4-FFF2-40B4-BE49-F238E27FC236}">
                  <a16:creationId xmlns:a16="http://schemas.microsoft.com/office/drawing/2014/main" id="{4D525889-418F-481B-A29C-77151F6E0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0916" y="5552940"/>
              <a:ext cx="452368" cy="250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noAutofit/>
            </a:bodyPr>
            <a:lstStyle>
              <a:lvl1pPr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anose="05000000000000000000" pitchFamily="2" charset="2"/>
                <a:buChar char="§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7620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7620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panose="020B0604020202020204" pitchFamily="34" charset="0"/>
                <a:buChar char="–"/>
                <a:defRPr sz="16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620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NK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FE817D93-F29A-4F1B-9CAE-48EB568AC751}"/>
              </a:ext>
            </a:extLst>
          </p:cNvPr>
          <p:cNvGrpSpPr/>
          <p:nvPr/>
        </p:nvGrpSpPr>
        <p:grpSpPr>
          <a:xfrm>
            <a:off x="4503297" y="4785746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A3B828DE-CB6E-4824-865D-E737F179F441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6E3FF25A-75F8-4217-B890-6CB5222E14F9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FBB8D11-6F09-4F56-B80A-51769E480623}"/>
              </a:ext>
            </a:extLst>
          </p:cNvPr>
          <p:cNvGrpSpPr/>
          <p:nvPr/>
        </p:nvGrpSpPr>
        <p:grpSpPr>
          <a:xfrm>
            <a:off x="7486065" y="4816154"/>
            <a:ext cx="822960" cy="365760"/>
            <a:chOff x="3361261" y="4971151"/>
            <a:chExt cx="685800" cy="502920"/>
          </a:xfrm>
          <a:solidFill>
            <a:schemeClr val="accent3"/>
          </a:solidFill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AB4E0FBC-879F-49B0-8E38-2C2CD606BC23}"/>
                </a:ext>
              </a:extLst>
            </p:cNvPr>
            <p:cNvSpPr/>
            <p:nvPr/>
          </p:nvSpPr>
          <p:spPr bwMode="auto">
            <a:xfrm>
              <a:off x="3361261" y="4971151"/>
              <a:ext cx="685800" cy="50292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3EB1B5F-2F6C-45BE-9392-2A3EDFDFA16B}"/>
                </a:ext>
              </a:extLst>
            </p:cNvPr>
            <p:cNvSpPr txBox="1"/>
            <p:nvPr/>
          </p:nvSpPr>
          <p:spPr>
            <a:xfrm>
              <a:off x="3456621" y="5008239"/>
              <a:ext cx="471604" cy="24622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R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93226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1">
            <a:extLst>
              <a:ext uri="{FF2B5EF4-FFF2-40B4-BE49-F238E27FC236}">
                <a16:creationId xmlns:a16="http://schemas.microsoft.com/office/drawing/2014/main" id="{D2D1D95B-3FF8-4E3A-87AA-B803002BA7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458" y="635802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hmoto. Onco Targets Ther. 2017;10:5195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3968A8-57CB-44BD-9A9D-C1879A349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P1 Inhibition in HRR-Deficient Cells: </a:t>
            </a:r>
            <a:br>
              <a:rPr lang="en-US" dirty="0"/>
            </a:br>
            <a:r>
              <a:rPr lang="en-US" dirty="0"/>
              <a:t>Take-home Mess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04AD31-3130-4946-A92C-C402F93744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RP inhibitors affect HRR-deficient cells in 2 ways:</a:t>
            </a:r>
          </a:p>
          <a:p>
            <a:pPr lvl="1"/>
            <a:r>
              <a:rPr lang="en-US" dirty="0"/>
              <a:t>Reliance on error-prone double-strand repair</a:t>
            </a:r>
          </a:p>
          <a:p>
            <a:pPr lvl="1"/>
            <a:r>
              <a:rPr lang="en-US" dirty="0"/>
              <a:t>PARP trapping on DNA at single-stranded DNA breaks</a:t>
            </a:r>
          </a:p>
          <a:p>
            <a:r>
              <a:rPr lang="en-US" dirty="0"/>
              <a:t>This leads to increased replication fork collapse and cell death</a:t>
            </a:r>
          </a:p>
          <a:p>
            <a:r>
              <a:rPr lang="en-US" b="1" dirty="0">
                <a:solidFill>
                  <a:schemeClr val="accent3"/>
                </a:solidFill>
              </a:rPr>
              <a:t>Loss of a gene essential for HRR results in synthetic lethality from PARP inhibitor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9A6A5B-A74D-4C0C-B41A-1949825C85C7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60"/>
            <a:ext cx="2488502" cy="447823"/>
            <a:chOff x="9527309" y="3551529"/>
            <a:chExt cx="2488502" cy="448324"/>
          </a:xfrm>
        </p:grpSpPr>
        <p:pic>
          <p:nvPicPr>
            <p:cNvPr id="13" name="Picture 9">
              <a:extLst>
                <a:ext uri="{FF2B5EF4-FFF2-40B4-BE49-F238E27FC236}">
                  <a16:creationId xmlns:a16="http://schemas.microsoft.com/office/drawing/2014/main" id="{028ED71B-CFFF-438A-8F10-5871457E28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8">
              <a:extLst>
                <a:ext uri="{FF2B5EF4-FFF2-40B4-BE49-F238E27FC236}">
                  <a16:creationId xmlns:a16="http://schemas.microsoft.com/office/drawing/2014/main" id="{24E03ACD-A977-4264-B91D-59BEA3E6E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3138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7F691-54ED-458A-AFE9-EF065EEFE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DNA Repair Mutations Affect Prostate</a:t>
            </a:r>
            <a:br>
              <a:rPr lang="en-US" dirty="0"/>
            </a:br>
            <a:r>
              <a:rPr lang="en-US" dirty="0"/>
              <a:t>Carcinogenesis and Progression?</a:t>
            </a:r>
          </a:p>
        </p:txBody>
      </p:sp>
    </p:spTree>
    <p:extLst>
      <p:ext uri="{BB962C8B-B14F-4D97-AF65-F5344CB8AC3E}">
        <p14:creationId xmlns:p14="http://schemas.microsoft.com/office/powerpoint/2010/main" val="27363755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8F3D35BB-FE14-47D3-9C29-DE22C5A9BB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state Cancer Risk Is Highly Heritab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CF41B3-47DB-4BF1-B7E1-8C60288443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57% of lifetime prostate cancer risk due to heritable factors</a:t>
            </a:r>
            <a:r>
              <a:rPr lang="en-US" sz="2400" baseline="30000" dirty="0"/>
              <a:t>[1]</a:t>
            </a:r>
          </a:p>
          <a:p>
            <a:pPr lvl="1"/>
            <a:r>
              <a:rPr lang="en-US" sz="2400" dirty="0"/>
              <a:t>33% common variants </a:t>
            </a:r>
          </a:p>
          <a:p>
            <a:r>
              <a:rPr lang="en-US" sz="2400" i="1" dirty="0"/>
              <a:t>BRCA2</a:t>
            </a:r>
            <a:r>
              <a:rPr lang="en-US" sz="2400" dirty="0"/>
              <a:t> mutations: relative risk of prostate cancer increased by 8.6-fold</a:t>
            </a:r>
            <a:r>
              <a:rPr lang="en-US" sz="2400" baseline="30000" dirty="0"/>
              <a:t>[2]</a:t>
            </a:r>
          </a:p>
          <a:p>
            <a:pPr lvl="1"/>
            <a:r>
              <a:rPr lang="en-US" sz="2400" dirty="0"/>
              <a:t>1% to 2% in patients with localized disease</a:t>
            </a:r>
          </a:p>
          <a:p>
            <a:pPr lvl="1"/>
            <a:r>
              <a:rPr lang="en-US" sz="2400" dirty="0"/>
              <a:t>5% in patients with metastatic disease </a:t>
            </a:r>
          </a:p>
          <a:p>
            <a:pPr lvl="1"/>
            <a:r>
              <a:rPr lang="en-US" sz="2400" dirty="0"/>
              <a:t>Associated with poor prognosis</a:t>
            </a:r>
            <a:r>
              <a:rPr lang="en-US" sz="2400" baseline="30000" dirty="0"/>
              <a:t>[3-7]</a:t>
            </a:r>
          </a:p>
          <a:p>
            <a:r>
              <a:rPr lang="en-US" sz="2400" i="1" dirty="0"/>
              <a:t>BRCA1</a:t>
            </a:r>
            <a:r>
              <a:rPr lang="en-US" sz="2400" dirty="0"/>
              <a:t> mutations: relative risk of prostate cancer increased by 3.75-fold</a:t>
            </a:r>
            <a:r>
              <a:rPr lang="en-US" sz="2400" baseline="30000" dirty="0"/>
              <a:t>[8]</a:t>
            </a:r>
          </a:p>
          <a:p>
            <a:r>
              <a:rPr lang="en-US" sz="2400" dirty="0"/>
              <a:t>~ 1 in 10 men with metastatic prostate cancer found to have germline DNA-repair defects, most often in </a:t>
            </a:r>
            <a:r>
              <a:rPr lang="en-US" sz="2400" i="1" dirty="0"/>
              <a:t>BRCA2</a:t>
            </a:r>
            <a:r>
              <a:rPr lang="en-US" sz="2400" baseline="30000" dirty="0"/>
              <a:t>[7]</a:t>
            </a:r>
          </a:p>
          <a:p>
            <a:pPr marL="0" indent="0">
              <a:buNone/>
            </a:pPr>
            <a:endParaRPr lang="en-US" sz="2400" baseline="30000" dirty="0"/>
          </a:p>
          <a:p>
            <a:endParaRPr lang="en-US" sz="2400" dirty="0"/>
          </a:p>
        </p:txBody>
      </p:sp>
      <p:sp>
        <p:nvSpPr>
          <p:cNvPr id="6" name="Text Box 11">
            <a:extLst>
              <a:ext uri="{FF2B5EF4-FFF2-40B4-BE49-F238E27FC236}">
                <a16:creationId xmlns:a16="http://schemas.microsoft.com/office/drawing/2014/main" id="{674BB1D7-65D7-493B-ACE9-CD39C7A8F8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201074"/>
            <a:ext cx="94471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. Mucci. JAMA. 2016;315:68-76. 2. Kote-Jarai. Br J Cancer. 2011;105:1230. 3. Castro. JCO. 2013;31:1748. 4. Castro. Eur Urol. 2015;68:186. 5. Annala. Cancer Disc. 2018;8:444. 6. Castro. JCO. 2019;[Epub]. 7. Pritchard. NEJM. 2016;375:443. 8. Leongamornlert. Br J Cancer. 2012;106:1697.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E29F391-0BC8-4847-9F77-C0EDA463DB8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60"/>
            <a:ext cx="2488502" cy="447823"/>
            <a:chOff x="9527309" y="3551529"/>
            <a:chExt cx="2488502" cy="448324"/>
          </a:xfrm>
        </p:grpSpPr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id="{61421243-DA54-41F0-8107-19756BB1F1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6FA96DA4-DBAA-46D1-B872-52BEE8E41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7721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1" name="Title 1">
            <a:extLst>
              <a:ext uri="{FF2B5EF4-FFF2-40B4-BE49-F238E27FC236}">
                <a16:creationId xmlns:a16="http://schemas.microsoft.com/office/drawing/2014/main" id="{23C7CACC-A0B9-45DE-A3FF-E46EC305B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25" y="238127"/>
            <a:ext cx="11508350" cy="1103313"/>
          </a:xfrm>
        </p:spPr>
        <p:txBody>
          <a:bodyPr/>
          <a:lstStyle/>
          <a:p>
            <a:r>
              <a:rPr lang="en-US" altLang="en-US" sz="3350" dirty="0"/>
              <a:t>1 in 10 Men With mCRPC Have Germline DNA Repair Mu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2B6C6E-2203-44CA-B4C0-1C41C1AD8C3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11.8% of 692 men with mCRPC harbored germline DNA-repair defects</a:t>
            </a:r>
          </a:p>
          <a:p>
            <a:r>
              <a:rPr lang="en-US" dirty="0"/>
              <a:t>Autosomal dominant cancer predisposition (eg, </a:t>
            </a:r>
            <a:r>
              <a:rPr lang="en-US" i="1" dirty="0"/>
              <a:t>BRCA2</a:t>
            </a:r>
            <a:r>
              <a:rPr lang="en-US" dirty="0"/>
              <a:t>, </a:t>
            </a:r>
            <a:r>
              <a:rPr lang="en-US" i="1" dirty="0"/>
              <a:t>BRCA1</a:t>
            </a:r>
            <a:r>
              <a:rPr lang="en-US" dirty="0"/>
              <a:t>)</a:t>
            </a:r>
          </a:p>
          <a:p>
            <a:pPr lvl="1"/>
            <a:r>
              <a:rPr lang="en-US" i="1" dirty="0"/>
              <a:t>BRCA2</a:t>
            </a:r>
            <a:r>
              <a:rPr lang="en-US" dirty="0"/>
              <a:t> most common germline HRD risk gene</a:t>
            </a:r>
          </a:p>
          <a:p>
            <a:r>
              <a:rPr lang="en-US" dirty="0"/>
              <a:t>Not all had a family history </a:t>
            </a:r>
            <a:br>
              <a:rPr lang="en-US" dirty="0"/>
            </a:br>
            <a:r>
              <a:rPr lang="en-US" dirty="0"/>
              <a:t>of cance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9943" name="Text Box 11">
            <a:extLst>
              <a:ext uri="{FF2B5EF4-FFF2-40B4-BE49-F238E27FC236}">
                <a16:creationId xmlns:a16="http://schemas.microsoft.com/office/drawing/2014/main" id="{79A6EF2D-7421-40D7-82E8-C73B75DD77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0" y="638573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+mn-cs"/>
              </a:rPr>
              <a:t>Pritchard. NEJM. 2016;375:443.</a:t>
            </a:r>
          </a:p>
        </p:txBody>
      </p:sp>
      <p:sp>
        <p:nvSpPr>
          <p:cNvPr id="39946" name="AutoShape 12">
            <a:extLst>
              <a:ext uri="{FF2B5EF4-FFF2-40B4-BE49-F238E27FC236}">
                <a16:creationId xmlns:a16="http://schemas.microsoft.com/office/drawing/2014/main" id="{ECCE170F-DCAD-455A-8EF9-29C03BF14B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95300" y="712788"/>
            <a:ext cx="8140700" cy="543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6" name="Group 7">
            <a:extLst>
              <a:ext uri="{FF2B5EF4-FFF2-40B4-BE49-F238E27FC236}">
                <a16:creationId xmlns:a16="http://schemas.microsoft.com/office/drawing/2014/main" id="{B17E109E-EF46-4B51-9E5F-D69D7630B9C1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57" name="Picture 9">
              <a:extLst>
                <a:ext uri="{FF2B5EF4-FFF2-40B4-BE49-F238E27FC236}">
                  <a16:creationId xmlns:a16="http://schemas.microsoft.com/office/drawing/2014/main" id="{86A4B381-13CE-48F4-B5D7-2F5D314F35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Rectangle 8">
              <a:extLst>
                <a:ext uri="{FF2B5EF4-FFF2-40B4-BE49-F238E27FC236}">
                  <a16:creationId xmlns:a16="http://schemas.microsoft.com/office/drawing/2014/main" id="{EAF50040-0FD2-4CB3-B3B4-6B7CF18275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59" name="Straight Connector 192">
            <a:extLst>
              <a:ext uri="{FF2B5EF4-FFF2-40B4-BE49-F238E27FC236}">
                <a16:creationId xmlns:a16="http://schemas.microsoft.com/office/drawing/2014/main" id="{77622EDB-01D0-4709-9AEC-65D7C0AE4F36}"/>
              </a:ext>
            </a:extLst>
          </p:cNvPr>
          <p:cNvCxnSpPr>
            <a:cxnSpLocks/>
          </p:cNvCxnSpPr>
          <p:nvPr/>
        </p:nvCxnSpPr>
        <p:spPr bwMode="auto">
          <a:xfrm flipH="1">
            <a:off x="7567613" y="3625850"/>
            <a:ext cx="365125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0" name="Group 18588">
            <a:extLst>
              <a:ext uri="{FF2B5EF4-FFF2-40B4-BE49-F238E27FC236}">
                <a16:creationId xmlns:a16="http://schemas.microsoft.com/office/drawing/2014/main" id="{5AEFE03F-918E-49DD-AC28-323D1F0B4C7D}"/>
              </a:ext>
            </a:extLst>
          </p:cNvPr>
          <p:cNvGrpSpPr>
            <a:grpSpLocks/>
          </p:cNvGrpSpPr>
          <p:nvPr/>
        </p:nvGrpSpPr>
        <p:grpSpPr bwMode="auto">
          <a:xfrm>
            <a:off x="7419975" y="2517775"/>
            <a:ext cx="2101850" cy="1708150"/>
            <a:chOff x="7419977" y="2621491"/>
            <a:chExt cx="2101320" cy="1707619"/>
          </a:xfrm>
        </p:grpSpPr>
        <p:sp>
          <p:nvSpPr>
            <p:cNvPr id="61" name="Freeform: Shape 18587">
              <a:extLst>
                <a:ext uri="{FF2B5EF4-FFF2-40B4-BE49-F238E27FC236}">
                  <a16:creationId xmlns:a16="http://schemas.microsoft.com/office/drawing/2014/main" id="{AE8A7007-A89A-4C6C-A8DE-AA5AA016B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70" y="3109908"/>
              <a:ext cx="123825" cy="274320"/>
            </a:xfrm>
            <a:custGeom>
              <a:avLst/>
              <a:gdLst>
                <a:gd name="T0" fmla="*/ 123825 w 123825"/>
                <a:gd name="T1" fmla="*/ 1139980037 h 180975"/>
                <a:gd name="T2" fmla="*/ 123825 w 123825"/>
                <a:gd name="T3" fmla="*/ 0 h 180975"/>
                <a:gd name="T4" fmla="*/ 0 w 123825"/>
                <a:gd name="T5" fmla="*/ 0 h 1809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3825" h="180975">
                  <a:moveTo>
                    <a:pt x="123825" y="180975"/>
                  </a:moveTo>
                  <a:lnTo>
                    <a:pt x="123825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cxnSp>
          <p:nvCxnSpPr>
            <p:cNvPr id="62" name="Straight Connector 18584">
              <a:extLst>
                <a:ext uri="{FF2B5EF4-FFF2-40B4-BE49-F238E27FC236}">
                  <a16:creationId xmlns:a16="http://schemas.microsoft.com/office/drawing/2014/main" id="{1C0FD269-8E9B-402F-AC51-B8D1F9E8849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8740779" y="2621491"/>
              <a:ext cx="0" cy="638175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3" name="Freeform: Shape 18581">
              <a:extLst>
                <a:ext uri="{FF2B5EF4-FFF2-40B4-BE49-F238E27FC236}">
                  <a16:creationId xmlns:a16="http://schemas.microsoft.com/office/drawing/2014/main" id="{4C5D7B3B-26E6-40FC-AA81-0EB92FBC8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0747" y="2990849"/>
              <a:ext cx="590550" cy="228600"/>
            </a:xfrm>
            <a:custGeom>
              <a:avLst/>
              <a:gdLst>
                <a:gd name="T0" fmla="*/ 0 w 590550"/>
                <a:gd name="T1" fmla="*/ 228600 h 228600"/>
                <a:gd name="T2" fmla="*/ 0 w 590550"/>
                <a:gd name="T3" fmla="*/ 0 h 228600"/>
                <a:gd name="T4" fmla="*/ 590550 w 590550"/>
                <a:gd name="T5" fmla="*/ 0 h 228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90550" h="228600">
                  <a:moveTo>
                    <a:pt x="0" y="228600"/>
                  </a:moveTo>
                  <a:lnTo>
                    <a:pt x="0" y="0"/>
                  </a:lnTo>
                  <a:lnTo>
                    <a:pt x="59055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cxnSp>
          <p:nvCxnSpPr>
            <p:cNvPr id="64" name="Straight Connector 18576">
              <a:extLst>
                <a:ext uri="{FF2B5EF4-FFF2-40B4-BE49-F238E27FC236}">
                  <a16:creationId xmlns:a16="http://schemas.microsoft.com/office/drawing/2014/main" id="{6A79F132-607C-4FAF-9A72-5813F547967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7419977" y="4329110"/>
              <a:ext cx="204787" cy="0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5" name="Straight Connector 192">
              <a:extLst>
                <a:ext uri="{FF2B5EF4-FFF2-40B4-BE49-F238E27FC236}">
                  <a16:creationId xmlns:a16="http://schemas.microsoft.com/office/drawing/2014/main" id="{0BE0F3DF-E53A-4167-9C5D-0EC5B56523F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62845" y="3995731"/>
              <a:ext cx="257176" cy="0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Straight Connector 196">
              <a:extLst>
                <a:ext uri="{FF2B5EF4-FFF2-40B4-BE49-F238E27FC236}">
                  <a16:creationId xmlns:a16="http://schemas.microsoft.com/office/drawing/2014/main" id="{0416FECA-7FE0-4D58-8F43-896B73B6A26C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7627733" y="3574167"/>
              <a:ext cx="444720" cy="0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7" name="Freeform: Shape 18580">
              <a:extLst>
                <a:ext uri="{FF2B5EF4-FFF2-40B4-BE49-F238E27FC236}">
                  <a16:creationId xmlns:a16="http://schemas.microsoft.com/office/drawing/2014/main" id="{02706A27-8B2A-4C0F-8193-2959E3B05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2877" y="3138488"/>
              <a:ext cx="457200" cy="76200"/>
            </a:xfrm>
            <a:custGeom>
              <a:avLst/>
              <a:gdLst>
                <a:gd name="T0" fmla="*/ 0 w 381000"/>
                <a:gd name="T1" fmla="*/ 76200 h 76200"/>
                <a:gd name="T2" fmla="*/ 304300 w 381000"/>
                <a:gd name="T3" fmla="*/ 0 h 76200"/>
                <a:gd name="T4" fmla="*/ 12172186 w 381000"/>
                <a:gd name="T5" fmla="*/ 0 h 76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81000" h="76200">
                  <a:moveTo>
                    <a:pt x="0" y="76200"/>
                  </a:moveTo>
                  <a:lnTo>
                    <a:pt x="9525" y="0"/>
                  </a:lnTo>
                  <a:lnTo>
                    <a:pt x="38100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: Shape 18582">
              <a:extLst>
                <a:ext uri="{FF2B5EF4-FFF2-40B4-BE49-F238E27FC236}">
                  <a16:creationId xmlns:a16="http://schemas.microsoft.com/office/drawing/2014/main" id="{B3005056-4382-4D3A-B1D9-7701CFF8F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6557" y="2752724"/>
              <a:ext cx="576263" cy="485775"/>
            </a:xfrm>
            <a:custGeom>
              <a:avLst/>
              <a:gdLst>
                <a:gd name="T0" fmla="*/ 0 w 576263"/>
                <a:gd name="T1" fmla="*/ 485775 h 485775"/>
                <a:gd name="T2" fmla="*/ 0 w 576263"/>
                <a:gd name="T3" fmla="*/ 0 h 485775"/>
                <a:gd name="T4" fmla="*/ 576263 w 576263"/>
                <a:gd name="T5" fmla="*/ 0 h 4857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76263" h="485775">
                  <a:moveTo>
                    <a:pt x="0" y="485775"/>
                  </a:moveTo>
                  <a:lnTo>
                    <a:pt x="0" y="0"/>
                  </a:lnTo>
                  <a:lnTo>
                    <a:pt x="576263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: Shape 18585">
              <a:extLst>
                <a:ext uri="{FF2B5EF4-FFF2-40B4-BE49-F238E27FC236}">
                  <a16:creationId xmlns:a16="http://schemas.microsoft.com/office/drawing/2014/main" id="{63B73D46-AED1-4D65-8B50-A8FC8F58A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81" y="2709850"/>
              <a:ext cx="190500" cy="548640"/>
            </a:xfrm>
            <a:custGeom>
              <a:avLst/>
              <a:gdLst>
                <a:gd name="T0" fmla="*/ 190500 w 190500"/>
                <a:gd name="T1" fmla="*/ 10077723 h 466725"/>
                <a:gd name="T2" fmla="*/ 190500 w 190500"/>
                <a:gd name="T3" fmla="*/ 0 h 466725"/>
                <a:gd name="T4" fmla="*/ 0 w 190500"/>
                <a:gd name="T5" fmla="*/ 0 h 46672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90500" h="466725">
                  <a:moveTo>
                    <a:pt x="190500" y="466725"/>
                  </a:moveTo>
                  <a:lnTo>
                    <a:pt x="190500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0" name="Freeform: Shape 18586">
              <a:extLst>
                <a:ext uri="{FF2B5EF4-FFF2-40B4-BE49-F238E27FC236}">
                  <a16:creationId xmlns:a16="http://schemas.microsoft.com/office/drawing/2014/main" id="{0B3D7BF2-169B-48A2-B96A-CEADBD2D6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81" y="2890834"/>
              <a:ext cx="95250" cy="457200"/>
            </a:xfrm>
            <a:custGeom>
              <a:avLst/>
              <a:gdLst>
                <a:gd name="T0" fmla="*/ 95250 w 95250"/>
                <a:gd name="T1" fmla="*/ 134655381 h 333375"/>
                <a:gd name="T2" fmla="*/ 95250 w 95250"/>
                <a:gd name="T3" fmla="*/ 0 h 333375"/>
                <a:gd name="T4" fmla="*/ 0 w 95250"/>
                <a:gd name="T5" fmla="*/ 0 h 3333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5250" h="333375">
                  <a:moveTo>
                    <a:pt x="95250" y="333375"/>
                  </a:moveTo>
                  <a:lnTo>
                    <a:pt x="95250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1" name="Freeform: Shape 206">
              <a:extLst>
                <a:ext uri="{FF2B5EF4-FFF2-40B4-BE49-F238E27FC236}">
                  <a16:creationId xmlns:a16="http://schemas.microsoft.com/office/drawing/2014/main" id="{A4A9E07E-B6B4-4542-823F-009C0B4B6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505" y="3314693"/>
              <a:ext cx="123825" cy="274320"/>
            </a:xfrm>
            <a:custGeom>
              <a:avLst/>
              <a:gdLst>
                <a:gd name="T0" fmla="*/ 123825 w 123825"/>
                <a:gd name="T1" fmla="*/ 39763816 h 180975"/>
                <a:gd name="T2" fmla="*/ 123825 w 123825"/>
                <a:gd name="T3" fmla="*/ 0 h 180975"/>
                <a:gd name="T4" fmla="*/ 0 w 123825"/>
                <a:gd name="T5" fmla="*/ 0 h 1809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3825" h="180975">
                  <a:moveTo>
                    <a:pt x="123825" y="180975"/>
                  </a:moveTo>
                  <a:lnTo>
                    <a:pt x="123825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2" name="Group 18572">
            <a:extLst>
              <a:ext uri="{FF2B5EF4-FFF2-40B4-BE49-F238E27FC236}">
                <a16:creationId xmlns:a16="http://schemas.microsoft.com/office/drawing/2014/main" id="{86D23DD9-65A2-4F64-8697-E96FBDEDCF31}"/>
              </a:ext>
            </a:extLst>
          </p:cNvPr>
          <p:cNvGrpSpPr>
            <a:grpSpLocks/>
          </p:cNvGrpSpPr>
          <p:nvPr/>
        </p:nvGrpSpPr>
        <p:grpSpPr bwMode="auto">
          <a:xfrm>
            <a:off x="7505700" y="3100388"/>
            <a:ext cx="3167063" cy="3168650"/>
            <a:chOff x="11700740" y="3203081"/>
            <a:chExt cx="3167170" cy="3169438"/>
          </a:xfrm>
        </p:grpSpPr>
        <p:sp>
          <p:nvSpPr>
            <p:cNvPr id="73" name="Freeform 87">
              <a:extLst>
                <a:ext uri="{FF2B5EF4-FFF2-40B4-BE49-F238E27FC236}">
                  <a16:creationId xmlns:a16="http://schemas.microsoft.com/office/drawing/2014/main" id="{96EE11A0-CC91-425B-B4AF-CE24BCA29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85119" y="3204668"/>
              <a:ext cx="1582791" cy="3086867"/>
            </a:xfrm>
            <a:custGeom>
              <a:avLst/>
              <a:gdLst>
                <a:gd name="T0" fmla="*/ 72 w 1396"/>
                <a:gd name="T1" fmla="*/ 2 h 2721"/>
                <a:gd name="T2" fmla="*/ 212 w 1396"/>
                <a:gd name="T3" fmla="*/ 16 h 2721"/>
                <a:gd name="T4" fmla="*/ 348 w 1396"/>
                <a:gd name="T5" fmla="*/ 44 h 2721"/>
                <a:gd name="T6" fmla="*/ 480 w 1396"/>
                <a:gd name="T7" fmla="*/ 84 h 2721"/>
                <a:gd name="T8" fmla="*/ 604 w 1396"/>
                <a:gd name="T9" fmla="*/ 138 h 2721"/>
                <a:gd name="T10" fmla="*/ 724 w 1396"/>
                <a:gd name="T11" fmla="*/ 202 h 2721"/>
                <a:gd name="T12" fmla="*/ 835 w 1396"/>
                <a:gd name="T13" fmla="*/ 277 h 2721"/>
                <a:gd name="T14" fmla="*/ 939 w 1396"/>
                <a:gd name="T15" fmla="*/ 362 h 2721"/>
                <a:gd name="T16" fmla="*/ 1033 w 1396"/>
                <a:gd name="T17" fmla="*/ 456 h 2721"/>
                <a:gd name="T18" fmla="*/ 1118 w 1396"/>
                <a:gd name="T19" fmla="*/ 560 h 2721"/>
                <a:gd name="T20" fmla="*/ 1193 w 1396"/>
                <a:gd name="T21" fmla="*/ 672 h 2721"/>
                <a:gd name="T22" fmla="*/ 1259 w 1396"/>
                <a:gd name="T23" fmla="*/ 791 h 2721"/>
                <a:gd name="T24" fmla="*/ 1312 w 1396"/>
                <a:gd name="T25" fmla="*/ 916 h 2721"/>
                <a:gd name="T26" fmla="*/ 1352 w 1396"/>
                <a:gd name="T27" fmla="*/ 1047 h 2721"/>
                <a:gd name="T28" fmla="*/ 1380 w 1396"/>
                <a:gd name="T29" fmla="*/ 1183 h 2721"/>
                <a:gd name="T30" fmla="*/ 1395 w 1396"/>
                <a:gd name="T31" fmla="*/ 1324 h 2721"/>
                <a:gd name="T32" fmla="*/ 1395 w 1396"/>
                <a:gd name="T33" fmla="*/ 1452 h 2721"/>
                <a:gd name="T34" fmla="*/ 1385 w 1396"/>
                <a:gd name="T35" fmla="*/ 1564 h 2721"/>
                <a:gd name="T36" fmla="*/ 1368 w 1396"/>
                <a:gd name="T37" fmla="*/ 1673 h 2721"/>
                <a:gd name="T38" fmla="*/ 1342 w 1396"/>
                <a:gd name="T39" fmla="*/ 1778 h 2721"/>
                <a:gd name="T40" fmla="*/ 1308 w 1396"/>
                <a:gd name="T41" fmla="*/ 1881 h 2721"/>
                <a:gd name="T42" fmla="*/ 1267 w 1396"/>
                <a:gd name="T43" fmla="*/ 1981 h 2721"/>
                <a:gd name="T44" fmla="*/ 1219 w 1396"/>
                <a:gd name="T45" fmla="*/ 2077 h 2721"/>
                <a:gd name="T46" fmla="*/ 1163 w 1396"/>
                <a:gd name="T47" fmla="*/ 2169 h 2721"/>
                <a:gd name="T48" fmla="*/ 1099 w 1396"/>
                <a:gd name="T49" fmla="*/ 2255 h 2721"/>
                <a:gd name="T50" fmla="*/ 1030 w 1396"/>
                <a:gd name="T51" fmla="*/ 2338 h 2721"/>
                <a:gd name="T52" fmla="*/ 955 w 1396"/>
                <a:gd name="T53" fmla="*/ 2415 h 2721"/>
                <a:gd name="T54" fmla="*/ 873 w 1396"/>
                <a:gd name="T55" fmla="*/ 2485 h 2721"/>
                <a:gd name="T56" fmla="*/ 785 w 1396"/>
                <a:gd name="T57" fmla="*/ 2549 h 2721"/>
                <a:gd name="T58" fmla="*/ 692 w 1396"/>
                <a:gd name="T59" fmla="*/ 2609 h 2721"/>
                <a:gd name="T60" fmla="*/ 595 w 1396"/>
                <a:gd name="T61" fmla="*/ 2658 h 2721"/>
                <a:gd name="T62" fmla="*/ 492 w 1396"/>
                <a:gd name="T63" fmla="*/ 2701 h 2721"/>
                <a:gd name="T64" fmla="*/ 0 w 1396"/>
                <a:gd name="T65" fmla="*/ 1396 h 2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96" h="2721">
                  <a:moveTo>
                    <a:pt x="0" y="0"/>
                  </a:moveTo>
                  <a:lnTo>
                    <a:pt x="72" y="2"/>
                  </a:lnTo>
                  <a:lnTo>
                    <a:pt x="142" y="7"/>
                  </a:lnTo>
                  <a:lnTo>
                    <a:pt x="212" y="16"/>
                  </a:lnTo>
                  <a:lnTo>
                    <a:pt x="281" y="28"/>
                  </a:lnTo>
                  <a:lnTo>
                    <a:pt x="348" y="44"/>
                  </a:lnTo>
                  <a:lnTo>
                    <a:pt x="416" y="63"/>
                  </a:lnTo>
                  <a:lnTo>
                    <a:pt x="480" y="84"/>
                  </a:lnTo>
                  <a:lnTo>
                    <a:pt x="544" y="109"/>
                  </a:lnTo>
                  <a:lnTo>
                    <a:pt x="604" y="138"/>
                  </a:lnTo>
                  <a:lnTo>
                    <a:pt x="665" y="168"/>
                  </a:lnTo>
                  <a:lnTo>
                    <a:pt x="724" y="202"/>
                  </a:lnTo>
                  <a:lnTo>
                    <a:pt x="780" y="239"/>
                  </a:lnTo>
                  <a:lnTo>
                    <a:pt x="835" y="277"/>
                  </a:lnTo>
                  <a:lnTo>
                    <a:pt x="888" y="319"/>
                  </a:lnTo>
                  <a:lnTo>
                    <a:pt x="939" y="362"/>
                  </a:lnTo>
                  <a:lnTo>
                    <a:pt x="987" y="408"/>
                  </a:lnTo>
                  <a:lnTo>
                    <a:pt x="1033" y="456"/>
                  </a:lnTo>
                  <a:lnTo>
                    <a:pt x="1076" y="508"/>
                  </a:lnTo>
                  <a:lnTo>
                    <a:pt x="1118" y="560"/>
                  </a:lnTo>
                  <a:lnTo>
                    <a:pt x="1158" y="615"/>
                  </a:lnTo>
                  <a:lnTo>
                    <a:pt x="1193" y="672"/>
                  </a:lnTo>
                  <a:lnTo>
                    <a:pt x="1227" y="730"/>
                  </a:lnTo>
                  <a:lnTo>
                    <a:pt x="1259" y="791"/>
                  </a:lnTo>
                  <a:lnTo>
                    <a:pt x="1286" y="852"/>
                  </a:lnTo>
                  <a:lnTo>
                    <a:pt x="1312" y="916"/>
                  </a:lnTo>
                  <a:lnTo>
                    <a:pt x="1332" y="981"/>
                  </a:lnTo>
                  <a:lnTo>
                    <a:pt x="1352" y="1047"/>
                  </a:lnTo>
                  <a:lnTo>
                    <a:pt x="1368" y="1114"/>
                  </a:lnTo>
                  <a:lnTo>
                    <a:pt x="1380" y="1183"/>
                  </a:lnTo>
                  <a:lnTo>
                    <a:pt x="1388" y="1253"/>
                  </a:lnTo>
                  <a:lnTo>
                    <a:pt x="1395" y="1324"/>
                  </a:lnTo>
                  <a:lnTo>
                    <a:pt x="1396" y="1396"/>
                  </a:lnTo>
                  <a:lnTo>
                    <a:pt x="1395" y="1452"/>
                  </a:lnTo>
                  <a:lnTo>
                    <a:pt x="1392" y="1508"/>
                  </a:lnTo>
                  <a:lnTo>
                    <a:pt x="1385" y="1564"/>
                  </a:lnTo>
                  <a:lnTo>
                    <a:pt x="1379" y="1618"/>
                  </a:lnTo>
                  <a:lnTo>
                    <a:pt x="1368" y="1673"/>
                  </a:lnTo>
                  <a:lnTo>
                    <a:pt x="1356" y="1725"/>
                  </a:lnTo>
                  <a:lnTo>
                    <a:pt x="1342" y="1778"/>
                  </a:lnTo>
                  <a:lnTo>
                    <a:pt x="1326" y="1829"/>
                  </a:lnTo>
                  <a:lnTo>
                    <a:pt x="1308" y="1881"/>
                  </a:lnTo>
                  <a:lnTo>
                    <a:pt x="1289" y="1932"/>
                  </a:lnTo>
                  <a:lnTo>
                    <a:pt x="1267" y="1981"/>
                  </a:lnTo>
                  <a:lnTo>
                    <a:pt x="1244" y="2029"/>
                  </a:lnTo>
                  <a:lnTo>
                    <a:pt x="1219" y="2077"/>
                  </a:lnTo>
                  <a:lnTo>
                    <a:pt x="1192" y="2124"/>
                  </a:lnTo>
                  <a:lnTo>
                    <a:pt x="1163" y="2169"/>
                  </a:lnTo>
                  <a:lnTo>
                    <a:pt x="1132" y="2213"/>
                  </a:lnTo>
                  <a:lnTo>
                    <a:pt x="1099" y="2255"/>
                  </a:lnTo>
                  <a:lnTo>
                    <a:pt x="1065" y="2298"/>
                  </a:lnTo>
                  <a:lnTo>
                    <a:pt x="1030" y="2338"/>
                  </a:lnTo>
                  <a:lnTo>
                    <a:pt x="993" y="2377"/>
                  </a:lnTo>
                  <a:lnTo>
                    <a:pt x="955" y="2415"/>
                  </a:lnTo>
                  <a:lnTo>
                    <a:pt x="915" y="2450"/>
                  </a:lnTo>
                  <a:lnTo>
                    <a:pt x="873" y="2485"/>
                  </a:lnTo>
                  <a:lnTo>
                    <a:pt x="830" y="2519"/>
                  </a:lnTo>
                  <a:lnTo>
                    <a:pt x="785" y="2549"/>
                  </a:lnTo>
                  <a:lnTo>
                    <a:pt x="740" y="2580"/>
                  </a:lnTo>
                  <a:lnTo>
                    <a:pt x="692" y="2609"/>
                  </a:lnTo>
                  <a:lnTo>
                    <a:pt x="644" y="2634"/>
                  </a:lnTo>
                  <a:lnTo>
                    <a:pt x="595" y="2658"/>
                  </a:lnTo>
                  <a:lnTo>
                    <a:pt x="545" y="2681"/>
                  </a:lnTo>
                  <a:lnTo>
                    <a:pt x="492" y="2701"/>
                  </a:lnTo>
                  <a:lnTo>
                    <a:pt x="440" y="2721"/>
                  </a:lnTo>
                  <a:lnTo>
                    <a:pt x="0" y="1396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4" name="Freeform 89">
              <a:extLst>
                <a:ext uri="{FF2B5EF4-FFF2-40B4-BE49-F238E27FC236}">
                  <a16:creationId xmlns:a16="http://schemas.microsoft.com/office/drawing/2014/main" id="{7336F21B-7474-4B33-93DC-2D48FCF26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7217" y="4787800"/>
              <a:ext cx="1276393" cy="1584719"/>
            </a:xfrm>
            <a:custGeom>
              <a:avLst/>
              <a:gdLst>
                <a:gd name="T0" fmla="*/ 1125 w 1125"/>
                <a:gd name="T1" fmla="*/ 1325 h 1397"/>
                <a:gd name="T2" fmla="*/ 1054 w 1125"/>
                <a:gd name="T3" fmla="*/ 1345 h 1397"/>
                <a:gd name="T4" fmla="*/ 984 w 1125"/>
                <a:gd name="T5" fmla="*/ 1363 h 1397"/>
                <a:gd name="T6" fmla="*/ 912 w 1125"/>
                <a:gd name="T7" fmla="*/ 1377 h 1397"/>
                <a:gd name="T8" fmla="*/ 840 w 1125"/>
                <a:gd name="T9" fmla="*/ 1387 h 1397"/>
                <a:gd name="T10" fmla="*/ 768 w 1125"/>
                <a:gd name="T11" fmla="*/ 1393 h 1397"/>
                <a:gd name="T12" fmla="*/ 694 w 1125"/>
                <a:gd name="T13" fmla="*/ 1397 h 1397"/>
                <a:gd name="T14" fmla="*/ 622 w 1125"/>
                <a:gd name="T15" fmla="*/ 1395 h 1397"/>
                <a:gd name="T16" fmla="*/ 550 w 1125"/>
                <a:gd name="T17" fmla="*/ 1390 h 1397"/>
                <a:gd name="T18" fmla="*/ 478 w 1125"/>
                <a:gd name="T19" fmla="*/ 1381 h 1397"/>
                <a:gd name="T20" fmla="*/ 408 w 1125"/>
                <a:gd name="T21" fmla="*/ 1368 h 1397"/>
                <a:gd name="T22" fmla="*/ 337 w 1125"/>
                <a:gd name="T23" fmla="*/ 1352 h 1397"/>
                <a:gd name="T24" fmla="*/ 267 w 1125"/>
                <a:gd name="T25" fmla="*/ 1333 h 1397"/>
                <a:gd name="T26" fmla="*/ 198 w 1125"/>
                <a:gd name="T27" fmla="*/ 1309 h 1397"/>
                <a:gd name="T28" fmla="*/ 131 w 1125"/>
                <a:gd name="T29" fmla="*/ 1281 h 1397"/>
                <a:gd name="T30" fmla="*/ 65 w 1125"/>
                <a:gd name="T31" fmla="*/ 1251 h 1397"/>
                <a:gd name="T32" fmla="*/ 0 w 1125"/>
                <a:gd name="T33" fmla="*/ 1216 h 1397"/>
                <a:gd name="T34" fmla="*/ 685 w 1125"/>
                <a:gd name="T35" fmla="*/ 0 h 1397"/>
                <a:gd name="T36" fmla="*/ 1125 w 1125"/>
                <a:gd name="T37" fmla="*/ 1325 h 1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5" h="1397">
                  <a:moveTo>
                    <a:pt x="1125" y="1325"/>
                  </a:moveTo>
                  <a:lnTo>
                    <a:pt x="1054" y="1345"/>
                  </a:lnTo>
                  <a:lnTo>
                    <a:pt x="984" y="1363"/>
                  </a:lnTo>
                  <a:lnTo>
                    <a:pt x="912" y="1377"/>
                  </a:lnTo>
                  <a:lnTo>
                    <a:pt x="840" y="1387"/>
                  </a:lnTo>
                  <a:lnTo>
                    <a:pt x="768" y="1393"/>
                  </a:lnTo>
                  <a:lnTo>
                    <a:pt x="694" y="1397"/>
                  </a:lnTo>
                  <a:lnTo>
                    <a:pt x="622" y="1395"/>
                  </a:lnTo>
                  <a:lnTo>
                    <a:pt x="550" y="1390"/>
                  </a:lnTo>
                  <a:lnTo>
                    <a:pt x="478" y="1381"/>
                  </a:lnTo>
                  <a:lnTo>
                    <a:pt x="408" y="1368"/>
                  </a:lnTo>
                  <a:lnTo>
                    <a:pt x="337" y="1352"/>
                  </a:lnTo>
                  <a:lnTo>
                    <a:pt x="267" y="1333"/>
                  </a:lnTo>
                  <a:lnTo>
                    <a:pt x="198" y="1309"/>
                  </a:lnTo>
                  <a:lnTo>
                    <a:pt x="131" y="1281"/>
                  </a:lnTo>
                  <a:lnTo>
                    <a:pt x="65" y="1251"/>
                  </a:lnTo>
                  <a:lnTo>
                    <a:pt x="0" y="1216"/>
                  </a:lnTo>
                  <a:lnTo>
                    <a:pt x="685" y="0"/>
                  </a:lnTo>
                  <a:lnTo>
                    <a:pt x="1125" y="1325"/>
                  </a:lnTo>
                </a:path>
              </a:pathLst>
            </a:custGeom>
            <a:solidFill>
              <a:schemeClr val="accent2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5" name="Freeform 91">
              <a:extLst>
                <a:ext uri="{FF2B5EF4-FFF2-40B4-BE49-F238E27FC236}">
                  <a16:creationId xmlns:a16="http://schemas.microsoft.com/office/drawing/2014/main" id="{B952D996-56BD-4463-A207-A6A2BA7EE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5830" y="4787800"/>
              <a:ext cx="1519288" cy="1379880"/>
            </a:xfrm>
            <a:custGeom>
              <a:avLst/>
              <a:gdLst>
                <a:gd name="T0" fmla="*/ 653 w 1338"/>
                <a:gd name="T1" fmla="*/ 1216 h 1216"/>
                <a:gd name="T2" fmla="*/ 624 w 1338"/>
                <a:gd name="T3" fmla="*/ 1200 h 1216"/>
                <a:gd name="T4" fmla="*/ 594 w 1338"/>
                <a:gd name="T5" fmla="*/ 1182 h 1216"/>
                <a:gd name="T6" fmla="*/ 566 w 1338"/>
                <a:gd name="T7" fmla="*/ 1163 h 1216"/>
                <a:gd name="T8" fmla="*/ 538 w 1338"/>
                <a:gd name="T9" fmla="*/ 1144 h 1216"/>
                <a:gd name="T10" fmla="*/ 510 w 1338"/>
                <a:gd name="T11" fmla="*/ 1125 h 1216"/>
                <a:gd name="T12" fmla="*/ 483 w 1338"/>
                <a:gd name="T13" fmla="*/ 1104 h 1216"/>
                <a:gd name="T14" fmla="*/ 458 w 1338"/>
                <a:gd name="T15" fmla="*/ 1083 h 1216"/>
                <a:gd name="T16" fmla="*/ 432 w 1338"/>
                <a:gd name="T17" fmla="*/ 1062 h 1216"/>
                <a:gd name="T18" fmla="*/ 406 w 1338"/>
                <a:gd name="T19" fmla="*/ 1040 h 1216"/>
                <a:gd name="T20" fmla="*/ 382 w 1338"/>
                <a:gd name="T21" fmla="*/ 1017 h 1216"/>
                <a:gd name="T22" fmla="*/ 358 w 1338"/>
                <a:gd name="T23" fmla="*/ 995 h 1216"/>
                <a:gd name="T24" fmla="*/ 334 w 1338"/>
                <a:gd name="T25" fmla="*/ 971 h 1216"/>
                <a:gd name="T26" fmla="*/ 312 w 1338"/>
                <a:gd name="T27" fmla="*/ 947 h 1216"/>
                <a:gd name="T28" fmla="*/ 290 w 1338"/>
                <a:gd name="T29" fmla="*/ 921 h 1216"/>
                <a:gd name="T30" fmla="*/ 267 w 1338"/>
                <a:gd name="T31" fmla="*/ 896 h 1216"/>
                <a:gd name="T32" fmla="*/ 246 w 1338"/>
                <a:gd name="T33" fmla="*/ 870 h 1216"/>
                <a:gd name="T34" fmla="*/ 226 w 1338"/>
                <a:gd name="T35" fmla="*/ 845 h 1216"/>
                <a:gd name="T36" fmla="*/ 206 w 1338"/>
                <a:gd name="T37" fmla="*/ 817 h 1216"/>
                <a:gd name="T38" fmla="*/ 187 w 1338"/>
                <a:gd name="T39" fmla="*/ 790 h 1216"/>
                <a:gd name="T40" fmla="*/ 168 w 1338"/>
                <a:gd name="T41" fmla="*/ 761 h 1216"/>
                <a:gd name="T42" fmla="*/ 150 w 1338"/>
                <a:gd name="T43" fmla="*/ 734 h 1216"/>
                <a:gd name="T44" fmla="*/ 133 w 1338"/>
                <a:gd name="T45" fmla="*/ 705 h 1216"/>
                <a:gd name="T46" fmla="*/ 117 w 1338"/>
                <a:gd name="T47" fmla="*/ 677 h 1216"/>
                <a:gd name="T48" fmla="*/ 101 w 1338"/>
                <a:gd name="T49" fmla="*/ 646 h 1216"/>
                <a:gd name="T50" fmla="*/ 85 w 1338"/>
                <a:gd name="T51" fmla="*/ 617 h 1216"/>
                <a:gd name="T52" fmla="*/ 70 w 1338"/>
                <a:gd name="T53" fmla="*/ 587 h 1216"/>
                <a:gd name="T54" fmla="*/ 58 w 1338"/>
                <a:gd name="T55" fmla="*/ 555 h 1216"/>
                <a:gd name="T56" fmla="*/ 45 w 1338"/>
                <a:gd name="T57" fmla="*/ 525 h 1216"/>
                <a:gd name="T58" fmla="*/ 32 w 1338"/>
                <a:gd name="T59" fmla="*/ 493 h 1216"/>
                <a:gd name="T60" fmla="*/ 21 w 1338"/>
                <a:gd name="T61" fmla="*/ 462 h 1216"/>
                <a:gd name="T62" fmla="*/ 10 w 1338"/>
                <a:gd name="T63" fmla="*/ 430 h 1216"/>
                <a:gd name="T64" fmla="*/ 0 w 1338"/>
                <a:gd name="T65" fmla="*/ 397 h 1216"/>
                <a:gd name="T66" fmla="*/ 1338 w 1338"/>
                <a:gd name="T67" fmla="*/ 0 h 1216"/>
                <a:gd name="T68" fmla="*/ 653 w 1338"/>
                <a:gd name="T69" fmla="*/ 1216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8" h="1216">
                  <a:moveTo>
                    <a:pt x="653" y="1216"/>
                  </a:moveTo>
                  <a:lnTo>
                    <a:pt x="624" y="1200"/>
                  </a:lnTo>
                  <a:lnTo>
                    <a:pt x="594" y="1182"/>
                  </a:lnTo>
                  <a:lnTo>
                    <a:pt x="566" y="1163"/>
                  </a:lnTo>
                  <a:lnTo>
                    <a:pt x="538" y="1144"/>
                  </a:lnTo>
                  <a:lnTo>
                    <a:pt x="510" y="1125"/>
                  </a:lnTo>
                  <a:lnTo>
                    <a:pt x="483" y="1104"/>
                  </a:lnTo>
                  <a:lnTo>
                    <a:pt x="458" y="1083"/>
                  </a:lnTo>
                  <a:lnTo>
                    <a:pt x="432" y="1062"/>
                  </a:lnTo>
                  <a:lnTo>
                    <a:pt x="406" y="1040"/>
                  </a:lnTo>
                  <a:lnTo>
                    <a:pt x="382" y="1017"/>
                  </a:lnTo>
                  <a:lnTo>
                    <a:pt x="358" y="995"/>
                  </a:lnTo>
                  <a:lnTo>
                    <a:pt x="334" y="971"/>
                  </a:lnTo>
                  <a:lnTo>
                    <a:pt x="312" y="947"/>
                  </a:lnTo>
                  <a:lnTo>
                    <a:pt x="290" y="921"/>
                  </a:lnTo>
                  <a:lnTo>
                    <a:pt x="267" y="896"/>
                  </a:lnTo>
                  <a:lnTo>
                    <a:pt x="246" y="870"/>
                  </a:lnTo>
                  <a:lnTo>
                    <a:pt x="226" y="845"/>
                  </a:lnTo>
                  <a:lnTo>
                    <a:pt x="206" y="817"/>
                  </a:lnTo>
                  <a:lnTo>
                    <a:pt x="187" y="790"/>
                  </a:lnTo>
                  <a:lnTo>
                    <a:pt x="168" y="761"/>
                  </a:lnTo>
                  <a:lnTo>
                    <a:pt x="150" y="734"/>
                  </a:lnTo>
                  <a:lnTo>
                    <a:pt x="133" y="705"/>
                  </a:lnTo>
                  <a:lnTo>
                    <a:pt x="117" y="677"/>
                  </a:lnTo>
                  <a:lnTo>
                    <a:pt x="101" y="646"/>
                  </a:lnTo>
                  <a:lnTo>
                    <a:pt x="85" y="617"/>
                  </a:lnTo>
                  <a:lnTo>
                    <a:pt x="70" y="587"/>
                  </a:lnTo>
                  <a:lnTo>
                    <a:pt x="58" y="555"/>
                  </a:lnTo>
                  <a:lnTo>
                    <a:pt x="45" y="525"/>
                  </a:lnTo>
                  <a:lnTo>
                    <a:pt x="32" y="493"/>
                  </a:lnTo>
                  <a:lnTo>
                    <a:pt x="21" y="462"/>
                  </a:lnTo>
                  <a:lnTo>
                    <a:pt x="10" y="430"/>
                  </a:lnTo>
                  <a:lnTo>
                    <a:pt x="0" y="397"/>
                  </a:lnTo>
                  <a:lnTo>
                    <a:pt x="1338" y="0"/>
                  </a:lnTo>
                  <a:lnTo>
                    <a:pt x="653" y="121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6" name="Freeform 93">
              <a:extLst>
                <a:ext uri="{FF2B5EF4-FFF2-40B4-BE49-F238E27FC236}">
                  <a16:creationId xmlns:a16="http://schemas.microsoft.com/office/drawing/2014/main" id="{BF17EA68-4372-417A-8515-E2DB8BDFF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0740" y="4535324"/>
              <a:ext cx="1584379" cy="703438"/>
            </a:xfrm>
            <a:custGeom>
              <a:avLst/>
              <a:gdLst>
                <a:gd name="T0" fmla="*/ 58 w 1396"/>
                <a:gd name="T1" fmla="*/ 620 h 620"/>
                <a:gd name="T2" fmla="*/ 47 w 1396"/>
                <a:gd name="T3" fmla="*/ 583 h 620"/>
                <a:gd name="T4" fmla="*/ 37 w 1396"/>
                <a:gd name="T5" fmla="*/ 544 h 620"/>
                <a:gd name="T6" fmla="*/ 29 w 1396"/>
                <a:gd name="T7" fmla="*/ 506 h 620"/>
                <a:gd name="T8" fmla="*/ 21 w 1396"/>
                <a:gd name="T9" fmla="*/ 468 h 620"/>
                <a:gd name="T10" fmla="*/ 15 w 1396"/>
                <a:gd name="T11" fmla="*/ 429 h 620"/>
                <a:gd name="T12" fmla="*/ 10 w 1396"/>
                <a:gd name="T13" fmla="*/ 391 h 620"/>
                <a:gd name="T14" fmla="*/ 5 w 1396"/>
                <a:gd name="T15" fmla="*/ 351 h 620"/>
                <a:gd name="T16" fmla="*/ 2 w 1396"/>
                <a:gd name="T17" fmla="*/ 312 h 620"/>
                <a:gd name="T18" fmla="*/ 0 w 1396"/>
                <a:gd name="T19" fmla="*/ 274 h 620"/>
                <a:gd name="T20" fmla="*/ 0 w 1396"/>
                <a:gd name="T21" fmla="*/ 234 h 620"/>
                <a:gd name="T22" fmla="*/ 0 w 1396"/>
                <a:gd name="T23" fmla="*/ 195 h 620"/>
                <a:gd name="T24" fmla="*/ 2 w 1396"/>
                <a:gd name="T25" fmla="*/ 155 h 620"/>
                <a:gd name="T26" fmla="*/ 4 w 1396"/>
                <a:gd name="T27" fmla="*/ 117 h 620"/>
                <a:gd name="T28" fmla="*/ 7 w 1396"/>
                <a:gd name="T29" fmla="*/ 77 h 620"/>
                <a:gd name="T30" fmla="*/ 12 w 1396"/>
                <a:gd name="T31" fmla="*/ 39 h 620"/>
                <a:gd name="T32" fmla="*/ 18 w 1396"/>
                <a:gd name="T33" fmla="*/ 0 h 620"/>
                <a:gd name="T34" fmla="*/ 1396 w 1396"/>
                <a:gd name="T35" fmla="*/ 223 h 620"/>
                <a:gd name="T36" fmla="*/ 58 w 1396"/>
                <a:gd name="T37" fmla="*/ 62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6" h="620">
                  <a:moveTo>
                    <a:pt x="58" y="620"/>
                  </a:moveTo>
                  <a:lnTo>
                    <a:pt x="47" y="583"/>
                  </a:lnTo>
                  <a:lnTo>
                    <a:pt x="37" y="544"/>
                  </a:lnTo>
                  <a:lnTo>
                    <a:pt x="29" y="506"/>
                  </a:lnTo>
                  <a:lnTo>
                    <a:pt x="21" y="468"/>
                  </a:lnTo>
                  <a:lnTo>
                    <a:pt x="15" y="429"/>
                  </a:lnTo>
                  <a:lnTo>
                    <a:pt x="10" y="391"/>
                  </a:lnTo>
                  <a:lnTo>
                    <a:pt x="5" y="351"/>
                  </a:lnTo>
                  <a:lnTo>
                    <a:pt x="2" y="312"/>
                  </a:lnTo>
                  <a:lnTo>
                    <a:pt x="0" y="274"/>
                  </a:lnTo>
                  <a:lnTo>
                    <a:pt x="0" y="234"/>
                  </a:lnTo>
                  <a:lnTo>
                    <a:pt x="0" y="195"/>
                  </a:lnTo>
                  <a:lnTo>
                    <a:pt x="2" y="155"/>
                  </a:lnTo>
                  <a:lnTo>
                    <a:pt x="4" y="117"/>
                  </a:lnTo>
                  <a:lnTo>
                    <a:pt x="7" y="77"/>
                  </a:lnTo>
                  <a:lnTo>
                    <a:pt x="12" y="39"/>
                  </a:lnTo>
                  <a:lnTo>
                    <a:pt x="18" y="0"/>
                  </a:lnTo>
                  <a:lnTo>
                    <a:pt x="1396" y="223"/>
                  </a:lnTo>
                  <a:lnTo>
                    <a:pt x="58" y="620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7" name="Freeform 95">
              <a:extLst>
                <a:ext uri="{FF2B5EF4-FFF2-40B4-BE49-F238E27FC236}">
                  <a16:creationId xmlns:a16="http://schemas.microsoft.com/office/drawing/2014/main" id="{E4E0A2B3-639D-4AEE-9091-0F26B8B7F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1379" y="4146291"/>
              <a:ext cx="1563740" cy="641509"/>
            </a:xfrm>
            <a:custGeom>
              <a:avLst/>
              <a:gdLst>
                <a:gd name="T0" fmla="*/ 0 w 1378"/>
                <a:gd name="T1" fmla="*/ 342 h 565"/>
                <a:gd name="T2" fmla="*/ 8 w 1378"/>
                <a:gd name="T3" fmla="*/ 297 h 565"/>
                <a:gd name="T4" fmla="*/ 16 w 1378"/>
                <a:gd name="T5" fmla="*/ 254 h 565"/>
                <a:gd name="T6" fmla="*/ 27 w 1378"/>
                <a:gd name="T7" fmla="*/ 211 h 565"/>
                <a:gd name="T8" fmla="*/ 40 w 1378"/>
                <a:gd name="T9" fmla="*/ 168 h 565"/>
                <a:gd name="T10" fmla="*/ 53 w 1378"/>
                <a:gd name="T11" fmla="*/ 125 h 565"/>
                <a:gd name="T12" fmla="*/ 67 w 1378"/>
                <a:gd name="T13" fmla="*/ 83 h 565"/>
                <a:gd name="T14" fmla="*/ 83 w 1378"/>
                <a:gd name="T15" fmla="*/ 41 h 565"/>
                <a:gd name="T16" fmla="*/ 101 w 1378"/>
                <a:gd name="T17" fmla="*/ 0 h 565"/>
                <a:gd name="T18" fmla="*/ 1378 w 1378"/>
                <a:gd name="T19" fmla="*/ 565 h 565"/>
                <a:gd name="T20" fmla="*/ 0 w 1378"/>
                <a:gd name="T21" fmla="*/ 34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8" h="565">
                  <a:moveTo>
                    <a:pt x="0" y="342"/>
                  </a:moveTo>
                  <a:lnTo>
                    <a:pt x="8" y="297"/>
                  </a:lnTo>
                  <a:lnTo>
                    <a:pt x="16" y="254"/>
                  </a:lnTo>
                  <a:lnTo>
                    <a:pt x="27" y="211"/>
                  </a:lnTo>
                  <a:lnTo>
                    <a:pt x="40" y="168"/>
                  </a:lnTo>
                  <a:lnTo>
                    <a:pt x="53" y="125"/>
                  </a:lnTo>
                  <a:lnTo>
                    <a:pt x="67" y="83"/>
                  </a:lnTo>
                  <a:lnTo>
                    <a:pt x="83" y="41"/>
                  </a:lnTo>
                  <a:lnTo>
                    <a:pt x="101" y="0"/>
                  </a:lnTo>
                  <a:lnTo>
                    <a:pt x="1378" y="565"/>
                  </a:lnTo>
                  <a:lnTo>
                    <a:pt x="0" y="342"/>
                  </a:lnTo>
                </a:path>
              </a:pathLst>
            </a:custGeom>
            <a:solidFill>
              <a:schemeClr val="bg2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8" name="Freeform 97">
              <a:extLst>
                <a:ext uri="{FF2B5EF4-FFF2-40B4-BE49-F238E27FC236}">
                  <a16:creationId xmlns:a16="http://schemas.microsoft.com/office/drawing/2014/main" id="{6125038E-388E-469F-A0AA-28D087018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5683" y="3800129"/>
              <a:ext cx="1449436" cy="987671"/>
            </a:xfrm>
            <a:custGeom>
              <a:avLst/>
              <a:gdLst>
                <a:gd name="T0" fmla="*/ 0 w 1277"/>
                <a:gd name="T1" fmla="*/ 306 h 871"/>
                <a:gd name="T2" fmla="*/ 19 w 1277"/>
                <a:gd name="T3" fmla="*/ 264 h 871"/>
                <a:gd name="T4" fmla="*/ 38 w 1277"/>
                <a:gd name="T5" fmla="*/ 224 h 871"/>
                <a:gd name="T6" fmla="*/ 61 w 1277"/>
                <a:gd name="T7" fmla="*/ 186 h 871"/>
                <a:gd name="T8" fmla="*/ 83 w 1277"/>
                <a:gd name="T9" fmla="*/ 147 h 871"/>
                <a:gd name="T10" fmla="*/ 107 w 1277"/>
                <a:gd name="T11" fmla="*/ 109 h 871"/>
                <a:gd name="T12" fmla="*/ 131 w 1277"/>
                <a:gd name="T13" fmla="*/ 72 h 871"/>
                <a:gd name="T14" fmla="*/ 158 w 1277"/>
                <a:gd name="T15" fmla="*/ 35 h 871"/>
                <a:gd name="T16" fmla="*/ 185 w 1277"/>
                <a:gd name="T17" fmla="*/ 0 h 871"/>
                <a:gd name="T18" fmla="*/ 1277 w 1277"/>
                <a:gd name="T19" fmla="*/ 871 h 871"/>
                <a:gd name="T20" fmla="*/ 0 w 1277"/>
                <a:gd name="T21" fmla="*/ 306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7" h="871">
                  <a:moveTo>
                    <a:pt x="0" y="306"/>
                  </a:moveTo>
                  <a:lnTo>
                    <a:pt x="19" y="264"/>
                  </a:lnTo>
                  <a:lnTo>
                    <a:pt x="38" y="224"/>
                  </a:lnTo>
                  <a:lnTo>
                    <a:pt x="61" y="186"/>
                  </a:lnTo>
                  <a:lnTo>
                    <a:pt x="83" y="147"/>
                  </a:lnTo>
                  <a:lnTo>
                    <a:pt x="107" y="109"/>
                  </a:lnTo>
                  <a:lnTo>
                    <a:pt x="131" y="72"/>
                  </a:lnTo>
                  <a:lnTo>
                    <a:pt x="158" y="35"/>
                  </a:lnTo>
                  <a:lnTo>
                    <a:pt x="185" y="0"/>
                  </a:lnTo>
                  <a:lnTo>
                    <a:pt x="1277" y="871"/>
                  </a:lnTo>
                  <a:lnTo>
                    <a:pt x="0" y="306"/>
                  </a:lnTo>
                </a:path>
              </a:pathLst>
            </a:custGeom>
            <a:solidFill>
              <a:schemeClr val="accent6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79" name="Freeform 99">
              <a:extLst>
                <a:ext uri="{FF2B5EF4-FFF2-40B4-BE49-F238E27FC236}">
                  <a16:creationId xmlns:a16="http://schemas.microsoft.com/office/drawing/2014/main" id="{2C7C617B-102D-477D-9567-70C02555A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5240" y="3649279"/>
              <a:ext cx="1238292" cy="1138521"/>
            </a:xfrm>
            <a:custGeom>
              <a:avLst/>
              <a:gdLst>
                <a:gd name="T0" fmla="*/ 0 w 1092"/>
                <a:gd name="T1" fmla="*/ 133 h 1004"/>
                <a:gd name="T2" fmla="*/ 29 w 1092"/>
                <a:gd name="T3" fmla="*/ 98 h 1004"/>
                <a:gd name="T4" fmla="*/ 58 w 1092"/>
                <a:gd name="T5" fmla="*/ 64 h 1004"/>
                <a:gd name="T6" fmla="*/ 88 w 1092"/>
                <a:gd name="T7" fmla="*/ 32 h 1004"/>
                <a:gd name="T8" fmla="*/ 120 w 1092"/>
                <a:gd name="T9" fmla="*/ 0 h 1004"/>
                <a:gd name="T10" fmla="*/ 1092 w 1092"/>
                <a:gd name="T11" fmla="*/ 1004 h 1004"/>
                <a:gd name="T12" fmla="*/ 0 w 1092"/>
                <a:gd name="T13" fmla="*/ 133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2" h="1004">
                  <a:moveTo>
                    <a:pt x="0" y="133"/>
                  </a:moveTo>
                  <a:lnTo>
                    <a:pt x="29" y="98"/>
                  </a:lnTo>
                  <a:lnTo>
                    <a:pt x="58" y="64"/>
                  </a:lnTo>
                  <a:lnTo>
                    <a:pt x="88" y="32"/>
                  </a:lnTo>
                  <a:lnTo>
                    <a:pt x="120" y="0"/>
                  </a:lnTo>
                  <a:lnTo>
                    <a:pt x="1092" y="1004"/>
                  </a:lnTo>
                  <a:lnTo>
                    <a:pt x="0" y="133"/>
                  </a:lnTo>
                </a:path>
              </a:pathLst>
            </a:custGeom>
            <a:solidFill>
              <a:srgbClr val="C00000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0" name="Freeform 101">
              <a:extLst>
                <a:ext uri="{FF2B5EF4-FFF2-40B4-BE49-F238E27FC236}">
                  <a16:creationId xmlns:a16="http://schemas.microsoft.com/office/drawing/2014/main" id="{3FC8C42F-1BC5-450C-BD1E-891702127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1769" y="3519072"/>
              <a:ext cx="1101762" cy="1268728"/>
            </a:xfrm>
            <a:custGeom>
              <a:avLst/>
              <a:gdLst>
                <a:gd name="T0" fmla="*/ 0 w 972"/>
                <a:gd name="T1" fmla="*/ 115 h 1119"/>
                <a:gd name="T2" fmla="*/ 32 w 972"/>
                <a:gd name="T3" fmla="*/ 85 h 1119"/>
                <a:gd name="T4" fmla="*/ 66 w 972"/>
                <a:gd name="T5" fmla="*/ 56 h 1119"/>
                <a:gd name="T6" fmla="*/ 101 w 972"/>
                <a:gd name="T7" fmla="*/ 27 h 1119"/>
                <a:gd name="T8" fmla="*/ 136 w 972"/>
                <a:gd name="T9" fmla="*/ 0 h 1119"/>
                <a:gd name="T10" fmla="*/ 972 w 972"/>
                <a:gd name="T11" fmla="*/ 1119 h 1119"/>
                <a:gd name="T12" fmla="*/ 0 w 972"/>
                <a:gd name="T13" fmla="*/ 115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2" h="1119">
                  <a:moveTo>
                    <a:pt x="0" y="115"/>
                  </a:moveTo>
                  <a:lnTo>
                    <a:pt x="32" y="85"/>
                  </a:lnTo>
                  <a:lnTo>
                    <a:pt x="66" y="56"/>
                  </a:lnTo>
                  <a:lnTo>
                    <a:pt x="101" y="27"/>
                  </a:lnTo>
                  <a:lnTo>
                    <a:pt x="136" y="0"/>
                  </a:lnTo>
                  <a:lnTo>
                    <a:pt x="972" y="1119"/>
                  </a:lnTo>
                  <a:lnTo>
                    <a:pt x="0" y="115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1" name="Freeform 103">
              <a:extLst>
                <a:ext uri="{FF2B5EF4-FFF2-40B4-BE49-F238E27FC236}">
                  <a16:creationId xmlns:a16="http://schemas.microsoft.com/office/drawing/2014/main" id="{9E2D1989-DDE2-439E-B1F6-5D13CD657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5761" y="3407919"/>
              <a:ext cx="949357" cy="1379881"/>
            </a:xfrm>
            <a:custGeom>
              <a:avLst/>
              <a:gdLst>
                <a:gd name="T0" fmla="*/ 0 w 836"/>
                <a:gd name="T1" fmla="*/ 97 h 1216"/>
                <a:gd name="T2" fmla="*/ 37 w 836"/>
                <a:gd name="T3" fmla="*/ 70 h 1216"/>
                <a:gd name="T4" fmla="*/ 74 w 836"/>
                <a:gd name="T5" fmla="*/ 46 h 1216"/>
                <a:gd name="T6" fmla="*/ 112 w 836"/>
                <a:gd name="T7" fmla="*/ 22 h 1216"/>
                <a:gd name="T8" fmla="*/ 151 w 836"/>
                <a:gd name="T9" fmla="*/ 0 h 1216"/>
                <a:gd name="T10" fmla="*/ 836 w 836"/>
                <a:gd name="T11" fmla="*/ 1216 h 1216"/>
                <a:gd name="T12" fmla="*/ 0 w 836"/>
                <a:gd name="T13" fmla="*/ 97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6" h="1216">
                  <a:moveTo>
                    <a:pt x="0" y="97"/>
                  </a:moveTo>
                  <a:lnTo>
                    <a:pt x="37" y="70"/>
                  </a:lnTo>
                  <a:lnTo>
                    <a:pt x="74" y="46"/>
                  </a:lnTo>
                  <a:lnTo>
                    <a:pt x="112" y="22"/>
                  </a:lnTo>
                  <a:lnTo>
                    <a:pt x="151" y="0"/>
                  </a:lnTo>
                  <a:lnTo>
                    <a:pt x="836" y="1216"/>
                  </a:lnTo>
                  <a:lnTo>
                    <a:pt x="0" y="97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2" name="Freeform 105">
              <a:extLst>
                <a:ext uri="{FF2B5EF4-FFF2-40B4-BE49-F238E27FC236}">
                  <a16:creationId xmlns:a16="http://schemas.microsoft.com/office/drawing/2014/main" id="{1F922B81-DAEF-41A7-80F9-52344480B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7217" y="3318997"/>
              <a:ext cx="777901" cy="1468803"/>
            </a:xfrm>
            <a:custGeom>
              <a:avLst/>
              <a:gdLst>
                <a:gd name="T0" fmla="*/ 0 w 685"/>
                <a:gd name="T1" fmla="*/ 79 h 1295"/>
                <a:gd name="T2" fmla="*/ 38 w 685"/>
                <a:gd name="T3" fmla="*/ 56 h 1295"/>
                <a:gd name="T4" fmla="*/ 78 w 685"/>
                <a:gd name="T5" fmla="*/ 37 h 1295"/>
                <a:gd name="T6" fmla="*/ 120 w 685"/>
                <a:gd name="T7" fmla="*/ 18 h 1295"/>
                <a:gd name="T8" fmla="*/ 161 w 685"/>
                <a:gd name="T9" fmla="*/ 0 h 1295"/>
                <a:gd name="T10" fmla="*/ 685 w 685"/>
                <a:gd name="T11" fmla="*/ 1295 h 1295"/>
                <a:gd name="T12" fmla="*/ 0 w 685"/>
                <a:gd name="T13" fmla="*/ 79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5" h="1295">
                  <a:moveTo>
                    <a:pt x="0" y="79"/>
                  </a:moveTo>
                  <a:lnTo>
                    <a:pt x="38" y="56"/>
                  </a:lnTo>
                  <a:lnTo>
                    <a:pt x="78" y="37"/>
                  </a:lnTo>
                  <a:lnTo>
                    <a:pt x="120" y="18"/>
                  </a:lnTo>
                  <a:lnTo>
                    <a:pt x="161" y="0"/>
                  </a:lnTo>
                  <a:lnTo>
                    <a:pt x="685" y="1295"/>
                  </a:lnTo>
                  <a:lnTo>
                    <a:pt x="0" y="79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3" name="Freeform 107">
              <a:extLst>
                <a:ext uri="{FF2B5EF4-FFF2-40B4-BE49-F238E27FC236}">
                  <a16:creationId xmlns:a16="http://schemas.microsoft.com/office/drawing/2014/main" id="{869900E1-4556-48FC-81F6-1BAFF60F6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9786" y="3284063"/>
              <a:ext cx="593745" cy="1503737"/>
            </a:xfrm>
            <a:custGeom>
              <a:avLst/>
              <a:gdLst>
                <a:gd name="T0" fmla="*/ 0 w 524"/>
                <a:gd name="T1" fmla="*/ 30 h 1325"/>
                <a:gd name="T2" fmla="*/ 42 w 524"/>
                <a:gd name="T3" fmla="*/ 14 h 1325"/>
                <a:gd name="T4" fmla="*/ 84 w 524"/>
                <a:gd name="T5" fmla="*/ 0 h 1325"/>
                <a:gd name="T6" fmla="*/ 524 w 524"/>
                <a:gd name="T7" fmla="*/ 1325 h 1325"/>
                <a:gd name="T8" fmla="*/ 0 w 524"/>
                <a:gd name="T9" fmla="*/ 3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4" h="1325">
                  <a:moveTo>
                    <a:pt x="0" y="30"/>
                  </a:moveTo>
                  <a:lnTo>
                    <a:pt x="42" y="14"/>
                  </a:lnTo>
                  <a:lnTo>
                    <a:pt x="84" y="0"/>
                  </a:lnTo>
                  <a:lnTo>
                    <a:pt x="524" y="1325"/>
                  </a:lnTo>
                  <a:lnTo>
                    <a:pt x="0" y="30"/>
                  </a:ln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4" name="Freeform 109">
              <a:extLst>
                <a:ext uri="{FF2B5EF4-FFF2-40B4-BE49-F238E27FC236}">
                  <a16:creationId xmlns:a16="http://schemas.microsoft.com/office/drawing/2014/main" id="{C61CE491-0D8A-4230-BC5F-B1C95D269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5040" y="3255481"/>
              <a:ext cx="498492" cy="1532319"/>
            </a:xfrm>
            <a:custGeom>
              <a:avLst/>
              <a:gdLst>
                <a:gd name="T0" fmla="*/ 0 w 440"/>
                <a:gd name="T1" fmla="*/ 26 h 1351"/>
                <a:gd name="T2" fmla="*/ 43 w 440"/>
                <a:gd name="T3" fmla="*/ 13 h 1351"/>
                <a:gd name="T4" fmla="*/ 86 w 440"/>
                <a:gd name="T5" fmla="*/ 0 h 1351"/>
                <a:gd name="T6" fmla="*/ 440 w 440"/>
                <a:gd name="T7" fmla="*/ 1351 h 1351"/>
                <a:gd name="T8" fmla="*/ 0 w 440"/>
                <a:gd name="T9" fmla="*/ 26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351">
                  <a:moveTo>
                    <a:pt x="0" y="26"/>
                  </a:moveTo>
                  <a:lnTo>
                    <a:pt x="43" y="13"/>
                  </a:lnTo>
                  <a:lnTo>
                    <a:pt x="86" y="0"/>
                  </a:lnTo>
                  <a:lnTo>
                    <a:pt x="440" y="1351"/>
                  </a:lnTo>
                  <a:lnTo>
                    <a:pt x="0" y="26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5" name="Freeform 111">
              <a:extLst>
                <a:ext uri="{FF2B5EF4-FFF2-40B4-BE49-F238E27FC236}">
                  <a16:creationId xmlns:a16="http://schemas.microsoft.com/office/drawing/2014/main" id="{A011CF5F-3DD6-4162-AE79-5CD24D565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3468" y="3233251"/>
              <a:ext cx="401651" cy="1554549"/>
            </a:xfrm>
            <a:custGeom>
              <a:avLst/>
              <a:gdLst>
                <a:gd name="T0" fmla="*/ 0 w 354"/>
                <a:gd name="T1" fmla="*/ 19 h 1370"/>
                <a:gd name="T2" fmla="*/ 43 w 354"/>
                <a:gd name="T3" fmla="*/ 8 h 1370"/>
                <a:gd name="T4" fmla="*/ 86 w 354"/>
                <a:gd name="T5" fmla="*/ 0 h 1370"/>
                <a:gd name="T6" fmla="*/ 354 w 354"/>
                <a:gd name="T7" fmla="*/ 1370 h 1370"/>
                <a:gd name="T8" fmla="*/ 0 w 354"/>
                <a:gd name="T9" fmla="*/ 19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4" h="1370">
                  <a:moveTo>
                    <a:pt x="0" y="19"/>
                  </a:moveTo>
                  <a:lnTo>
                    <a:pt x="43" y="8"/>
                  </a:lnTo>
                  <a:lnTo>
                    <a:pt x="86" y="0"/>
                  </a:lnTo>
                  <a:lnTo>
                    <a:pt x="354" y="1370"/>
                  </a:lnTo>
                  <a:lnTo>
                    <a:pt x="0" y="1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6" name="Freeform 113">
              <a:extLst>
                <a:ext uri="{FF2B5EF4-FFF2-40B4-BE49-F238E27FC236}">
                  <a16:creationId xmlns:a16="http://schemas.microsoft.com/office/drawing/2014/main" id="{F260E635-94D9-4872-B0B9-ECC2D36CE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80308" y="3217372"/>
              <a:ext cx="304810" cy="1570428"/>
            </a:xfrm>
            <a:custGeom>
              <a:avLst/>
              <a:gdLst>
                <a:gd name="T0" fmla="*/ 0 w 268"/>
                <a:gd name="T1" fmla="*/ 14 h 1384"/>
                <a:gd name="T2" fmla="*/ 45 w 268"/>
                <a:gd name="T3" fmla="*/ 6 h 1384"/>
                <a:gd name="T4" fmla="*/ 88 w 268"/>
                <a:gd name="T5" fmla="*/ 0 h 1384"/>
                <a:gd name="T6" fmla="*/ 268 w 268"/>
                <a:gd name="T7" fmla="*/ 1384 h 1384"/>
                <a:gd name="T8" fmla="*/ 0 w 268"/>
                <a:gd name="T9" fmla="*/ 14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384">
                  <a:moveTo>
                    <a:pt x="0" y="14"/>
                  </a:moveTo>
                  <a:lnTo>
                    <a:pt x="45" y="6"/>
                  </a:lnTo>
                  <a:lnTo>
                    <a:pt x="88" y="0"/>
                  </a:lnTo>
                  <a:lnTo>
                    <a:pt x="268" y="1384"/>
                  </a:lnTo>
                  <a:lnTo>
                    <a:pt x="0" y="14"/>
                  </a:lnTo>
                </a:path>
              </a:pathLst>
            </a:custGeom>
            <a:solidFill>
              <a:srgbClr val="FF99CC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7" name="Freeform 115">
              <a:extLst>
                <a:ext uri="{FF2B5EF4-FFF2-40B4-BE49-F238E27FC236}">
                  <a16:creationId xmlns:a16="http://schemas.microsoft.com/office/drawing/2014/main" id="{834C2DD4-5C1E-4849-BE46-69ACEF9A4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80325" y="3206257"/>
              <a:ext cx="203207" cy="1581543"/>
            </a:xfrm>
            <a:custGeom>
              <a:avLst/>
              <a:gdLst>
                <a:gd name="T0" fmla="*/ 0 w 180"/>
                <a:gd name="T1" fmla="*/ 10 h 1394"/>
                <a:gd name="T2" fmla="*/ 45 w 180"/>
                <a:gd name="T3" fmla="*/ 3 h 1394"/>
                <a:gd name="T4" fmla="*/ 90 w 180"/>
                <a:gd name="T5" fmla="*/ 0 h 1394"/>
                <a:gd name="T6" fmla="*/ 180 w 180"/>
                <a:gd name="T7" fmla="*/ 1394 h 1394"/>
                <a:gd name="T8" fmla="*/ 0 w 180"/>
                <a:gd name="T9" fmla="*/ 10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394">
                  <a:moveTo>
                    <a:pt x="0" y="10"/>
                  </a:moveTo>
                  <a:lnTo>
                    <a:pt x="45" y="3"/>
                  </a:lnTo>
                  <a:lnTo>
                    <a:pt x="90" y="0"/>
                  </a:lnTo>
                  <a:lnTo>
                    <a:pt x="180" y="1394"/>
                  </a:lnTo>
                  <a:lnTo>
                    <a:pt x="0" y="10"/>
                  </a:lnTo>
                </a:path>
              </a:pathLst>
            </a:custGeom>
            <a:solidFill>
              <a:schemeClr val="bg1">
                <a:lumMod val="25000"/>
                <a:lumOff val="75000"/>
              </a:schemeClr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  <p:sp>
          <p:nvSpPr>
            <p:cNvPr id="88" name="Freeform 117">
              <a:extLst>
                <a:ext uri="{FF2B5EF4-FFF2-40B4-BE49-F238E27FC236}">
                  <a16:creationId xmlns:a16="http://schemas.microsoft.com/office/drawing/2014/main" id="{A8662BB2-FF87-4273-AC58-246C673D5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1928" y="3203081"/>
              <a:ext cx="103190" cy="1584719"/>
            </a:xfrm>
            <a:custGeom>
              <a:avLst/>
              <a:gdLst>
                <a:gd name="T0" fmla="*/ 0 w 90"/>
                <a:gd name="T1" fmla="*/ 3 h 1397"/>
                <a:gd name="T2" fmla="*/ 45 w 90"/>
                <a:gd name="T3" fmla="*/ 1 h 1397"/>
                <a:gd name="T4" fmla="*/ 90 w 90"/>
                <a:gd name="T5" fmla="*/ 0 h 1397"/>
                <a:gd name="T6" fmla="*/ 90 w 90"/>
                <a:gd name="T7" fmla="*/ 1397 h 1397"/>
                <a:gd name="T8" fmla="*/ 0 w 90"/>
                <a:gd name="T9" fmla="*/ 3 h 1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97">
                  <a:moveTo>
                    <a:pt x="0" y="3"/>
                  </a:moveTo>
                  <a:lnTo>
                    <a:pt x="45" y="1"/>
                  </a:lnTo>
                  <a:lnTo>
                    <a:pt x="90" y="0"/>
                  </a:lnTo>
                  <a:lnTo>
                    <a:pt x="90" y="1397"/>
                  </a:lnTo>
                  <a:lnTo>
                    <a:pt x="0" y="3"/>
                  </a:lnTo>
                </a:path>
              </a:pathLst>
            </a:custGeom>
            <a:solidFill>
              <a:srgbClr val="00CC99"/>
            </a:solidFill>
            <a:ln w="20638">
              <a:solidFill>
                <a:schemeClr val="bg2">
                  <a:lumMod val="1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charset="-128"/>
                <a:cs typeface="+mn-cs"/>
              </a:endParaRPr>
            </a:p>
          </p:txBody>
        </p:sp>
      </p:grpSp>
      <p:sp>
        <p:nvSpPr>
          <p:cNvPr id="89" name="TextBox 4">
            <a:extLst>
              <a:ext uri="{FF2B5EF4-FFF2-40B4-BE49-F238E27FC236}">
                <a16:creationId xmlns:a16="http://schemas.microsoft.com/office/drawing/2014/main" id="{3A473D4E-3D3C-4E07-9EDD-341B22671F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6210" y="1457377"/>
            <a:ext cx="53721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istribution of Presumed Pathogenic Germline Mutation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9E47C8D-CD81-45D8-B1A7-5181C883BF21}"/>
              </a:ext>
            </a:extLst>
          </p:cNvPr>
          <p:cNvSpPr txBox="1"/>
          <p:nvPr/>
        </p:nvSpPr>
        <p:spPr>
          <a:xfrm>
            <a:off x="6030913" y="4064000"/>
            <a:ext cx="1446212" cy="306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PALB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4%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F799C52-6FA3-4E3A-8E42-0CE8A9FCD75F}"/>
              </a:ext>
            </a:extLst>
          </p:cNvPr>
          <p:cNvSpPr txBox="1"/>
          <p:nvPr/>
        </p:nvSpPr>
        <p:spPr>
          <a:xfrm>
            <a:off x="6078538" y="3748088"/>
            <a:ext cx="1446212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RAD51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4%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5AA34B9-BCF9-4ABD-97C2-24DB3A8DD1FB}"/>
              </a:ext>
            </a:extLst>
          </p:cNvPr>
          <p:cNvSpPr txBox="1"/>
          <p:nvPr/>
        </p:nvSpPr>
        <p:spPr>
          <a:xfrm>
            <a:off x="6194425" y="3497263"/>
            <a:ext cx="1447800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AT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2%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D6B9984-8060-478F-A37B-C63D7F95AF1B}"/>
              </a:ext>
            </a:extLst>
          </p:cNvPr>
          <p:cNvSpPr txBox="1"/>
          <p:nvPr/>
        </p:nvSpPr>
        <p:spPr>
          <a:xfrm>
            <a:off x="6235700" y="3297238"/>
            <a:ext cx="1447800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NB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2%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548CD62-86C5-4FF7-A50C-0221C055DF5E}"/>
              </a:ext>
            </a:extLst>
          </p:cNvPr>
          <p:cNvSpPr txBox="1"/>
          <p:nvPr/>
        </p:nvSpPr>
        <p:spPr>
          <a:xfrm>
            <a:off x="6680200" y="3076575"/>
            <a:ext cx="1446213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PMS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2%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F0EEC41-37C5-4669-994E-5E93BFE17F0A}"/>
              </a:ext>
            </a:extLst>
          </p:cNvPr>
          <p:cNvSpPr txBox="1"/>
          <p:nvPr/>
        </p:nvSpPr>
        <p:spPr>
          <a:xfrm>
            <a:off x="6859588" y="2870200"/>
            <a:ext cx="1447800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GEN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2%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C7D99E1-FE23-4883-A941-56C50CB8E196}"/>
              </a:ext>
            </a:extLst>
          </p:cNvPr>
          <p:cNvSpPr txBox="1"/>
          <p:nvPr/>
        </p:nvSpPr>
        <p:spPr>
          <a:xfrm>
            <a:off x="7034213" y="2659063"/>
            <a:ext cx="1446212" cy="3079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MSH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DC6E1A6-9C4F-489C-8EC7-C9CBC91BCB3E}"/>
              </a:ext>
            </a:extLst>
          </p:cNvPr>
          <p:cNvSpPr txBox="1"/>
          <p:nvPr/>
        </p:nvSpPr>
        <p:spPr>
          <a:xfrm>
            <a:off x="7046913" y="2443163"/>
            <a:ext cx="1447800" cy="30638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MSH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1ABFB75-096E-4FF7-8B19-955FB9AB87D1}"/>
              </a:ext>
            </a:extLst>
          </p:cNvPr>
          <p:cNvSpPr txBox="1"/>
          <p:nvPr/>
        </p:nvSpPr>
        <p:spPr>
          <a:xfrm>
            <a:off x="7934325" y="2232025"/>
            <a:ext cx="1446213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RAD51C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8A79B4F-7DD3-4327-95CA-37C6CD8AF1C8}"/>
              </a:ext>
            </a:extLst>
          </p:cNvPr>
          <p:cNvSpPr txBox="1"/>
          <p:nvPr/>
        </p:nvSpPr>
        <p:spPr>
          <a:xfrm>
            <a:off x="9383713" y="2487613"/>
            <a:ext cx="1446212" cy="3079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MRE11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12D9701-BCF6-4666-8792-3E3ED8C4DC33}"/>
              </a:ext>
            </a:extLst>
          </p:cNvPr>
          <p:cNvSpPr txBox="1"/>
          <p:nvPr/>
        </p:nvSpPr>
        <p:spPr>
          <a:xfrm>
            <a:off x="9483725" y="2724150"/>
            <a:ext cx="1447800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BRIP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5EFA39C-1085-4985-AE03-8B551ACD6FEE}"/>
              </a:ext>
            </a:extLst>
          </p:cNvPr>
          <p:cNvSpPr txBox="1"/>
          <p:nvPr/>
        </p:nvSpPr>
        <p:spPr>
          <a:xfrm>
            <a:off x="9498013" y="2905125"/>
            <a:ext cx="1446212" cy="3079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FAM175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1%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272C5A9-6F74-4D7A-A937-B239A69B15FD}"/>
              </a:ext>
            </a:extLst>
          </p:cNvPr>
          <p:cNvSpPr txBox="1"/>
          <p:nvPr/>
        </p:nvSpPr>
        <p:spPr>
          <a:xfrm>
            <a:off x="9215438" y="4433888"/>
            <a:ext cx="1446212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BRCA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, 44%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035BC9A-AB17-428C-AFD5-3A5E7EE4E5BF}"/>
              </a:ext>
            </a:extLst>
          </p:cNvPr>
          <p:cNvSpPr txBox="1"/>
          <p:nvPr/>
        </p:nvSpPr>
        <p:spPr>
          <a:xfrm>
            <a:off x="8496300" y="5802313"/>
            <a:ext cx="1447800" cy="30797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1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ATM, 13%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02D8EFC-B8D6-4639-8C14-C0F3832EEA9C}"/>
              </a:ext>
            </a:extLst>
          </p:cNvPr>
          <p:cNvSpPr txBox="1"/>
          <p:nvPr/>
        </p:nvSpPr>
        <p:spPr>
          <a:xfrm>
            <a:off x="7494588" y="5119688"/>
            <a:ext cx="14478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CHEK2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12%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5CF0AA05-0A81-497B-ADFF-9419BF365C7A}"/>
              </a:ext>
            </a:extLst>
          </p:cNvPr>
          <p:cNvSpPr txBox="1"/>
          <p:nvPr/>
        </p:nvSpPr>
        <p:spPr>
          <a:xfrm>
            <a:off x="7281545" y="4587875"/>
            <a:ext cx="1446213" cy="30797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1">
                <a:latin typeface="Calibri" panose="020F0502020204030204" pitchFamily="34" charset="0"/>
                <a:ea typeface="ヒラギノ角ゴ Pro W3" charset="-12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+mn-cs"/>
              </a:rPr>
              <a:t>BRCA1, 7%</a:t>
            </a:r>
          </a:p>
        </p:txBody>
      </p:sp>
    </p:spTree>
    <p:extLst>
      <p:ext uri="{BB962C8B-B14F-4D97-AF65-F5344CB8AC3E}">
        <p14:creationId xmlns:p14="http://schemas.microsoft.com/office/powerpoint/2010/main" val="2680149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6FB6886-DD73-4A24-947E-C1B94D3F9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</p:spPr>
        <p:txBody>
          <a:bodyPr/>
          <a:lstStyle/>
          <a:p>
            <a:pPr eaLnBrk="1" hangingPunct="1"/>
            <a:r>
              <a:rPr lang="en-US" altLang="en-US" dirty="0">
                <a:ea typeface="ヒラギノ角ゴ Pro W3" pitchFamily="-65" charset="-128"/>
                <a:cs typeface="Arial" panose="020B0604020202020204" pitchFamily="34" charset="0"/>
              </a:rPr>
              <a:t>Higher Frequency of Mutated </a:t>
            </a:r>
            <a:r>
              <a:rPr lang="en-US" altLang="en-US" i="1" dirty="0">
                <a:ea typeface="ヒラギノ角ゴ Pro W3" pitchFamily="-65" charset="-128"/>
                <a:cs typeface="Arial" panose="020B0604020202020204" pitchFamily="34" charset="0"/>
              </a:rPr>
              <a:t>BRCA2</a:t>
            </a:r>
            <a:r>
              <a:rPr lang="en-US" altLang="en-US" dirty="0">
                <a:ea typeface="ヒラギノ角ゴ Pro W3" pitchFamily="-65" charset="-128"/>
                <a:cs typeface="Arial" panose="020B0604020202020204" pitchFamily="34" charset="0"/>
              </a:rPr>
              <a:t> and </a:t>
            </a:r>
            <a:r>
              <a:rPr lang="en-US" altLang="en-US" i="1" dirty="0">
                <a:ea typeface="ヒラギノ角ゴ Pro W3" pitchFamily="-65" charset="-128"/>
                <a:cs typeface="Arial" panose="020B0604020202020204" pitchFamily="34" charset="0"/>
              </a:rPr>
              <a:t>ATM </a:t>
            </a:r>
            <a:r>
              <a:rPr lang="en-US" altLang="en-US" dirty="0">
                <a:ea typeface="ヒラギノ角ゴ Pro W3" pitchFamily="-65" charset="-128"/>
                <a:cs typeface="Arial" panose="020B0604020202020204" pitchFamily="34" charset="0"/>
              </a:rPr>
              <a:t>in Metastatic Prostate Cancer</a:t>
            </a:r>
          </a:p>
        </p:txBody>
      </p:sp>
      <p:sp>
        <p:nvSpPr>
          <p:cNvPr id="9" name="Text Box 11">
            <a:extLst>
              <a:ext uri="{FF2B5EF4-FFF2-40B4-BE49-F238E27FC236}">
                <a16:creationId xmlns:a16="http://schemas.microsoft.com/office/drawing/2014/main" id="{78FB8ABC-33A5-4F1B-8227-345886EAF1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0" y="638573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+mn-cs"/>
              </a:rPr>
              <a:t>Armenia. Nat Genet. 2018;50:645.</a:t>
            </a:r>
          </a:p>
        </p:txBody>
      </p:sp>
      <p:grpSp>
        <p:nvGrpSpPr>
          <p:cNvPr id="10" name="Group 7">
            <a:extLst>
              <a:ext uri="{FF2B5EF4-FFF2-40B4-BE49-F238E27FC236}">
                <a16:creationId xmlns:a16="http://schemas.microsoft.com/office/drawing/2014/main" id="{E8056C51-33F3-4BB6-9A4F-7C9127DBE2F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A0185B25-9572-4129-B588-2F7FC185B2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BC40740D-79F5-4EB3-A568-C56E6611A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E5A1111C-9A98-410F-919E-282548E60EA9}"/>
              </a:ext>
            </a:extLst>
          </p:cNvPr>
          <p:cNvSpPr/>
          <p:nvPr/>
        </p:nvSpPr>
        <p:spPr bwMode="auto">
          <a:xfrm>
            <a:off x="3909559" y="5610341"/>
            <a:ext cx="91440" cy="91440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5FB888-3097-4267-9123-11D46288B32C}"/>
              </a:ext>
            </a:extLst>
          </p:cNvPr>
          <p:cNvSpPr txBox="1"/>
          <p:nvPr/>
        </p:nvSpPr>
        <p:spPr>
          <a:xfrm>
            <a:off x="3901395" y="5335784"/>
            <a:ext cx="53572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1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775E38-24DC-40BA-9B2D-45A9BD1A351A}"/>
              </a:ext>
            </a:extLst>
          </p:cNvPr>
          <p:cNvSpPr txBox="1"/>
          <p:nvPr/>
        </p:nvSpPr>
        <p:spPr>
          <a:xfrm>
            <a:off x="3319051" y="3146031"/>
            <a:ext cx="2563563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rimar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NA repair defects: 11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56B665-977C-4E58-B25B-2E9F3D6A3620}"/>
              </a:ext>
            </a:extLst>
          </p:cNvPr>
          <p:cNvSpPr txBox="1"/>
          <p:nvPr/>
        </p:nvSpPr>
        <p:spPr>
          <a:xfrm>
            <a:off x="5887113" y="3146031"/>
            <a:ext cx="2563563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etastas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NA repair defects: 21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0E1BC9-C952-4E58-A3B8-322134E8D6BE}"/>
              </a:ext>
            </a:extLst>
          </p:cNvPr>
          <p:cNvSpPr txBox="1"/>
          <p:nvPr/>
        </p:nvSpPr>
        <p:spPr>
          <a:xfrm>
            <a:off x="8924430" y="3905087"/>
            <a:ext cx="1510542" cy="5232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ignificanc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Fisher’s q-value)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D69C83B-5190-4646-8B1B-0F5AB32B170B}"/>
              </a:ext>
            </a:extLst>
          </p:cNvPr>
          <p:cNvGrpSpPr/>
          <p:nvPr/>
        </p:nvGrpSpPr>
        <p:grpSpPr>
          <a:xfrm>
            <a:off x="2623506" y="1472122"/>
            <a:ext cx="5500381" cy="4837191"/>
            <a:chOff x="4757084" y="1438128"/>
            <a:chExt cx="5500381" cy="4837191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417F6E23-FCB1-4D6C-87E4-4F1E1B4C6532}"/>
                </a:ext>
              </a:extLst>
            </p:cNvPr>
            <p:cNvSpPr txBox="1"/>
            <p:nvPr/>
          </p:nvSpPr>
          <p:spPr>
            <a:xfrm>
              <a:off x="5743080" y="1438128"/>
              <a:ext cx="4429596" cy="40011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omic Alteration Frequency</a:t>
              </a: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126AB30-80D0-42E1-8912-4312003D2F2A}"/>
                </a:ext>
              </a:extLst>
            </p:cNvPr>
            <p:cNvSpPr/>
            <p:nvPr/>
          </p:nvSpPr>
          <p:spPr bwMode="auto">
            <a:xfrm>
              <a:off x="5368427" y="1788568"/>
              <a:ext cx="4709839" cy="3952086"/>
            </a:xfrm>
            <a:custGeom>
              <a:avLst/>
              <a:gdLst>
                <a:gd name="connsiteX0" fmla="*/ 43542 w 4676502"/>
                <a:gd name="connsiteY0" fmla="*/ 0 h 4336868"/>
                <a:gd name="connsiteX1" fmla="*/ 43542 w 4676502"/>
                <a:gd name="connsiteY1" fmla="*/ 731520 h 4336868"/>
                <a:gd name="connsiteX2" fmla="*/ 0 w 4676502"/>
                <a:gd name="connsiteY2" fmla="*/ 775062 h 4336868"/>
                <a:gd name="connsiteX3" fmla="*/ 52251 w 4676502"/>
                <a:gd name="connsiteY3" fmla="*/ 827313 h 4336868"/>
                <a:gd name="connsiteX4" fmla="*/ 52251 w 4676502"/>
                <a:gd name="connsiteY4" fmla="*/ 4328160 h 4336868"/>
                <a:gd name="connsiteX5" fmla="*/ 3831771 w 4676502"/>
                <a:gd name="connsiteY5" fmla="*/ 4328160 h 4336868"/>
                <a:gd name="connsiteX6" fmla="*/ 3875314 w 4676502"/>
                <a:gd name="connsiteY6" fmla="*/ 4284617 h 4336868"/>
                <a:gd name="connsiteX7" fmla="*/ 3927565 w 4676502"/>
                <a:gd name="connsiteY7" fmla="*/ 4336868 h 4336868"/>
                <a:gd name="connsiteX8" fmla="*/ 4676502 w 4676502"/>
                <a:gd name="connsiteY8" fmla="*/ 4336868 h 4336868"/>
                <a:gd name="connsiteX0" fmla="*/ 43542 w 4676502"/>
                <a:gd name="connsiteY0" fmla="*/ 0 h 4336868"/>
                <a:gd name="connsiteX1" fmla="*/ 43542 w 4676502"/>
                <a:gd name="connsiteY1" fmla="*/ 731520 h 4336868"/>
                <a:gd name="connsiteX2" fmla="*/ 0 w 4676502"/>
                <a:gd name="connsiteY2" fmla="*/ 775062 h 4336868"/>
                <a:gd name="connsiteX3" fmla="*/ 52251 w 4676502"/>
                <a:gd name="connsiteY3" fmla="*/ 827313 h 4336868"/>
                <a:gd name="connsiteX4" fmla="*/ 52251 w 4676502"/>
                <a:gd name="connsiteY4" fmla="*/ 4328160 h 4336868"/>
                <a:gd name="connsiteX5" fmla="*/ 3831771 w 4676502"/>
                <a:gd name="connsiteY5" fmla="*/ 4328160 h 4336868"/>
                <a:gd name="connsiteX6" fmla="*/ 3875314 w 4676502"/>
                <a:gd name="connsiteY6" fmla="*/ 4284617 h 4336868"/>
                <a:gd name="connsiteX7" fmla="*/ 3903752 w 4676502"/>
                <a:gd name="connsiteY7" fmla="*/ 4329043 h 4336868"/>
                <a:gd name="connsiteX8" fmla="*/ 4676502 w 4676502"/>
                <a:gd name="connsiteY8" fmla="*/ 4336868 h 4336868"/>
                <a:gd name="connsiteX0" fmla="*/ 43542 w 4705077"/>
                <a:gd name="connsiteY0" fmla="*/ 0 h 4329043"/>
                <a:gd name="connsiteX1" fmla="*/ 43542 w 4705077"/>
                <a:gd name="connsiteY1" fmla="*/ 731520 h 4329043"/>
                <a:gd name="connsiteX2" fmla="*/ 0 w 4705077"/>
                <a:gd name="connsiteY2" fmla="*/ 775062 h 4329043"/>
                <a:gd name="connsiteX3" fmla="*/ 52251 w 4705077"/>
                <a:gd name="connsiteY3" fmla="*/ 827313 h 4329043"/>
                <a:gd name="connsiteX4" fmla="*/ 52251 w 4705077"/>
                <a:gd name="connsiteY4" fmla="*/ 4328160 h 4329043"/>
                <a:gd name="connsiteX5" fmla="*/ 3831771 w 4705077"/>
                <a:gd name="connsiteY5" fmla="*/ 4328160 h 4329043"/>
                <a:gd name="connsiteX6" fmla="*/ 3875314 w 4705077"/>
                <a:gd name="connsiteY6" fmla="*/ 4284617 h 4329043"/>
                <a:gd name="connsiteX7" fmla="*/ 3903752 w 4705077"/>
                <a:gd name="connsiteY7" fmla="*/ 4329043 h 4329043"/>
                <a:gd name="connsiteX8" fmla="*/ 4705077 w 4705077"/>
                <a:gd name="connsiteY8" fmla="*/ 4321217 h 4329043"/>
                <a:gd name="connsiteX0" fmla="*/ 43542 w 4705077"/>
                <a:gd name="connsiteY0" fmla="*/ 0 h 4329043"/>
                <a:gd name="connsiteX1" fmla="*/ 43542 w 4705077"/>
                <a:gd name="connsiteY1" fmla="*/ 731520 h 4329043"/>
                <a:gd name="connsiteX2" fmla="*/ 0 w 4705077"/>
                <a:gd name="connsiteY2" fmla="*/ 775062 h 4329043"/>
                <a:gd name="connsiteX3" fmla="*/ 52251 w 4705077"/>
                <a:gd name="connsiteY3" fmla="*/ 827313 h 4329043"/>
                <a:gd name="connsiteX4" fmla="*/ 52251 w 4705077"/>
                <a:gd name="connsiteY4" fmla="*/ 4328160 h 4329043"/>
                <a:gd name="connsiteX5" fmla="*/ 3831771 w 4705077"/>
                <a:gd name="connsiteY5" fmla="*/ 4328160 h 4329043"/>
                <a:gd name="connsiteX6" fmla="*/ 3875314 w 4705077"/>
                <a:gd name="connsiteY6" fmla="*/ 4284617 h 4329043"/>
                <a:gd name="connsiteX7" fmla="*/ 3903752 w 4705077"/>
                <a:gd name="connsiteY7" fmla="*/ 4329043 h 4329043"/>
                <a:gd name="connsiteX8" fmla="*/ 4705077 w 4705077"/>
                <a:gd name="connsiteY8" fmla="*/ 4323827 h 4329043"/>
                <a:gd name="connsiteX0" fmla="*/ 43542 w 4705077"/>
                <a:gd name="connsiteY0" fmla="*/ 0 h 4329043"/>
                <a:gd name="connsiteX1" fmla="*/ 43542 w 4705077"/>
                <a:gd name="connsiteY1" fmla="*/ 731520 h 4329043"/>
                <a:gd name="connsiteX2" fmla="*/ 0 w 4705077"/>
                <a:gd name="connsiteY2" fmla="*/ 775062 h 4329043"/>
                <a:gd name="connsiteX3" fmla="*/ 52251 w 4705077"/>
                <a:gd name="connsiteY3" fmla="*/ 827313 h 4329043"/>
                <a:gd name="connsiteX4" fmla="*/ 52251 w 4705077"/>
                <a:gd name="connsiteY4" fmla="*/ 4328160 h 4329043"/>
                <a:gd name="connsiteX5" fmla="*/ 3831771 w 4705077"/>
                <a:gd name="connsiteY5" fmla="*/ 4328160 h 4329043"/>
                <a:gd name="connsiteX6" fmla="*/ 3875314 w 4705077"/>
                <a:gd name="connsiteY6" fmla="*/ 4284617 h 4329043"/>
                <a:gd name="connsiteX7" fmla="*/ 3903752 w 4705077"/>
                <a:gd name="connsiteY7" fmla="*/ 4329043 h 4329043"/>
                <a:gd name="connsiteX8" fmla="*/ 4705077 w 4705077"/>
                <a:gd name="connsiteY8" fmla="*/ 4323827 h 4329043"/>
                <a:gd name="connsiteX0" fmla="*/ 43542 w 4705077"/>
                <a:gd name="connsiteY0" fmla="*/ 0 h 4329043"/>
                <a:gd name="connsiteX1" fmla="*/ 43542 w 4705077"/>
                <a:gd name="connsiteY1" fmla="*/ 731520 h 4329043"/>
                <a:gd name="connsiteX2" fmla="*/ 0 w 4705077"/>
                <a:gd name="connsiteY2" fmla="*/ 775062 h 4329043"/>
                <a:gd name="connsiteX3" fmla="*/ 52251 w 4705077"/>
                <a:gd name="connsiteY3" fmla="*/ 827313 h 4329043"/>
                <a:gd name="connsiteX4" fmla="*/ 52251 w 4705077"/>
                <a:gd name="connsiteY4" fmla="*/ 4328160 h 4329043"/>
                <a:gd name="connsiteX5" fmla="*/ 3831771 w 4705077"/>
                <a:gd name="connsiteY5" fmla="*/ 4328160 h 4329043"/>
                <a:gd name="connsiteX6" fmla="*/ 3870551 w 4705077"/>
                <a:gd name="connsiteY6" fmla="*/ 4276793 h 4329043"/>
                <a:gd name="connsiteX7" fmla="*/ 3903752 w 4705077"/>
                <a:gd name="connsiteY7" fmla="*/ 4329043 h 4329043"/>
                <a:gd name="connsiteX8" fmla="*/ 4705077 w 4705077"/>
                <a:gd name="connsiteY8" fmla="*/ 4323827 h 4329043"/>
                <a:gd name="connsiteX0" fmla="*/ 48304 w 4709839"/>
                <a:gd name="connsiteY0" fmla="*/ 0 h 4329043"/>
                <a:gd name="connsiteX1" fmla="*/ 48304 w 4709839"/>
                <a:gd name="connsiteY1" fmla="*/ 731520 h 4329043"/>
                <a:gd name="connsiteX2" fmla="*/ 0 w 4709839"/>
                <a:gd name="connsiteY2" fmla="*/ 780280 h 4329043"/>
                <a:gd name="connsiteX3" fmla="*/ 57013 w 4709839"/>
                <a:gd name="connsiteY3" fmla="*/ 827313 h 4329043"/>
                <a:gd name="connsiteX4" fmla="*/ 57013 w 4709839"/>
                <a:gd name="connsiteY4" fmla="*/ 4328160 h 4329043"/>
                <a:gd name="connsiteX5" fmla="*/ 3836533 w 4709839"/>
                <a:gd name="connsiteY5" fmla="*/ 4328160 h 4329043"/>
                <a:gd name="connsiteX6" fmla="*/ 3875313 w 4709839"/>
                <a:gd name="connsiteY6" fmla="*/ 4276793 h 4329043"/>
                <a:gd name="connsiteX7" fmla="*/ 3908514 w 4709839"/>
                <a:gd name="connsiteY7" fmla="*/ 4329043 h 4329043"/>
                <a:gd name="connsiteX8" fmla="*/ 4709839 w 4709839"/>
                <a:gd name="connsiteY8" fmla="*/ 4323827 h 432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09839" h="4329043">
                  <a:moveTo>
                    <a:pt x="48304" y="0"/>
                  </a:moveTo>
                  <a:lnTo>
                    <a:pt x="48304" y="731520"/>
                  </a:lnTo>
                  <a:lnTo>
                    <a:pt x="0" y="780280"/>
                  </a:lnTo>
                  <a:lnTo>
                    <a:pt x="57013" y="827313"/>
                  </a:lnTo>
                  <a:lnTo>
                    <a:pt x="57013" y="4328160"/>
                  </a:lnTo>
                  <a:lnTo>
                    <a:pt x="3836533" y="4328160"/>
                  </a:lnTo>
                  <a:lnTo>
                    <a:pt x="3875313" y="4276793"/>
                  </a:lnTo>
                  <a:lnTo>
                    <a:pt x="3908514" y="4329043"/>
                  </a:lnTo>
                  <a:lnTo>
                    <a:pt x="4709839" y="4323827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C1E3375D-1F96-458D-A38D-0A867B73ADB4}"/>
                </a:ext>
              </a:extLst>
            </p:cNvPr>
            <p:cNvSpPr txBox="1"/>
            <p:nvPr/>
          </p:nvSpPr>
          <p:spPr>
            <a:xfrm rot="16200000">
              <a:off x="2950721" y="3594930"/>
              <a:ext cx="3951280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tered Primary Samples (%)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A6F0786D-2294-43D2-B6A0-B370D438E69E}"/>
                </a:ext>
              </a:extLst>
            </p:cNvPr>
            <p:cNvSpPr txBox="1"/>
            <p:nvPr/>
          </p:nvSpPr>
          <p:spPr>
            <a:xfrm>
              <a:off x="5425440" y="5936765"/>
              <a:ext cx="4652826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tered Metastatic Samples (%)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DC7F7B9A-D73F-46AF-B96B-4ABC32B205B2}"/>
                </a:ext>
              </a:extLst>
            </p:cNvPr>
            <p:cNvCxnSpPr>
              <a:stCxn id="113" idx="4"/>
            </p:cNvCxnSpPr>
            <p:nvPr/>
          </p:nvCxnSpPr>
          <p:spPr bwMode="auto">
            <a:xfrm flipV="1">
              <a:off x="5425440" y="2617340"/>
              <a:ext cx="3692434" cy="31225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BDB87224-2E4D-4C57-BE8B-5FF0F5FD3603}"/>
                </a:ext>
              </a:extLst>
            </p:cNvPr>
            <p:cNvGrpSpPr/>
            <p:nvPr/>
          </p:nvGrpSpPr>
          <p:grpSpPr>
            <a:xfrm>
              <a:off x="5040337" y="1679928"/>
              <a:ext cx="412292" cy="4062225"/>
              <a:chOff x="5040337" y="1535627"/>
              <a:chExt cx="412292" cy="4449686"/>
            </a:xfrm>
          </p:grpSpPr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FC7E17CF-4D8C-4198-9775-B195BD0C7414}"/>
                  </a:ext>
                </a:extLst>
              </p:cNvPr>
              <p:cNvSpPr txBox="1"/>
              <p:nvPr/>
            </p:nvSpPr>
            <p:spPr>
              <a:xfrm>
                <a:off x="5040337" y="1535627"/>
                <a:ext cx="412292" cy="370846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3068E36-820E-4913-9FC2-443BB5FD0036}"/>
                  </a:ext>
                </a:extLst>
              </p:cNvPr>
              <p:cNvSpPr txBox="1"/>
              <p:nvPr/>
            </p:nvSpPr>
            <p:spPr>
              <a:xfrm>
                <a:off x="5040337" y="2844492"/>
                <a:ext cx="412292" cy="370846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845A1E0D-D458-4C9C-9EE9-E2B0914EFF0B}"/>
                  </a:ext>
                </a:extLst>
              </p:cNvPr>
              <p:cNvSpPr txBox="1"/>
              <p:nvPr/>
            </p:nvSpPr>
            <p:spPr>
              <a:xfrm>
                <a:off x="5154150" y="4224182"/>
                <a:ext cx="298479" cy="370846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</a:t>
                </a: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3A3581EB-62E8-442E-96C7-298CAC9D3665}"/>
                  </a:ext>
                </a:extLst>
              </p:cNvPr>
              <p:cNvSpPr txBox="1"/>
              <p:nvPr/>
            </p:nvSpPr>
            <p:spPr>
              <a:xfrm>
                <a:off x="5040337" y="2087337"/>
                <a:ext cx="412292" cy="370846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0EAFC42-6A5C-4764-85D9-DD675DD0109D}"/>
                  </a:ext>
                </a:extLst>
              </p:cNvPr>
              <p:cNvSpPr txBox="1"/>
              <p:nvPr/>
            </p:nvSpPr>
            <p:spPr>
              <a:xfrm>
                <a:off x="5154150" y="5614467"/>
                <a:ext cx="298479" cy="370846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</p:grp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BF513B9-050E-4CE5-9902-D45206C362BA}"/>
                </a:ext>
              </a:extLst>
            </p:cNvPr>
            <p:cNvSpPr txBox="1"/>
            <p:nvPr/>
          </p:nvSpPr>
          <p:spPr>
            <a:xfrm>
              <a:off x="5444600" y="5720437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ABCEBE9-F065-472B-BA16-4E2C8F52A90A}"/>
                </a:ext>
              </a:extLst>
            </p:cNvPr>
            <p:cNvSpPr txBox="1"/>
            <p:nvPr/>
          </p:nvSpPr>
          <p:spPr>
            <a:xfrm>
              <a:off x="6951428" y="5720437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3CBF368-4386-4000-9B0E-0F0A51121A6D}"/>
                </a:ext>
              </a:extLst>
            </p:cNvPr>
            <p:cNvSpPr txBox="1"/>
            <p:nvPr/>
          </p:nvSpPr>
          <p:spPr>
            <a:xfrm>
              <a:off x="8424529" y="5720437"/>
              <a:ext cx="412293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B035D182-2DF2-49C2-860A-3554271D2DBA}"/>
                </a:ext>
              </a:extLst>
            </p:cNvPr>
            <p:cNvSpPr txBox="1"/>
            <p:nvPr/>
          </p:nvSpPr>
          <p:spPr>
            <a:xfrm>
              <a:off x="9242941" y="5720437"/>
              <a:ext cx="412293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0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D2BC631-E82F-4D36-A373-6FF155E215FA}"/>
                </a:ext>
              </a:extLst>
            </p:cNvPr>
            <p:cNvSpPr txBox="1"/>
            <p:nvPr/>
          </p:nvSpPr>
          <p:spPr>
            <a:xfrm>
              <a:off x="9845172" y="5720437"/>
              <a:ext cx="412293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0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DE5ED24-409A-487A-AEE5-A006FD938E51}"/>
              </a:ext>
            </a:extLst>
          </p:cNvPr>
          <p:cNvGrpSpPr/>
          <p:nvPr/>
        </p:nvGrpSpPr>
        <p:grpSpPr>
          <a:xfrm>
            <a:off x="8738951" y="3200148"/>
            <a:ext cx="1972598" cy="602372"/>
            <a:chOff x="5573816" y="1924830"/>
            <a:chExt cx="1972598" cy="602372"/>
          </a:xfrm>
        </p:grpSpPr>
        <p:sp>
          <p:nvSpPr>
            <p:cNvPr id="108" name="Oval 37">
              <a:extLst>
                <a:ext uri="{FF2B5EF4-FFF2-40B4-BE49-F238E27FC236}">
                  <a16:creationId xmlns:a16="http://schemas.microsoft.com/office/drawing/2014/main" id="{EECEB455-4E53-412F-8239-6F74917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3816" y="1985167"/>
              <a:ext cx="146050" cy="14605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9" name="Rectangle 38">
              <a:extLst>
                <a:ext uri="{FF2B5EF4-FFF2-40B4-BE49-F238E27FC236}">
                  <a16:creationId xmlns:a16="http://schemas.microsoft.com/office/drawing/2014/main" id="{1528DEFD-17B5-45B1-BC25-BD863F5CC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331" y="1924830"/>
              <a:ext cx="1752083" cy="581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mplification/muta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Homdel/muta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Mutation</a:t>
              </a:r>
            </a:p>
          </p:txBody>
        </p:sp>
        <p:sp>
          <p:nvSpPr>
            <p:cNvPr id="110" name="Oval 37">
              <a:extLst>
                <a:ext uri="{FF2B5EF4-FFF2-40B4-BE49-F238E27FC236}">
                  <a16:creationId xmlns:a16="http://schemas.microsoft.com/office/drawing/2014/main" id="{7BFAB15A-D2A8-4516-B1B9-28268DE55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3816" y="2183160"/>
              <a:ext cx="146050" cy="14605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1" name="Oval 37">
              <a:extLst>
                <a:ext uri="{FF2B5EF4-FFF2-40B4-BE49-F238E27FC236}">
                  <a16:creationId xmlns:a16="http://schemas.microsoft.com/office/drawing/2014/main" id="{9EB7F42D-C03D-4B2C-98A7-39E3B673B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3816" y="2381152"/>
              <a:ext cx="146050" cy="14605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7066C6B-8865-4C0B-9D43-67B7A9FF9BA6}"/>
              </a:ext>
            </a:extLst>
          </p:cNvPr>
          <p:cNvGrpSpPr/>
          <p:nvPr/>
        </p:nvGrpSpPr>
        <p:grpSpPr>
          <a:xfrm>
            <a:off x="9457779" y="4430054"/>
            <a:ext cx="392199" cy="130452"/>
            <a:chOff x="6096000" y="2447049"/>
            <a:chExt cx="392199" cy="130452"/>
          </a:xfrm>
        </p:grpSpPr>
        <p:sp>
          <p:nvSpPr>
            <p:cNvPr id="105" name="Oval 37">
              <a:extLst>
                <a:ext uri="{FF2B5EF4-FFF2-40B4-BE49-F238E27FC236}">
                  <a16:creationId xmlns:a16="http://schemas.microsoft.com/office/drawing/2014/main" id="{88EBCF4A-1480-4C7B-AA3E-2EF28E204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7747" y="2447049"/>
              <a:ext cx="130452" cy="13045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Oval 37">
              <a:extLst>
                <a:ext uri="{FF2B5EF4-FFF2-40B4-BE49-F238E27FC236}">
                  <a16:creationId xmlns:a16="http://schemas.microsoft.com/office/drawing/2014/main" id="{1DD90784-F707-4614-991B-5A4703A68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901" y="2459809"/>
              <a:ext cx="104933" cy="104933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Oval 37">
              <a:extLst>
                <a:ext uri="{FF2B5EF4-FFF2-40B4-BE49-F238E27FC236}">
                  <a16:creationId xmlns:a16="http://schemas.microsoft.com/office/drawing/2014/main" id="{67F140E7-CC34-4878-A2DA-91A303A83E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2475832"/>
              <a:ext cx="72886" cy="72886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9E96522D-E380-424D-A56E-1EB4443E8049}"/>
              </a:ext>
            </a:extLst>
          </p:cNvPr>
          <p:cNvSpPr/>
          <p:nvPr/>
        </p:nvSpPr>
        <p:spPr bwMode="auto">
          <a:xfrm>
            <a:off x="7205685" y="2620721"/>
            <a:ext cx="204537" cy="2045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C8EAE62-78C7-4276-B620-AD14B2F5CE61}"/>
              </a:ext>
            </a:extLst>
          </p:cNvPr>
          <p:cNvSpPr/>
          <p:nvPr/>
        </p:nvSpPr>
        <p:spPr bwMode="auto">
          <a:xfrm>
            <a:off x="7507057" y="2833833"/>
            <a:ext cx="204537" cy="2045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8BFB93B-74DD-4FB9-A2B5-7E058242BCEA}"/>
              </a:ext>
            </a:extLst>
          </p:cNvPr>
          <p:cNvSpPr/>
          <p:nvPr/>
        </p:nvSpPr>
        <p:spPr bwMode="auto">
          <a:xfrm>
            <a:off x="6685963" y="4846869"/>
            <a:ext cx="174693" cy="1746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4FB25C4-39B3-4287-BB13-2A827352F17E}"/>
              </a:ext>
            </a:extLst>
          </p:cNvPr>
          <p:cNvSpPr/>
          <p:nvPr/>
        </p:nvSpPr>
        <p:spPr bwMode="auto">
          <a:xfrm>
            <a:off x="6701059" y="4669539"/>
            <a:ext cx="157412" cy="157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744409B6-CB9B-45E5-9B92-67006BF2D10F}"/>
              </a:ext>
            </a:extLst>
          </p:cNvPr>
          <p:cNvSpPr/>
          <p:nvPr/>
        </p:nvSpPr>
        <p:spPr bwMode="auto">
          <a:xfrm>
            <a:off x="3954148" y="4337645"/>
            <a:ext cx="89434" cy="894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C4270CC-8319-48A7-B89C-7661A448DD41}"/>
              </a:ext>
            </a:extLst>
          </p:cNvPr>
          <p:cNvSpPr/>
          <p:nvPr/>
        </p:nvSpPr>
        <p:spPr bwMode="auto">
          <a:xfrm>
            <a:off x="7546553" y="5233100"/>
            <a:ext cx="226331" cy="2263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53DF4F9-9AC2-4E11-A337-4C18BA3A85B0}"/>
              </a:ext>
            </a:extLst>
          </p:cNvPr>
          <p:cNvSpPr/>
          <p:nvPr/>
        </p:nvSpPr>
        <p:spPr bwMode="auto">
          <a:xfrm>
            <a:off x="6436320" y="4479166"/>
            <a:ext cx="127208" cy="12720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BD25E69-1A1F-4E30-8B2A-A4D608E5B3E4}"/>
              </a:ext>
            </a:extLst>
          </p:cNvPr>
          <p:cNvSpPr/>
          <p:nvPr/>
        </p:nvSpPr>
        <p:spPr bwMode="auto">
          <a:xfrm>
            <a:off x="5554671" y="4934215"/>
            <a:ext cx="127208" cy="12720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7F7F82-DCC6-4C4C-9108-F7E43B10F8F7}"/>
              </a:ext>
            </a:extLst>
          </p:cNvPr>
          <p:cNvSpPr/>
          <p:nvPr/>
        </p:nvSpPr>
        <p:spPr bwMode="auto">
          <a:xfrm>
            <a:off x="6806354" y="4048198"/>
            <a:ext cx="104233" cy="1042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C7103FD-3A13-479B-A92C-826944774078}"/>
              </a:ext>
            </a:extLst>
          </p:cNvPr>
          <p:cNvSpPr/>
          <p:nvPr/>
        </p:nvSpPr>
        <p:spPr bwMode="auto">
          <a:xfrm>
            <a:off x="6711528" y="4215845"/>
            <a:ext cx="104233" cy="1042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60F85E5-890E-494B-8879-BE01E1C106A0}"/>
              </a:ext>
            </a:extLst>
          </p:cNvPr>
          <p:cNvSpPr/>
          <p:nvPr/>
        </p:nvSpPr>
        <p:spPr bwMode="auto">
          <a:xfrm>
            <a:off x="6607479" y="4502243"/>
            <a:ext cx="127208" cy="1272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BBF43B2-9ABB-41D3-8C89-B58E27C6E370}"/>
              </a:ext>
            </a:extLst>
          </p:cNvPr>
          <p:cNvSpPr/>
          <p:nvPr/>
        </p:nvSpPr>
        <p:spPr bwMode="auto">
          <a:xfrm>
            <a:off x="5821946" y="4565847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7FE98F1-2097-4392-9B18-B7E969C80F12}"/>
              </a:ext>
            </a:extLst>
          </p:cNvPr>
          <p:cNvSpPr/>
          <p:nvPr/>
        </p:nvSpPr>
        <p:spPr bwMode="auto">
          <a:xfrm>
            <a:off x="6094428" y="4870611"/>
            <a:ext cx="127208" cy="1272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A663940-A7B0-44A5-8B56-41813E0CF0C5}"/>
              </a:ext>
            </a:extLst>
          </p:cNvPr>
          <p:cNvSpPr/>
          <p:nvPr/>
        </p:nvSpPr>
        <p:spPr bwMode="auto">
          <a:xfrm>
            <a:off x="5116330" y="5015534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C880506-BF3C-425C-A57C-A507F52B2A6B}"/>
              </a:ext>
            </a:extLst>
          </p:cNvPr>
          <p:cNvSpPr/>
          <p:nvPr/>
        </p:nvSpPr>
        <p:spPr bwMode="auto">
          <a:xfrm>
            <a:off x="4934129" y="5101451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94B0A91-839C-48B3-8DCE-2118E9BE2D6E}"/>
              </a:ext>
            </a:extLst>
          </p:cNvPr>
          <p:cNvSpPr/>
          <p:nvPr/>
        </p:nvSpPr>
        <p:spPr bwMode="auto">
          <a:xfrm>
            <a:off x="4359420" y="5364415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A1C5F16-8518-4456-BFEC-2E4D071A1853}"/>
              </a:ext>
            </a:extLst>
          </p:cNvPr>
          <p:cNvSpPr/>
          <p:nvPr/>
        </p:nvSpPr>
        <p:spPr bwMode="auto">
          <a:xfrm>
            <a:off x="4354621" y="5490504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B27CCCF-7FEB-4801-9B59-767103800CCB}"/>
              </a:ext>
            </a:extLst>
          </p:cNvPr>
          <p:cNvSpPr/>
          <p:nvPr/>
        </p:nvSpPr>
        <p:spPr bwMode="auto">
          <a:xfrm>
            <a:off x="4488575" y="5318608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B6B3BD9-8E70-4BCA-811F-6A57DF184645}"/>
              </a:ext>
            </a:extLst>
          </p:cNvPr>
          <p:cNvSpPr/>
          <p:nvPr/>
        </p:nvSpPr>
        <p:spPr bwMode="auto">
          <a:xfrm>
            <a:off x="4934129" y="5175453"/>
            <a:ext cx="109728" cy="1097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7BB88C4-EA7C-4C79-BEEE-772F08A3E17B}"/>
              </a:ext>
            </a:extLst>
          </p:cNvPr>
          <p:cNvSpPr/>
          <p:nvPr/>
        </p:nvSpPr>
        <p:spPr bwMode="auto">
          <a:xfrm>
            <a:off x="4871566" y="5385905"/>
            <a:ext cx="109728" cy="1097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624CFFD-7EC9-4D77-BCE6-C2A9991CB5B2}"/>
              </a:ext>
            </a:extLst>
          </p:cNvPr>
          <p:cNvSpPr/>
          <p:nvPr/>
        </p:nvSpPr>
        <p:spPr bwMode="auto">
          <a:xfrm>
            <a:off x="4736735" y="5395566"/>
            <a:ext cx="128016" cy="1280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9DC3ADB-EFA0-4310-9C1E-F53B229DCA72}"/>
              </a:ext>
            </a:extLst>
          </p:cNvPr>
          <p:cNvSpPr/>
          <p:nvPr/>
        </p:nvSpPr>
        <p:spPr bwMode="auto">
          <a:xfrm>
            <a:off x="4332074" y="5566679"/>
            <a:ext cx="146304" cy="14630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18D3EF1-633B-4011-87F4-E77525E831E4}"/>
              </a:ext>
            </a:extLst>
          </p:cNvPr>
          <p:cNvSpPr/>
          <p:nvPr/>
        </p:nvSpPr>
        <p:spPr bwMode="auto">
          <a:xfrm>
            <a:off x="4989578" y="5428971"/>
            <a:ext cx="146304" cy="14630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D832F1D-2EB4-4B99-9E6A-8C24F1C07836}"/>
              </a:ext>
            </a:extLst>
          </p:cNvPr>
          <p:cNvSpPr/>
          <p:nvPr/>
        </p:nvSpPr>
        <p:spPr bwMode="auto">
          <a:xfrm>
            <a:off x="5102647" y="5419551"/>
            <a:ext cx="146304" cy="14630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DDBEF7BD-DF1E-4E43-8855-71AAC7FD6F09}"/>
              </a:ext>
            </a:extLst>
          </p:cNvPr>
          <p:cNvSpPr/>
          <p:nvPr/>
        </p:nvSpPr>
        <p:spPr bwMode="auto">
          <a:xfrm>
            <a:off x="4860977" y="5135645"/>
            <a:ext cx="73152" cy="731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89EB85D1-A54F-4F45-BAC2-0B48F663E40B}"/>
              </a:ext>
            </a:extLst>
          </p:cNvPr>
          <p:cNvSpPr/>
          <p:nvPr/>
        </p:nvSpPr>
        <p:spPr bwMode="auto">
          <a:xfrm>
            <a:off x="4566436" y="5197652"/>
            <a:ext cx="73152" cy="731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26A9920-D52F-4323-8C33-E2448CD7C358}"/>
              </a:ext>
            </a:extLst>
          </p:cNvPr>
          <p:cNvSpPr/>
          <p:nvPr/>
        </p:nvSpPr>
        <p:spPr bwMode="auto">
          <a:xfrm>
            <a:off x="4495238" y="5234228"/>
            <a:ext cx="73152" cy="731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11150B6-842B-41AA-8A88-602C1658D0B0}"/>
              </a:ext>
            </a:extLst>
          </p:cNvPr>
          <p:cNvSpPr/>
          <p:nvPr/>
        </p:nvSpPr>
        <p:spPr bwMode="auto">
          <a:xfrm>
            <a:off x="4451999" y="5296254"/>
            <a:ext cx="73152" cy="731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7C180E0-07E2-4264-8E36-2442B845FEFE}"/>
              </a:ext>
            </a:extLst>
          </p:cNvPr>
          <p:cNvSpPr/>
          <p:nvPr/>
        </p:nvSpPr>
        <p:spPr bwMode="auto">
          <a:xfrm>
            <a:off x="4286657" y="5326340"/>
            <a:ext cx="73152" cy="731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02D348D-1818-452F-BA50-C1DF2986F337}"/>
              </a:ext>
            </a:extLst>
          </p:cNvPr>
          <p:cNvSpPr/>
          <p:nvPr/>
        </p:nvSpPr>
        <p:spPr bwMode="auto">
          <a:xfrm>
            <a:off x="4225387" y="5325534"/>
            <a:ext cx="64008" cy="640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4CF1BEE-4DEF-48E4-96C8-6EC8AC52D209}"/>
              </a:ext>
            </a:extLst>
          </p:cNvPr>
          <p:cNvSpPr/>
          <p:nvPr/>
        </p:nvSpPr>
        <p:spPr bwMode="auto">
          <a:xfrm>
            <a:off x="5184943" y="5257135"/>
            <a:ext cx="137160" cy="1371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E6C4B72-0CE7-432F-BAB8-6B42DDF4B4BE}"/>
              </a:ext>
            </a:extLst>
          </p:cNvPr>
          <p:cNvSpPr/>
          <p:nvPr/>
        </p:nvSpPr>
        <p:spPr bwMode="auto">
          <a:xfrm>
            <a:off x="5276296" y="2707426"/>
            <a:ext cx="91613" cy="916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0ACC488-1F2E-431B-8C4E-7D06AA2C0DE8}"/>
              </a:ext>
            </a:extLst>
          </p:cNvPr>
          <p:cNvSpPr txBox="1"/>
          <p:nvPr/>
        </p:nvSpPr>
        <p:spPr>
          <a:xfrm>
            <a:off x="5287852" y="2652299"/>
            <a:ext cx="433132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OP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FB5DFCF-C6B4-4E66-9831-072CD6E939BB}"/>
              </a:ext>
            </a:extLst>
          </p:cNvPr>
          <p:cNvSpPr txBox="1"/>
          <p:nvPr/>
        </p:nvSpPr>
        <p:spPr>
          <a:xfrm>
            <a:off x="7339454" y="2511467"/>
            <a:ext cx="42191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E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47A779F-9C3D-4CA5-87DE-74E43C8C3EA9}"/>
              </a:ext>
            </a:extLst>
          </p:cNvPr>
          <p:cNvSpPr txBox="1"/>
          <p:nvPr/>
        </p:nvSpPr>
        <p:spPr>
          <a:xfrm>
            <a:off x="6835067" y="3991599"/>
            <a:ext cx="487633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MT2C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437E22A-0860-4F9C-8D39-A84DDE31D459}"/>
              </a:ext>
            </a:extLst>
          </p:cNvPr>
          <p:cNvSpPr txBox="1"/>
          <p:nvPr/>
        </p:nvSpPr>
        <p:spPr>
          <a:xfrm>
            <a:off x="6747261" y="4163637"/>
            <a:ext cx="487633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MT2D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AF4487E-6AB2-4BCC-9928-B1C847FE40CB}"/>
              </a:ext>
            </a:extLst>
          </p:cNvPr>
          <p:cNvSpPr txBox="1"/>
          <p:nvPr/>
        </p:nvSpPr>
        <p:spPr>
          <a:xfrm>
            <a:off x="6428121" y="4322451"/>
            <a:ext cx="383438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YC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92DB0AF-E340-46CC-9E9E-FF551401E275}"/>
              </a:ext>
            </a:extLst>
          </p:cNvPr>
          <p:cNvSpPr txBox="1"/>
          <p:nvPr/>
        </p:nvSpPr>
        <p:spPr>
          <a:xfrm>
            <a:off x="6676222" y="4456234"/>
            <a:ext cx="478015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XA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499630A-01DE-4AEB-AAFC-32A211C65509}"/>
              </a:ext>
            </a:extLst>
          </p:cNvPr>
          <p:cNvSpPr txBox="1"/>
          <p:nvPr/>
        </p:nvSpPr>
        <p:spPr>
          <a:xfrm>
            <a:off x="7643856" y="2775379"/>
            <a:ext cx="397866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P5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A06B9A0-12DC-4139-AFCC-4104F6BD9828}"/>
              </a:ext>
            </a:extLst>
          </p:cNvPr>
          <p:cNvSpPr txBox="1"/>
          <p:nvPr/>
        </p:nvSpPr>
        <p:spPr>
          <a:xfrm>
            <a:off x="6798785" y="4645038"/>
            <a:ext cx="35779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B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B889A8A-7D3A-4349-9125-B1A81BE08E2E}"/>
              </a:ext>
            </a:extLst>
          </p:cNvPr>
          <p:cNvSpPr txBox="1"/>
          <p:nvPr/>
        </p:nvSpPr>
        <p:spPr>
          <a:xfrm>
            <a:off x="6799892" y="4830936"/>
            <a:ext cx="481222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CA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CA9AB98-7283-4BD1-8E41-07534F0261CB}"/>
              </a:ext>
            </a:extLst>
          </p:cNvPr>
          <p:cNvSpPr txBox="1"/>
          <p:nvPr/>
        </p:nvSpPr>
        <p:spPr>
          <a:xfrm>
            <a:off x="7726153" y="5230317"/>
            <a:ext cx="308098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EC99FAD-3B62-4D75-89A0-2AED0CAF3229}"/>
              </a:ext>
            </a:extLst>
          </p:cNvPr>
          <p:cNvSpPr txBox="1"/>
          <p:nvPr/>
        </p:nvSpPr>
        <p:spPr>
          <a:xfrm>
            <a:off x="5847390" y="4498239"/>
            <a:ext cx="46679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FHX3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B36C1F2-FCD8-463C-880E-B399F09E6284}"/>
              </a:ext>
            </a:extLst>
          </p:cNvPr>
          <p:cNvSpPr txBox="1"/>
          <p:nvPr/>
        </p:nvSpPr>
        <p:spPr>
          <a:xfrm>
            <a:off x="5838162" y="4945724"/>
            <a:ext cx="471603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DK1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E4988F-EEE7-4C27-84C7-122DE9B2F6DC}"/>
              </a:ext>
            </a:extLst>
          </p:cNvPr>
          <p:cNvSpPr txBox="1"/>
          <p:nvPr/>
        </p:nvSpPr>
        <p:spPr>
          <a:xfrm>
            <a:off x="6252116" y="4937974"/>
            <a:ext cx="367408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C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9DD54BB-174B-4A2A-B2D9-8326C8DBF33D}"/>
              </a:ext>
            </a:extLst>
          </p:cNvPr>
          <p:cNvSpPr txBox="1"/>
          <p:nvPr/>
        </p:nvSpPr>
        <p:spPr>
          <a:xfrm>
            <a:off x="3400302" y="5072457"/>
            <a:ext cx="388248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H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77032A3-067A-45D0-A28A-0FF105A672AD}"/>
              </a:ext>
            </a:extLst>
          </p:cNvPr>
          <p:cNvSpPr txBox="1"/>
          <p:nvPr/>
        </p:nvSpPr>
        <p:spPr>
          <a:xfrm>
            <a:off x="3652783" y="4159443"/>
            <a:ext cx="745717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YBP/FOXP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AF926EE-C1C0-45EF-9A46-40603E5C9F33}"/>
              </a:ext>
            </a:extLst>
          </p:cNvPr>
          <p:cNvSpPr txBox="1"/>
          <p:nvPr/>
        </p:nvSpPr>
        <p:spPr>
          <a:xfrm>
            <a:off x="4968002" y="5107428"/>
            <a:ext cx="397865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K1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2FBBFED-E101-406A-8449-B41A6AE29130}"/>
              </a:ext>
            </a:extLst>
          </p:cNvPr>
          <p:cNvSpPr txBox="1"/>
          <p:nvPr/>
        </p:nvSpPr>
        <p:spPr>
          <a:xfrm>
            <a:off x="4645531" y="4945513"/>
            <a:ext cx="426719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E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DBA47BE-102C-44BE-A9A1-9EECA21CD5A5}"/>
              </a:ext>
            </a:extLst>
          </p:cNvPr>
          <p:cNvSpPr txBox="1"/>
          <p:nvPr/>
        </p:nvSpPr>
        <p:spPr>
          <a:xfrm>
            <a:off x="4800531" y="5251614"/>
            <a:ext cx="449161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GF2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CF6C73A-36B1-402E-B7C2-7CD80E49CC5B}"/>
              </a:ext>
            </a:extLst>
          </p:cNvPr>
          <p:cNvSpPr txBox="1"/>
          <p:nvPr/>
        </p:nvSpPr>
        <p:spPr>
          <a:xfrm>
            <a:off x="4769433" y="5513543"/>
            <a:ext cx="476412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X2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C218F66-26F9-4AD4-9BEC-986313D68F1D}"/>
              </a:ext>
            </a:extLst>
          </p:cNvPr>
          <p:cNvSpPr/>
          <p:nvPr/>
        </p:nvSpPr>
        <p:spPr bwMode="auto">
          <a:xfrm>
            <a:off x="3542037" y="5255847"/>
            <a:ext cx="36576" cy="365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4FF355A6-1840-4B3C-83C6-AF6EDBC08DEC}"/>
              </a:ext>
            </a:extLst>
          </p:cNvPr>
          <p:cNvSpPr/>
          <p:nvPr/>
        </p:nvSpPr>
        <p:spPr bwMode="auto">
          <a:xfrm>
            <a:off x="3995298" y="5549818"/>
            <a:ext cx="73152" cy="7315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E97430B8-55E1-46CA-9973-52F023A5FCE1}"/>
              </a:ext>
            </a:extLst>
          </p:cNvPr>
          <p:cNvSpPr/>
          <p:nvPr/>
        </p:nvSpPr>
        <p:spPr bwMode="auto">
          <a:xfrm>
            <a:off x="3852633" y="5570294"/>
            <a:ext cx="73152" cy="7315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D9E0563-6EDF-444D-B079-6DA40926DC45}"/>
              </a:ext>
            </a:extLst>
          </p:cNvPr>
          <p:cNvSpPr/>
          <p:nvPr/>
        </p:nvSpPr>
        <p:spPr bwMode="auto">
          <a:xfrm>
            <a:off x="3796638" y="5617870"/>
            <a:ext cx="73152" cy="7315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44ACA08-2CC8-40CC-B9DE-FA52BE3D46A3}"/>
              </a:ext>
            </a:extLst>
          </p:cNvPr>
          <p:cNvSpPr/>
          <p:nvPr/>
        </p:nvSpPr>
        <p:spPr bwMode="auto">
          <a:xfrm>
            <a:off x="4002116" y="5487499"/>
            <a:ext cx="54864" cy="54864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B6E3BB2-57D3-4063-97DE-FA2A21946053}"/>
              </a:ext>
            </a:extLst>
          </p:cNvPr>
          <p:cNvSpPr/>
          <p:nvPr/>
        </p:nvSpPr>
        <p:spPr bwMode="auto">
          <a:xfrm>
            <a:off x="3611795" y="5616014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5693257-584D-4F18-B97B-25F75736DE28}"/>
              </a:ext>
            </a:extLst>
          </p:cNvPr>
          <p:cNvSpPr/>
          <p:nvPr/>
        </p:nvSpPr>
        <p:spPr bwMode="auto">
          <a:xfrm>
            <a:off x="3673491" y="5620613"/>
            <a:ext cx="54864" cy="5486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91F2072E-F240-493F-B561-9F3615CA1783}"/>
              </a:ext>
            </a:extLst>
          </p:cNvPr>
          <p:cNvSpPr/>
          <p:nvPr/>
        </p:nvSpPr>
        <p:spPr bwMode="auto">
          <a:xfrm>
            <a:off x="3670332" y="5582117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654620E-28C2-4D43-B2E3-9DCCB93E5063}"/>
              </a:ext>
            </a:extLst>
          </p:cNvPr>
          <p:cNvSpPr/>
          <p:nvPr/>
        </p:nvSpPr>
        <p:spPr bwMode="auto">
          <a:xfrm>
            <a:off x="3738922" y="5588582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F60A9A67-2765-4D69-B49F-E18CEC429FE7}"/>
              </a:ext>
            </a:extLst>
          </p:cNvPr>
          <p:cNvSpPr/>
          <p:nvPr/>
        </p:nvSpPr>
        <p:spPr bwMode="auto">
          <a:xfrm>
            <a:off x="3863286" y="5539391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9D8462E-AE08-44CD-AD46-457114C328DC}"/>
              </a:ext>
            </a:extLst>
          </p:cNvPr>
          <p:cNvSpPr/>
          <p:nvPr/>
        </p:nvSpPr>
        <p:spPr bwMode="auto">
          <a:xfrm>
            <a:off x="3864690" y="5487499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618A07C-C17F-456E-AC97-F77A0E53A7BD}"/>
              </a:ext>
            </a:extLst>
          </p:cNvPr>
          <p:cNvSpPr/>
          <p:nvPr/>
        </p:nvSpPr>
        <p:spPr bwMode="auto">
          <a:xfrm>
            <a:off x="3802300" y="5553303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B58407A-69AD-4468-AF1F-967B5FB76D80}"/>
              </a:ext>
            </a:extLst>
          </p:cNvPr>
          <p:cNvSpPr/>
          <p:nvPr/>
        </p:nvSpPr>
        <p:spPr bwMode="auto">
          <a:xfrm>
            <a:off x="3917226" y="5516727"/>
            <a:ext cx="73152" cy="7315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993C637F-CCF0-4DD5-BA54-82F993EB3FB4}"/>
              </a:ext>
            </a:extLst>
          </p:cNvPr>
          <p:cNvSpPr/>
          <p:nvPr/>
        </p:nvSpPr>
        <p:spPr bwMode="auto">
          <a:xfrm>
            <a:off x="3915082" y="5590571"/>
            <a:ext cx="73152" cy="7315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B76C84E-2570-4F48-A231-C3D627B9D82A}"/>
              </a:ext>
            </a:extLst>
          </p:cNvPr>
          <p:cNvSpPr txBox="1"/>
          <p:nvPr/>
        </p:nvSpPr>
        <p:spPr>
          <a:xfrm>
            <a:off x="5021346" y="4840659"/>
            <a:ext cx="540533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TNNB1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13B6C95-3A70-405C-BA3D-457279FEF495}"/>
              </a:ext>
            </a:extLst>
          </p:cNvPr>
          <p:cNvSpPr txBox="1"/>
          <p:nvPr/>
        </p:nvSpPr>
        <p:spPr>
          <a:xfrm>
            <a:off x="5374234" y="5017656"/>
            <a:ext cx="49084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CND1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3953D82-5AAE-4525-8D97-0A1D87BC7ACE}"/>
              </a:ext>
            </a:extLst>
          </p:cNvPr>
          <p:cNvSpPr txBox="1"/>
          <p:nvPr/>
        </p:nvSpPr>
        <p:spPr>
          <a:xfrm>
            <a:off x="5268054" y="5208819"/>
            <a:ext cx="40267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T1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165C541-13AE-47FB-AD3C-B81AF40B39E8}"/>
              </a:ext>
            </a:extLst>
          </p:cNvPr>
          <p:cNvSpPr txBox="1"/>
          <p:nvPr/>
        </p:nvSpPr>
        <p:spPr>
          <a:xfrm>
            <a:off x="5156106" y="5467915"/>
            <a:ext cx="38985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GA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BE82441-B08A-45B2-BAD6-FAD5C34D7620}"/>
              </a:ext>
            </a:extLst>
          </p:cNvPr>
          <p:cNvSpPr txBox="1"/>
          <p:nvPr/>
        </p:nvSpPr>
        <p:spPr>
          <a:xfrm>
            <a:off x="4539190" y="5126488"/>
            <a:ext cx="48282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12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5C075B7-601D-45D4-A23A-3C46EBD33BA4}"/>
              </a:ext>
            </a:extLst>
          </p:cNvPr>
          <p:cNvSpPr txBox="1"/>
          <p:nvPr/>
        </p:nvSpPr>
        <p:spPr>
          <a:xfrm>
            <a:off x="4533863" y="5194145"/>
            <a:ext cx="46679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P28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62F006A-325A-493A-8046-DCC0DD0E1446}"/>
              </a:ext>
            </a:extLst>
          </p:cNvPr>
          <p:cNvSpPr txBox="1"/>
          <p:nvPr/>
        </p:nvSpPr>
        <p:spPr>
          <a:xfrm>
            <a:off x="4003463" y="5098683"/>
            <a:ext cx="595035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KRD1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057F1A2-D4E4-456F-B96C-3E8B69C2D44C}"/>
              </a:ext>
            </a:extLst>
          </p:cNvPr>
          <p:cNvSpPr txBox="1"/>
          <p:nvPr/>
        </p:nvSpPr>
        <p:spPr>
          <a:xfrm>
            <a:off x="4419333" y="5570697"/>
            <a:ext cx="43794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NA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56156C4-8105-4E8E-AC8A-A1A2CAEC3D0C}"/>
              </a:ext>
            </a:extLst>
          </p:cNvPr>
          <p:cNvSpPr txBox="1"/>
          <p:nvPr/>
        </p:nvSpPr>
        <p:spPr>
          <a:xfrm>
            <a:off x="4591288" y="5468049"/>
            <a:ext cx="362599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F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856FC1C-BC75-4B87-B07D-8852866D4AE6}"/>
              </a:ext>
            </a:extLst>
          </p:cNvPr>
          <p:cNvSpPr txBox="1"/>
          <p:nvPr/>
        </p:nvSpPr>
        <p:spPr>
          <a:xfrm>
            <a:off x="4371904" y="5355097"/>
            <a:ext cx="426720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D8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A45A02A-A3CF-4E78-825F-0BA491BD9751}"/>
              </a:ext>
            </a:extLst>
          </p:cNvPr>
          <p:cNvSpPr txBox="1"/>
          <p:nvPr/>
        </p:nvSpPr>
        <p:spPr>
          <a:xfrm>
            <a:off x="4423518" y="5027029"/>
            <a:ext cx="518091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IN2A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A1BCB8F-042F-461B-B772-B3AFA813BF61}"/>
              </a:ext>
            </a:extLst>
          </p:cNvPr>
          <p:cNvSpPr txBox="1"/>
          <p:nvPr/>
        </p:nvSpPr>
        <p:spPr>
          <a:xfrm>
            <a:off x="3944970" y="5189834"/>
            <a:ext cx="466794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NF43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E69CD06-1755-4B77-BA62-3F2088A8A700}"/>
              </a:ext>
            </a:extLst>
          </p:cNvPr>
          <p:cNvSpPr txBox="1"/>
          <p:nvPr/>
        </p:nvSpPr>
        <p:spPr>
          <a:xfrm>
            <a:off x="3831720" y="5263535"/>
            <a:ext cx="453971" cy="21544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P7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92BDE3B-998E-4AD7-A75E-9D105AAFDD73}"/>
              </a:ext>
            </a:extLst>
          </p:cNvPr>
          <p:cNvSpPr txBox="1"/>
          <p:nvPr/>
        </p:nvSpPr>
        <p:spPr>
          <a:xfrm>
            <a:off x="4500051" y="5254878"/>
            <a:ext cx="461985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XL1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D123D676-D15E-4412-8BC9-717A3960B22E}"/>
              </a:ext>
            </a:extLst>
          </p:cNvPr>
          <p:cNvSpPr/>
          <p:nvPr/>
        </p:nvSpPr>
        <p:spPr bwMode="auto">
          <a:xfrm>
            <a:off x="6360853" y="4808950"/>
            <a:ext cx="157412" cy="157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9B60F29E-CF77-49A3-9E6D-3993E1F73769}"/>
              </a:ext>
            </a:extLst>
          </p:cNvPr>
          <p:cNvSpPr/>
          <p:nvPr/>
        </p:nvSpPr>
        <p:spPr bwMode="auto">
          <a:xfrm>
            <a:off x="3914240" y="5549420"/>
            <a:ext cx="73152" cy="73152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E858E61E-1C9B-4AC4-9B13-765CE1E7FDC4}"/>
              </a:ext>
            </a:extLst>
          </p:cNvPr>
          <p:cNvSpPr/>
          <p:nvPr/>
        </p:nvSpPr>
        <p:spPr bwMode="auto">
          <a:xfrm>
            <a:off x="3927617" y="5480355"/>
            <a:ext cx="54864" cy="5486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6EBFEE7-F308-48BA-807D-691D049D1F65}"/>
              </a:ext>
            </a:extLst>
          </p:cNvPr>
          <p:cNvSpPr txBox="1"/>
          <p:nvPr/>
        </p:nvSpPr>
        <p:spPr>
          <a:xfrm>
            <a:off x="3956717" y="5436859"/>
            <a:ext cx="492443" cy="200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D9</a:t>
            </a:r>
          </a:p>
        </p:txBody>
      </p:sp>
    </p:spTree>
    <p:extLst>
      <p:ext uri="{BB962C8B-B14F-4D97-AF65-F5344CB8AC3E}">
        <p14:creationId xmlns:p14="http://schemas.microsoft.com/office/powerpoint/2010/main" val="19892551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A70D76-0AD8-CF4F-80D1-DF4840225422}"/>
              </a:ext>
            </a:extLst>
          </p:cNvPr>
          <p:cNvCxnSpPr/>
          <p:nvPr/>
        </p:nvCxnSpPr>
        <p:spPr>
          <a:xfrm>
            <a:off x="7374583" y="2367670"/>
            <a:ext cx="2038350" cy="0"/>
          </a:xfrm>
          <a:prstGeom prst="line">
            <a:avLst/>
          </a:prstGeom>
          <a:ln w="571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EDBBE9D8-F3AD-6046-B227-47D2A1632B2B}"/>
              </a:ext>
            </a:extLst>
          </p:cNvPr>
          <p:cNvSpPr txBox="1"/>
          <p:nvPr/>
        </p:nvSpPr>
        <p:spPr>
          <a:xfrm>
            <a:off x="5664994" y="1571986"/>
            <a:ext cx="61490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ell With Heterozygous Germline DDR M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4C1240-ADEF-6649-AC76-F440F490F590}"/>
              </a:ext>
            </a:extLst>
          </p:cNvPr>
          <p:cNvSpPr txBox="1"/>
          <p:nvPr/>
        </p:nvSpPr>
        <p:spPr>
          <a:xfrm>
            <a:off x="9906296" y="2169525"/>
            <a:ext cx="19955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RR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i insensiti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AB5021-9598-2948-81EA-9E439A4FA727}"/>
              </a:ext>
            </a:extLst>
          </p:cNvPr>
          <p:cNvCxnSpPr/>
          <p:nvPr/>
        </p:nvCxnSpPr>
        <p:spPr>
          <a:xfrm>
            <a:off x="7776809" y="5255816"/>
            <a:ext cx="537636" cy="0"/>
          </a:xfrm>
          <a:prstGeom prst="line">
            <a:avLst/>
          </a:prstGeom>
          <a:ln w="571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ctagon 8">
            <a:extLst>
              <a:ext uri="{FF2B5EF4-FFF2-40B4-BE49-F238E27FC236}">
                <a16:creationId xmlns:a16="http://schemas.microsoft.com/office/drawing/2014/main" id="{488F0239-8EEF-994A-B689-401B0055C9EE}"/>
              </a:ext>
            </a:extLst>
          </p:cNvPr>
          <p:cNvSpPr/>
          <p:nvPr/>
        </p:nvSpPr>
        <p:spPr>
          <a:xfrm>
            <a:off x="8225542" y="5153901"/>
            <a:ext cx="187718" cy="187718"/>
          </a:xfrm>
          <a:prstGeom prst="oct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4194F7-C94B-9046-A5B4-C818B9C962B0}"/>
              </a:ext>
            </a:extLst>
          </p:cNvPr>
          <p:cNvCxnSpPr/>
          <p:nvPr/>
        </p:nvCxnSpPr>
        <p:spPr>
          <a:xfrm>
            <a:off x="7404272" y="5255816"/>
            <a:ext cx="266700" cy="0"/>
          </a:xfrm>
          <a:prstGeom prst="line">
            <a:avLst/>
          </a:prstGeom>
          <a:ln w="571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5DCCD6D-2733-744B-B9EB-673A476F7E21}"/>
              </a:ext>
            </a:extLst>
          </p:cNvPr>
          <p:cNvSpPr txBox="1"/>
          <p:nvPr/>
        </p:nvSpPr>
        <p:spPr>
          <a:xfrm>
            <a:off x="7531693" y="4925122"/>
            <a:ext cx="389049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^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91A2D0-E6AB-774B-AF91-E2BE92B23C7A}"/>
              </a:ext>
            </a:extLst>
          </p:cNvPr>
          <p:cNvCxnSpPr/>
          <p:nvPr/>
        </p:nvCxnSpPr>
        <p:spPr>
          <a:xfrm>
            <a:off x="7745614" y="2705998"/>
            <a:ext cx="537636" cy="0"/>
          </a:xfrm>
          <a:prstGeom prst="line">
            <a:avLst/>
          </a:prstGeom>
          <a:ln w="571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Octagon 15">
            <a:extLst>
              <a:ext uri="{FF2B5EF4-FFF2-40B4-BE49-F238E27FC236}">
                <a16:creationId xmlns:a16="http://schemas.microsoft.com/office/drawing/2014/main" id="{E0D96F3C-9ABA-0747-8654-B1DCD65290D0}"/>
              </a:ext>
            </a:extLst>
          </p:cNvPr>
          <p:cNvSpPr/>
          <p:nvPr/>
        </p:nvSpPr>
        <p:spPr>
          <a:xfrm>
            <a:off x="8194347" y="2604083"/>
            <a:ext cx="187718" cy="187718"/>
          </a:xfrm>
          <a:prstGeom prst="oct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FA31A9D-F94D-E145-B491-483BD1B3F5EF}"/>
              </a:ext>
            </a:extLst>
          </p:cNvPr>
          <p:cNvCxnSpPr/>
          <p:nvPr/>
        </p:nvCxnSpPr>
        <p:spPr>
          <a:xfrm>
            <a:off x="7373077" y="2705998"/>
            <a:ext cx="266700" cy="0"/>
          </a:xfrm>
          <a:prstGeom prst="line">
            <a:avLst/>
          </a:prstGeom>
          <a:ln w="571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946CDE3-9057-624C-BE33-FB1D2A7CE10F}"/>
              </a:ext>
            </a:extLst>
          </p:cNvPr>
          <p:cNvSpPr txBox="1"/>
          <p:nvPr/>
        </p:nvSpPr>
        <p:spPr>
          <a:xfrm>
            <a:off x="7500498" y="2375304"/>
            <a:ext cx="389049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^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59DAE3-B377-0343-B351-DFEDB100730A}"/>
              </a:ext>
            </a:extLst>
          </p:cNvPr>
          <p:cNvSpPr txBox="1"/>
          <p:nvPr/>
        </p:nvSpPr>
        <p:spPr>
          <a:xfrm>
            <a:off x="9881896" y="4652033"/>
            <a:ext cx="17951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RR Defici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Pi sensitive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B28A2C0-F02A-154B-9064-1996019FF669}"/>
              </a:ext>
            </a:extLst>
          </p:cNvPr>
          <p:cNvCxnSpPr>
            <a:cxnSpLocks/>
          </p:cNvCxnSpPr>
          <p:nvPr/>
        </p:nvCxnSpPr>
        <p:spPr>
          <a:xfrm>
            <a:off x="8370035" y="3148604"/>
            <a:ext cx="0" cy="442265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8E3CCFE3-62A0-4E64-8667-3F43BE936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ea typeface="ヒラギノ角ゴ Pro W3" pitchFamily="-65" charset="-128"/>
                <a:cs typeface="Arial" panose="020B0604020202020204" pitchFamily="34" charset="0"/>
              </a:rPr>
              <a:t>Cells Become HRR Deficient When Both Copies of a DNA Repair Gene are Inactiva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69CD82-3A5A-429B-AA5A-D5BE5C91F7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4874035" cy="4678738"/>
          </a:xfrm>
        </p:spPr>
        <p:txBody>
          <a:bodyPr/>
          <a:lstStyle/>
          <a:p>
            <a:r>
              <a:rPr lang="en-US" dirty="0"/>
              <a:t>Germline carriers have one copy inactivated in all cells</a:t>
            </a:r>
          </a:p>
          <a:p>
            <a:r>
              <a:rPr lang="en-US" dirty="0"/>
              <a:t>Inactivation requires </a:t>
            </a:r>
            <a:r>
              <a:rPr lang="en-US" b="1" dirty="0">
                <a:solidFill>
                  <a:schemeClr val="accent3"/>
                </a:solidFill>
              </a:rPr>
              <a:t>both copies</a:t>
            </a:r>
            <a:r>
              <a:rPr lang="en-US" b="1" dirty="0"/>
              <a:t> </a:t>
            </a:r>
            <a:r>
              <a:rPr lang="en-US" dirty="0"/>
              <a:t>to be lost</a:t>
            </a:r>
          </a:p>
          <a:p>
            <a:r>
              <a:rPr lang="en-US" dirty="0"/>
              <a:t>Single “hits” lack genomic scar or high PARPi sensitivity seen in preclinical models</a:t>
            </a:r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23" name="Group 7">
            <a:extLst>
              <a:ext uri="{FF2B5EF4-FFF2-40B4-BE49-F238E27FC236}">
                <a16:creationId xmlns:a16="http://schemas.microsoft.com/office/drawing/2014/main" id="{1CBA0B05-390D-4E0D-A8F6-949AAA6EC47E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24" name="Picture 9">
              <a:extLst>
                <a:ext uri="{FF2B5EF4-FFF2-40B4-BE49-F238E27FC236}">
                  <a16:creationId xmlns:a16="http://schemas.microsoft.com/office/drawing/2014/main" id="{09DEA1A6-E96F-46E9-A63A-2D722BAFCF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Rectangle 8">
              <a:extLst>
                <a:ext uri="{FF2B5EF4-FFF2-40B4-BE49-F238E27FC236}">
                  <a16:creationId xmlns:a16="http://schemas.microsoft.com/office/drawing/2014/main" id="{13476881-B5A5-426E-B6DB-E2D863B40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7" name="Left Brace 26">
            <a:extLst>
              <a:ext uri="{FF2B5EF4-FFF2-40B4-BE49-F238E27FC236}">
                <a16:creationId xmlns:a16="http://schemas.microsoft.com/office/drawing/2014/main" id="{F3B3696E-CC7B-4DA2-9A14-A0A1BBDE0693}"/>
              </a:ext>
            </a:extLst>
          </p:cNvPr>
          <p:cNvSpPr/>
          <p:nvPr/>
        </p:nvSpPr>
        <p:spPr bwMode="auto">
          <a:xfrm flipH="1">
            <a:off x="9666710" y="2131819"/>
            <a:ext cx="202560" cy="807867"/>
          </a:xfrm>
          <a:prstGeom prst="leftBrac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Left Brace 27">
            <a:extLst>
              <a:ext uri="{FF2B5EF4-FFF2-40B4-BE49-F238E27FC236}">
                <a16:creationId xmlns:a16="http://schemas.microsoft.com/office/drawing/2014/main" id="{CFE14978-4652-44AB-B1B3-E87399062110}"/>
              </a:ext>
            </a:extLst>
          </p:cNvPr>
          <p:cNvSpPr/>
          <p:nvPr/>
        </p:nvSpPr>
        <p:spPr bwMode="auto">
          <a:xfrm flipH="1">
            <a:off x="9685223" y="4610902"/>
            <a:ext cx="202560" cy="807867"/>
          </a:xfrm>
          <a:prstGeom prst="leftBrac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3267EA1-D301-42E7-B600-8FC38DB3262E}"/>
              </a:ext>
            </a:extLst>
          </p:cNvPr>
          <p:cNvSpPr txBox="1"/>
          <p:nvPr/>
        </p:nvSpPr>
        <p:spPr>
          <a:xfrm>
            <a:off x="6343288" y="3764165"/>
            <a:ext cx="42965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umor Cell Loses Functional Alle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rough DNA Copy Loss</a:t>
            </a:r>
          </a:p>
        </p:txBody>
      </p:sp>
      <p:sp>
        <p:nvSpPr>
          <p:cNvPr id="33" name="Rounded Rectangle 13">
            <a:extLst>
              <a:ext uri="{FF2B5EF4-FFF2-40B4-BE49-F238E27FC236}">
                <a16:creationId xmlns:a16="http://schemas.microsoft.com/office/drawing/2014/main" id="{E041FA26-872C-4714-8A71-0C754361CE14}"/>
              </a:ext>
            </a:extLst>
          </p:cNvPr>
          <p:cNvSpPr/>
          <p:nvPr/>
        </p:nvSpPr>
        <p:spPr>
          <a:xfrm>
            <a:off x="7140275" y="2172552"/>
            <a:ext cx="2483511" cy="731002"/>
          </a:xfrm>
          <a:prstGeom prst="round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ounded Rectangle 13">
            <a:extLst>
              <a:ext uri="{FF2B5EF4-FFF2-40B4-BE49-F238E27FC236}">
                <a16:creationId xmlns:a16="http://schemas.microsoft.com/office/drawing/2014/main" id="{FEB68B6A-7CD4-4C10-B4C4-B9F6CEFE6057}"/>
              </a:ext>
            </a:extLst>
          </p:cNvPr>
          <p:cNvSpPr/>
          <p:nvPr/>
        </p:nvSpPr>
        <p:spPr>
          <a:xfrm>
            <a:off x="7183199" y="4667569"/>
            <a:ext cx="2483511" cy="731002"/>
          </a:xfrm>
          <a:prstGeom prst="round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4283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13FAB-E82D-4B2A-8032-B335CE411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FCCA89-0277-4502-B1C3-38CF36805D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rp inhibitors are a new class of drug for prostate cancer</a:t>
            </a:r>
          </a:p>
          <a:p>
            <a:r>
              <a:rPr lang="en-US" dirty="0"/>
              <a:t>They do not apply to all patients. Only to those with certain mutations in their tumors</a:t>
            </a:r>
          </a:p>
          <a:p>
            <a:endParaRPr lang="en-US" dirty="0"/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ACD137B-8A29-4A7D-A8A0-93C197B350B5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>
              <a:extLst>
                <a:ext uri="{FF2B5EF4-FFF2-40B4-BE49-F238E27FC236}">
                  <a16:creationId xmlns:a16="http://schemas.microsoft.com/office/drawing/2014/main" id="{333FCBC5-EB46-401A-9E88-91AE70C283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3743D6F6-AFB0-4118-AABF-6DEF12981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78CED3F-1B0E-7B4C-967E-EBFCE4E1C245}"/>
              </a:ext>
            </a:extLst>
          </p:cNvPr>
          <p:cNvSpPr/>
          <p:nvPr/>
        </p:nvSpPr>
        <p:spPr bwMode="auto">
          <a:xfrm>
            <a:off x="8662086" y="5625236"/>
            <a:ext cx="3323968" cy="1039238"/>
          </a:xfrm>
          <a:prstGeom prst="round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0715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BF8DD53-FDB3-624D-BE5C-85BC0A5A3D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0410"/>
          <a:stretch/>
        </p:blipFill>
        <p:spPr>
          <a:xfrm>
            <a:off x="5497516" y="3974343"/>
            <a:ext cx="4250042" cy="2242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9165B1-26EF-CE4A-8689-2A8B5E503E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794" y="1436967"/>
            <a:ext cx="11037277" cy="20080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DE8D6B8-ACCB-4502-9C92-0B48F775C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ヒラギノ角ゴ Pro W3" pitchFamily="-65" charset="-128"/>
                <a:cs typeface="Arial" panose="020B0604020202020204" pitchFamily="34" charset="0"/>
              </a:rPr>
              <a:t>Both “Hits” Can Be Somatic: Germline Mutations Not Required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E655B5-4561-47B6-ADA6-F9ADE5839F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1820" y="3588260"/>
            <a:ext cx="4895696" cy="2601208"/>
          </a:xfrm>
        </p:spPr>
        <p:txBody>
          <a:bodyPr/>
          <a:lstStyle/>
          <a:p>
            <a:r>
              <a:rPr lang="en-US" sz="2400" dirty="0"/>
              <a:t>~ 23% of mCRPC harbor loss-of-function DNA repair alterations</a:t>
            </a:r>
          </a:p>
          <a:p>
            <a:pPr lvl="1"/>
            <a:r>
              <a:rPr lang="en-US" sz="2200" dirty="0"/>
              <a:t>12.7% with loss of </a:t>
            </a:r>
            <a:r>
              <a:rPr lang="en-US" sz="2200" i="1" dirty="0"/>
              <a:t>BRCA2</a:t>
            </a:r>
            <a:endParaRPr lang="en-US" sz="2200" dirty="0"/>
          </a:p>
          <a:p>
            <a:r>
              <a:rPr lang="en-US" sz="2400" dirty="0"/>
              <a:t>Frequency of DNA repair alterations increases with disease progression</a:t>
            </a:r>
          </a:p>
          <a:p>
            <a:endParaRPr lang="en-US" sz="2400" dirty="0"/>
          </a:p>
        </p:txBody>
      </p:sp>
      <p:sp>
        <p:nvSpPr>
          <p:cNvPr id="11" name="Text Box 11">
            <a:extLst>
              <a:ext uri="{FF2B5EF4-FFF2-40B4-BE49-F238E27FC236}">
                <a16:creationId xmlns:a16="http://schemas.microsoft.com/office/drawing/2014/main" id="{46CD0789-B39E-480A-8F11-5188D3984E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0" y="638573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+mn-cs"/>
              </a:rPr>
              <a:t>1. Robinson. Cell. 2015;162:454. 2. Quigley. Cell. 2018;174:758. </a:t>
            </a:r>
          </a:p>
        </p:txBody>
      </p:sp>
      <p:grpSp>
        <p:nvGrpSpPr>
          <p:cNvPr id="12" name="Group 7">
            <a:extLst>
              <a:ext uri="{FF2B5EF4-FFF2-40B4-BE49-F238E27FC236}">
                <a16:creationId xmlns:a16="http://schemas.microsoft.com/office/drawing/2014/main" id="{10001EEE-77FF-4C02-9977-46C6A1ECAAF1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3" name="Picture 9">
              <a:extLst>
                <a:ext uri="{FF2B5EF4-FFF2-40B4-BE49-F238E27FC236}">
                  <a16:creationId xmlns:a16="http://schemas.microsoft.com/office/drawing/2014/main" id="{93F84A61-9B87-4619-8CB6-7F7C767F52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8">
              <a:extLst>
                <a:ext uri="{FF2B5EF4-FFF2-40B4-BE49-F238E27FC236}">
                  <a16:creationId xmlns:a16="http://schemas.microsoft.com/office/drawing/2014/main" id="{0D9F9D54-8814-4180-869A-4A6036B24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6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F34118DE-F2E5-440B-8F42-DC554DD7CDB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553" t="4762" r="4795" b="4227"/>
          <a:stretch/>
        </p:blipFill>
        <p:spPr>
          <a:xfrm>
            <a:off x="9925235" y="4429957"/>
            <a:ext cx="1664945" cy="12741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62CE327-824A-4AD2-810C-FCD06B372744}"/>
              </a:ext>
            </a:extLst>
          </p:cNvPr>
          <p:cNvSpPr txBox="1"/>
          <p:nvPr/>
        </p:nvSpPr>
        <p:spPr bwMode="auto">
          <a:xfrm>
            <a:off x="5975646" y="3588260"/>
            <a:ext cx="549007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utational Signatures of DNA Damage in mCRPC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[2]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259238-6F6B-4EF4-B711-5CAD715A1633}"/>
              </a:ext>
            </a:extLst>
          </p:cNvPr>
          <p:cNvSpPr txBox="1"/>
          <p:nvPr/>
        </p:nvSpPr>
        <p:spPr bwMode="auto">
          <a:xfrm>
            <a:off x="3822922" y="1129190"/>
            <a:ext cx="460035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NA Repair Pathway Aberrations i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CRPC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[1]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44738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21402313-E1AB-4931-8427-B0FC0F26F951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>
              <a:extLst>
                <a:ext uri="{FF2B5EF4-FFF2-40B4-BE49-F238E27FC236}">
                  <a16:creationId xmlns:a16="http://schemas.microsoft.com/office/drawing/2014/main" id="{79CFF003-6F2E-4D96-AD4F-D5F1ED8DA0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E7D15EB2-2D05-4987-AFA8-B734F653F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96388218-A237-475E-92F4-EB9BAEA48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NA Repair Mutations in Prostate Cancer: </a:t>
            </a:r>
            <a:br>
              <a:rPr lang="en-US" dirty="0"/>
            </a:br>
            <a:r>
              <a:rPr lang="en-US" altLang="en-US" dirty="0"/>
              <a:t>Take-home Mess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5AEE-08EB-402F-B1D5-24185DDADD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BRCA2</a:t>
            </a:r>
            <a:r>
              <a:rPr lang="en-US" dirty="0"/>
              <a:t> germline inactivation is the most common reason for </a:t>
            </a:r>
            <a:br>
              <a:rPr lang="en-US" dirty="0"/>
            </a:br>
            <a:r>
              <a:rPr lang="en-US" dirty="0"/>
              <a:t>HRR-deficiency in prostate cancer</a:t>
            </a:r>
          </a:p>
          <a:p>
            <a:pPr lvl="1"/>
            <a:r>
              <a:rPr lang="en-US" dirty="0"/>
              <a:t>Single copy inactivated in all cells</a:t>
            </a:r>
          </a:p>
          <a:p>
            <a:r>
              <a:rPr lang="en-US" dirty="0"/>
              <a:t>Incidence of germline HRR deficiency</a:t>
            </a:r>
          </a:p>
          <a:p>
            <a:pPr lvl="1"/>
            <a:r>
              <a:rPr lang="en-US" dirty="0"/>
              <a:t>~ 5% of patients with localized prostate cancer</a:t>
            </a:r>
          </a:p>
          <a:p>
            <a:pPr lvl="1"/>
            <a:r>
              <a:rPr lang="en-US" dirty="0"/>
              <a:t>~ 10% of patients with mCRPC</a:t>
            </a:r>
          </a:p>
          <a:p>
            <a:r>
              <a:rPr lang="en-US" dirty="0"/>
              <a:t>In a tumor, both hits can be somatic</a:t>
            </a:r>
          </a:p>
          <a:p>
            <a:pPr lvl="1"/>
            <a:r>
              <a:rPr lang="en-US" dirty="0"/>
              <a:t>~ 20% of men with mCRPC have tumors with HR deficienc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6836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F86B0-8AD9-DC47-BAA4-2968CD241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595" y="251981"/>
            <a:ext cx="11141055" cy="1103313"/>
          </a:xfrm>
        </p:spPr>
        <p:txBody>
          <a:bodyPr/>
          <a:lstStyle/>
          <a:p>
            <a:r>
              <a:rPr lang="en-US"/>
              <a:t>Olaparib</a:t>
            </a:r>
          </a:p>
        </p:txBody>
      </p:sp>
    </p:spTree>
    <p:extLst>
      <p:ext uri="{BB962C8B-B14F-4D97-AF65-F5344CB8AC3E}">
        <p14:creationId xmlns:p14="http://schemas.microsoft.com/office/powerpoint/2010/main" val="6449868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F0B2E-DD75-4591-903B-606B6EBE42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F0B2E-DD75-4591-903B-606B6EBE4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3C4623D-A1F0-405F-B135-B695DACD1E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E5FB2C-5661-4836-9C35-CD8C94E3D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hase III PROfound: Olaparib vs Physician’s Choice in Progressing mCRP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3BB2F-4FE1-4DDD-A6C4-A051FE089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lvl="0" indent="0" defTabSz="60949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sz="1400" dirty="0"/>
              <a:t>*Enzalutamide 160 mg QD or abiraterone acetate 100 mg QD + prednisone 5 mg BID.</a:t>
            </a:r>
            <a:br>
              <a:rPr lang="en-US" sz="1400" dirty="0"/>
            </a:br>
            <a:r>
              <a:rPr kumimoji="0" lang="en-US" alt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†</a:t>
            </a:r>
            <a:r>
              <a:rPr kumimoji="0" lang="en-US" altLang="en-US" sz="1600" b="1" i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RCA1/2, ATM</a:t>
            </a:r>
            <a:r>
              <a:rPr kumimoji="0" lang="en-US" altLang="en-US" sz="16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IP1, BARD1, CDK12, CHEK1, CHEK2, FANCL, PALB2, PPP2R2A, RAD51B, RAD51C, RA51D, or RAD54L</a:t>
            </a:r>
            <a:r>
              <a:rPr lang="en-US" altLang="en-US" sz="1600" kern="1200" dirty="0">
                <a:solidFill>
                  <a:srgbClr val="000000"/>
                </a:solidFill>
                <a:cs typeface="Calibri" panose="020F0502020204030204" pitchFamily="34" charset="0"/>
              </a:rPr>
              <a:t>.</a:t>
            </a:r>
            <a:endParaRPr kumimoji="0" lang="en-US" sz="14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>
              <a:spcBef>
                <a:spcPts val="400"/>
              </a:spcBef>
            </a:pPr>
            <a:r>
              <a:rPr lang="en-US" sz="2400" dirty="0"/>
              <a:t>Primary endpoint: rPFS in cohort A using RECIST 1.1 and PCWG3 by BICR</a:t>
            </a:r>
          </a:p>
          <a:p>
            <a:pPr>
              <a:spcBef>
                <a:spcPts val="400"/>
              </a:spcBef>
            </a:pPr>
            <a:r>
              <a:rPr lang="en-US" sz="2400" dirty="0"/>
              <a:t>Secondary endpoints: rPFS in both cohorts, confirmed radiographic ORR in </a:t>
            </a:r>
            <a:br>
              <a:rPr lang="en-US" sz="2400" dirty="0"/>
            </a:br>
            <a:r>
              <a:rPr lang="en-US" sz="2400" dirty="0"/>
              <a:t>cohort A, time to pain progression in cohort A, OS in cohort A</a:t>
            </a:r>
          </a:p>
          <a:p>
            <a:endParaRPr lang="en-US" dirty="0"/>
          </a:p>
        </p:txBody>
      </p:sp>
      <p:grpSp>
        <p:nvGrpSpPr>
          <p:cNvPr id="10" name="Group 7">
            <a:extLst>
              <a:ext uri="{FF2B5EF4-FFF2-40B4-BE49-F238E27FC236}">
                <a16:creationId xmlns:a16="http://schemas.microsoft.com/office/drawing/2014/main" id="{F8F03157-92E5-48EC-8F82-6F0E1A6620BB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AED85B8A-7A6C-4786-9251-0DFF6858E6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CE4E8E93-6E0E-482E-B561-AABD81B7FA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9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65CFCB5-FB4C-4CCD-80BA-915330D1AE17}"/>
              </a:ext>
            </a:extLst>
          </p:cNvPr>
          <p:cNvGrpSpPr/>
          <p:nvPr/>
        </p:nvGrpSpPr>
        <p:grpSpPr>
          <a:xfrm>
            <a:off x="666704" y="1290435"/>
            <a:ext cx="10860516" cy="3141204"/>
            <a:chOff x="666704" y="1290435"/>
            <a:chExt cx="10860516" cy="3141204"/>
          </a:xfrm>
        </p:grpSpPr>
        <p:sp>
          <p:nvSpPr>
            <p:cNvPr id="14" name="Text Box 45">
              <a:extLst>
                <a:ext uri="{FF2B5EF4-FFF2-40B4-BE49-F238E27FC236}">
                  <a16:creationId xmlns:a16="http://schemas.microsoft.com/office/drawing/2014/main" id="{78592823-3D35-40D1-9DA5-B16D41BEBE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704" y="2638735"/>
              <a:ext cx="1979218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atients with mCRPC and progression on prior NHA; harboring gene alterations</a:t>
              </a:r>
              <a:r>
                <a:rPr kumimoji="0" lang="en-US" altLang="en-US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†</a:t>
              </a:r>
              <a:r>
                <a:rPr kumimoji="0" lang="en-GB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with a role in HRR</a:t>
              </a:r>
            </a:p>
            <a:p>
              <a:pPr marL="0" marR="0" lvl="0" indent="0" algn="ctr" defTabSz="6094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387)</a:t>
              </a:r>
            </a:p>
          </p:txBody>
        </p:sp>
        <p:sp>
          <p:nvSpPr>
            <p:cNvPr id="15" name="Rectangle 49">
              <a:extLst>
                <a:ext uri="{FF2B5EF4-FFF2-40B4-BE49-F238E27FC236}">
                  <a16:creationId xmlns:a16="http://schemas.microsoft.com/office/drawing/2014/main" id="{5258998B-4349-40FB-A29E-F7FCEB883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8407" y="1821864"/>
              <a:ext cx="2667728" cy="6167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laparib</a:t>
              </a: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00 mg BID</a:t>
              </a:r>
              <a:endPara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162</a:t>
              </a:r>
              <a:r>
                <a:rPr kumimoji="0" lang="en-US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6" name="Rectangle 50">
              <a:extLst>
                <a:ext uri="{FF2B5EF4-FFF2-40B4-BE49-F238E27FC236}">
                  <a16:creationId xmlns:a16="http://schemas.microsoft.com/office/drawing/2014/main" id="{9F7A3E42-59DA-4078-BC3B-175CEE043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9173" y="2535056"/>
              <a:ext cx="2646962" cy="567905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hysician’s Choice*</a:t>
              </a: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83)</a:t>
              </a:r>
            </a:p>
          </p:txBody>
        </p:sp>
        <p:sp>
          <p:nvSpPr>
            <p:cNvPr id="17" name="Line 53">
              <a:extLst>
                <a:ext uri="{FF2B5EF4-FFF2-40B4-BE49-F238E27FC236}">
                  <a16:creationId xmlns:a16="http://schemas.microsoft.com/office/drawing/2014/main" id="{4AAF39E8-D461-48EB-99FD-B48D22942E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7636" y="2685998"/>
              <a:ext cx="486632" cy="250715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panose="020B0604020202020204" pitchFamily="34" charset="0"/>
              </a:endParaRPr>
            </a:p>
          </p:txBody>
        </p:sp>
        <p:sp>
          <p:nvSpPr>
            <p:cNvPr id="18" name="Line 54">
              <a:extLst>
                <a:ext uri="{FF2B5EF4-FFF2-40B4-BE49-F238E27FC236}">
                  <a16:creationId xmlns:a16="http://schemas.microsoft.com/office/drawing/2014/main" id="{C85AB391-8C17-4090-9AC6-A7C68CEFD1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97543" y="2207782"/>
              <a:ext cx="466725" cy="347662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panose="020B0604020202020204" pitchFamily="34" charset="0"/>
              </a:endParaRPr>
            </a:p>
          </p:txBody>
        </p:sp>
        <p:sp>
          <p:nvSpPr>
            <p:cNvPr id="19" name="TextBox 2">
              <a:extLst>
                <a:ext uri="{FF2B5EF4-FFF2-40B4-BE49-F238E27FC236}">
                  <a16:creationId xmlns:a16="http://schemas.microsoft.com/office/drawing/2014/main" id="{9E52ACD9-3D21-479D-9FB4-BB09B4CD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6899" y="2438621"/>
              <a:ext cx="70008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panose="020B0600070205080204" pitchFamily="34" charset="-128"/>
                  <a:cs typeface="+mn-cs"/>
                </a:rPr>
                <a:t>2:1</a:t>
              </a:r>
            </a:p>
          </p:txBody>
        </p:sp>
        <p:sp>
          <p:nvSpPr>
            <p:cNvPr id="23" name="Rectangle 49">
              <a:extLst>
                <a:ext uri="{FF2B5EF4-FFF2-40B4-BE49-F238E27FC236}">
                  <a16:creationId xmlns:a16="http://schemas.microsoft.com/office/drawing/2014/main" id="{84474A1B-F31E-40F2-AA23-9E25A6BD3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986" y="3199396"/>
              <a:ext cx="2629769" cy="5679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laparib</a:t>
              </a: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00 mg BID</a:t>
              </a:r>
              <a:endPara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</a:t>
              </a:r>
              <a:r>
                <a:rPr lang="en-US" altLang="en-US" sz="1600" b="0" dirty="0">
                  <a:solidFill>
                    <a:srgbClr val="FFFFFF"/>
                  </a:solidFill>
                  <a:latin typeface="Calibri" panose="020F0502020204030204" pitchFamily="34" charset="0"/>
                  <a:ea typeface="MS PGothic" panose="020B0600070205080204" pitchFamily="34" charset="-128"/>
                </a:rPr>
                <a:t>94</a:t>
              </a:r>
              <a:r>
                <a:rPr kumimoji="0" lang="en-US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4" name="Rectangle 50">
              <a:extLst>
                <a:ext uri="{FF2B5EF4-FFF2-40B4-BE49-F238E27FC236}">
                  <a16:creationId xmlns:a16="http://schemas.microsoft.com/office/drawing/2014/main" id="{F8EEB34D-FEE3-465A-830E-54561B6A1E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6366" y="3863735"/>
              <a:ext cx="2629768" cy="56790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hysician’s Choice*</a:t>
              </a: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</a:t>
              </a:r>
              <a:r>
                <a:rPr lang="en-US" altLang="en-US" sz="1600" b="0" dirty="0">
                  <a:solidFill>
                    <a:srgbClr val="FFFFFF"/>
                  </a:solidFill>
                  <a:latin typeface="Calibri" panose="020F0502020204030204" pitchFamily="34" charset="0"/>
                  <a:ea typeface="MS PGothic" panose="020B0600070205080204" pitchFamily="34" charset="-128"/>
                </a:rPr>
                <a:t>48</a:t>
              </a: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6" name="Rectangle 49">
              <a:extLst>
                <a:ext uri="{FF2B5EF4-FFF2-40B4-BE49-F238E27FC236}">
                  <a16:creationId xmlns:a16="http://schemas.microsoft.com/office/drawing/2014/main" id="{A10AA556-EF00-498C-A3DD-582126124B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7055" y="2160490"/>
              <a:ext cx="1593490" cy="97030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ohort A: </a:t>
              </a:r>
              <a:r>
                <a:rPr kumimoji="0" lang="en-US" alt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BRCA1, </a:t>
              </a: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BRCA2</a:t>
              </a: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, or </a:t>
              </a:r>
              <a:r>
                <a:rPr kumimoji="0" lang="en-US" alt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TM </a:t>
              </a:r>
              <a:br>
                <a:rPr kumimoji="0" lang="en-US" alt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lterations</a:t>
              </a: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245)</a:t>
              </a:r>
            </a:p>
          </p:txBody>
        </p:sp>
        <p:sp>
          <p:nvSpPr>
            <p:cNvPr id="27" name="Rectangle 49">
              <a:extLst>
                <a:ext uri="{FF2B5EF4-FFF2-40B4-BE49-F238E27FC236}">
                  <a16:creationId xmlns:a16="http://schemas.microsoft.com/office/drawing/2014/main" id="{8EBB8653-38A0-459C-B10D-817E99A56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7054" y="3263657"/>
              <a:ext cx="1593490" cy="97030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ohort B: Other </a:t>
              </a: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lterations</a:t>
              </a:r>
              <a:endParaRPr kumimoji="0" lang="en-US" alt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ctr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n = 142)</a:t>
              </a:r>
            </a:p>
          </p:txBody>
        </p:sp>
        <p:sp>
          <p:nvSpPr>
            <p:cNvPr id="28" name="Line 53">
              <a:extLst>
                <a:ext uri="{FF2B5EF4-FFF2-40B4-BE49-F238E27FC236}">
                  <a16:creationId xmlns:a16="http://schemas.microsoft.com/office/drawing/2014/main" id="{450CD92A-70EB-43CE-8893-3D0E1F54C2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6396" y="3943690"/>
              <a:ext cx="527965" cy="250716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panose="020B0604020202020204" pitchFamily="34" charset="0"/>
              </a:endParaRPr>
            </a:p>
          </p:txBody>
        </p:sp>
        <p:sp>
          <p:nvSpPr>
            <p:cNvPr id="29" name="Line 54">
              <a:extLst>
                <a:ext uri="{FF2B5EF4-FFF2-40B4-BE49-F238E27FC236}">
                  <a16:creationId xmlns:a16="http://schemas.microsoft.com/office/drawing/2014/main" id="{4C988600-EF55-4677-B464-F5D20E7CC8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6396" y="3440559"/>
              <a:ext cx="547872" cy="250715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2">
              <a:extLst>
                <a:ext uri="{FF2B5EF4-FFF2-40B4-BE49-F238E27FC236}">
                  <a16:creationId xmlns:a16="http://schemas.microsoft.com/office/drawing/2014/main" id="{DADDD383-4EBE-439C-B488-48A171B196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6871" y="3651588"/>
              <a:ext cx="70008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panose="020B0600070205080204" pitchFamily="34" charset="-128"/>
                  <a:cs typeface="+mn-cs"/>
                </a:rPr>
                <a:t>2:1</a:t>
              </a:r>
            </a:p>
          </p:txBody>
        </p:sp>
        <p:grpSp>
          <p:nvGrpSpPr>
            <p:cNvPr id="24583" name="Group 24582">
              <a:extLst>
                <a:ext uri="{FF2B5EF4-FFF2-40B4-BE49-F238E27FC236}">
                  <a16:creationId xmlns:a16="http://schemas.microsoft.com/office/drawing/2014/main" id="{E022A3CE-3660-4525-BC0E-5733D6126F93}"/>
                </a:ext>
              </a:extLst>
            </p:cNvPr>
            <p:cNvGrpSpPr/>
            <p:nvPr/>
          </p:nvGrpSpPr>
          <p:grpSpPr>
            <a:xfrm>
              <a:off x="2780159" y="2638734"/>
              <a:ext cx="310896" cy="1084733"/>
              <a:chOff x="2706624" y="3091909"/>
              <a:chExt cx="310896" cy="1728548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109CF96-E782-4B47-804C-8795A8AAB18F}"/>
                  </a:ext>
                </a:extLst>
              </p:cNvPr>
              <p:cNvCxnSpPr/>
              <p:nvPr/>
            </p:nvCxnSpPr>
            <p:spPr bwMode="auto">
              <a:xfrm>
                <a:off x="2726032" y="3098818"/>
                <a:ext cx="0" cy="1721639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577" name="Straight Connector 24576">
                <a:extLst>
                  <a:ext uri="{FF2B5EF4-FFF2-40B4-BE49-F238E27FC236}">
                    <a16:creationId xmlns:a16="http://schemas.microsoft.com/office/drawing/2014/main" id="{CA749D7F-68D1-413F-A5D6-4B1141F69FA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706624" y="4813548"/>
                <a:ext cx="31089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579" name="Straight Connector 24578">
                <a:extLst>
                  <a:ext uri="{FF2B5EF4-FFF2-40B4-BE49-F238E27FC236}">
                    <a16:creationId xmlns:a16="http://schemas.microsoft.com/office/drawing/2014/main" id="{EB0C13FE-7A2F-4954-A8E5-3A89E01739D2}"/>
                  </a:ext>
                </a:extLst>
              </p:cNvPr>
              <p:cNvCxnSpPr/>
              <p:nvPr/>
            </p:nvCxnSpPr>
            <p:spPr bwMode="auto">
              <a:xfrm flipV="1">
                <a:off x="2706624" y="3091909"/>
                <a:ext cx="310896" cy="6909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D46CDE14-5A4A-4F9C-BD07-D5273C6CD22A}"/>
                </a:ext>
              </a:extLst>
            </p:cNvPr>
            <p:cNvCxnSpPr/>
            <p:nvPr/>
          </p:nvCxnSpPr>
          <p:spPr bwMode="auto">
            <a:xfrm>
              <a:off x="5130905" y="1686939"/>
              <a:ext cx="0" cy="494955"/>
            </a:xfrm>
            <a:prstGeom prst="straightConnector1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01AB641-8C87-48C3-AAAE-987D7AC45B23}"/>
                </a:ext>
              </a:extLst>
            </p:cNvPr>
            <p:cNvSpPr txBox="1"/>
            <p:nvPr/>
          </p:nvSpPr>
          <p:spPr bwMode="auto">
            <a:xfrm>
              <a:off x="3440719" y="1290435"/>
              <a:ext cx="361244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tratified by previous taxane (yes vs no) and measurable disease (yes vs no)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54C1953-E34A-4888-9F04-DF92ED45B7C1}"/>
                </a:ext>
              </a:extLst>
            </p:cNvPr>
            <p:cNvSpPr txBox="1"/>
            <p:nvPr/>
          </p:nvSpPr>
          <p:spPr bwMode="auto">
            <a:xfrm>
              <a:off x="8400535" y="3627792"/>
              <a:ext cx="978340" cy="5232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D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y BICR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CF1AF1E-79EF-4EE1-820E-EE6C55C88835}"/>
                </a:ext>
              </a:extLst>
            </p:cNvPr>
            <p:cNvCxnSpPr/>
            <p:nvPr/>
          </p:nvCxnSpPr>
          <p:spPr bwMode="auto">
            <a:xfrm>
              <a:off x="8318673" y="4290411"/>
              <a:ext cx="571032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516B0E-0512-44E5-9A58-4D632DA801DC}"/>
                </a:ext>
              </a:extLst>
            </p:cNvPr>
            <p:cNvCxnSpPr/>
            <p:nvPr/>
          </p:nvCxnSpPr>
          <p:spPr bwMode="auto">
            <a:xfrm flipV="1">
              <a:off x="8889705" y="4077365"/>
              <a:ext cx="0" cy="213046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981DC12-7922-4DB6-85BC-700521CF00D1}"/>
                </a:ext>
              </a:extLst>
            </p:cNvPr>
            <p:cNvCxnSpPr/>
            <p:nvPr/>
          </p:nvCxnSpPr>
          <p:spPr bwMode="auto">
            <a:xfrm flipV="1">
              <a:off x="8882006" y="3483507"/>
              <a:ext cx="0" cy="213046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9F7D5746-3951-43E3-8A26-98FBEFED953B}"/>
                </a:ext>
              </a:extLst>
            </p:cNvPr>
            <p:cNvCxnSpPr/>
            <p:nvPr/>
          </p:nvCxnSpPr>
          <p:spPr bwMode="auto">
            <a:xfrm flipH="1">
              <a:off x="8318673" y="3483348"/>
              <a:ext cx="571032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85C61D6-7EB7-45F4-A069-8C066B5EAAC6}"/>
                </a:ext>
              </a:extLst>
            </p:cNvPr>
            <p:cNvSpPr txBox="1"/>
            <p:nvPr/>
          </p:nvSpPr>
          <p:spPr bwMode="auto">
            <a:xfrm>
              <a:off x="8400535" y="2334149"/>
              <a:ext cx="978340" cy="5232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D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y BICR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4CD8AFB-064F-4DE7-A19F-3A598AD79F40}"/>
                </a:ext>
              </a:extLst>
            </p:cNvPr>
            <p:cNvCxnSpPr/>
            <p:nvPr/>
          </p:nvCxnSpPr>
          <p:spPr bwMode="auto">
            <a:xfrm>
              <a:off x="8318673" y="2996768"/>
              <a:ext cx="571032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7CDA198-BB83-44B2-BE70-E068F8E4DF19}"/>
                </a:ext>
              </a:extLst>
            </p:cNvPr>
            <p:cNvCxnSpPr/>
            <p:nvPr/>
          </p:nvCxnSpPr>
          <p:spPr bwMode="auto">
            <a:xfrm flipV="1">
              <a:off x="8889705" y="2783722"/>
              <a:ext cx="0" cy="213046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72673E0-C472-4A05-AC33-CA134D660E43}"/>
                </a:ext>
              </a:extLst>
            </p:cNvPr>
            <p:cNvCxnSpPr/>
            <p:nvPr/>
          </p:nvCxnSpPr>
          <p:spPr bwMode="auto">
            <a:xfrm flipV="1">
              <a:off x="8882006" y="2189864"/>
              <a:ext cx="0" cy="213046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A29F5A80-E0A7-49F0-9E0D-A2FD231C1547}"/>
                </a:ext>
              </a:extLst>
            </p:cNvPr>
            <p:cNvCxnSpPr/>
            <p:nvPr/>
          </p:nvCxnSpPr>
          <p:spPr bwMode="auto">
            <a:xfrm flipH="1">
              <a:off x="8318673" y="2189705"/>
              <a:ext cx="571032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bg1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91075A7-2981-471B-A6E4-D56CF72BCDAA}"/>
                </a:ext>
              </a:extLst>
            </p:cNvPr>
            <p:cNvSpPr/>
            <p:nvPr/>
          </p:nvSpPr>
          <p:spPr>
            <a:xfrm>
              <a:off x="9156161" y="2759036"/>
              <a:ext cx="237105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rossover allowed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upon progression on Physician’s Choice therapy</a:t>
              </a:r>
            </a:p>
          </p:txBody>
        </p:sp>
      </p:grpSp>
      <p:sp>
        <p:nvSpPr>
          <p:cNvPr id="41" name="Text Box 15">
            <a:extLst>
              <a:ext uri="{FF2B5EF4-FFF2-40B4-BE49-F238E27FC236}">
                <a16:creationId xmlns:a16="http://schemas.microsoft.com/office/drawing/2014/main" id="{1811692B-778B-4AC3-B579-F048A82A2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583" y="6369251"/>
            <a:ext cx="3377584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 Bono. NEJM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ff-scala-sans-pro"/>
                <a:ea typeface="+mn-ea"/>
                <a:cs typeface="Calibri" panose="020F0502020204030204" pitchFamily="34" charset="0"/>
              </a:rPr>
              <a:t>2020;382:2091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r>
              <a:rPr lang="en-US" altLang="en-US" sz="1200" b="0" spc="-10" dirty="0">
                <a:solidFill>
                  <a:srgbClr val="4555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CT02987543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4275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99EF722-0BCC-B44C-9F3C-B86E37DAD2C6}"/>
              </a:ext>
            </a:extLst>
          </p:cNvPr>
          <p:cNvGrpSpPr/>
          <p:nvPr/>
        </p:nvGrpSpPr>
        <p:grpSpPr>
          <a:xfrm>
            <a:off x="1194098" y="1389685"/>
            <a:ext cx="8471737" cy="4522821"/>
            <a:chOff x="1194098" y="1389685"/>
            <a:chExt cx="8471737" cy="4522821"/>
          </a:xfrm>
        </p:grpSpPr>
        <p:sp>
          <p:nvSpPr>
            <p:cNvPr id="38" name="object 38"/>
            <p:cNvSpPr/>
            <p:nvPr/>
          </p:nvSpPr>
          <p:spPr>
            <a:xfrm>
              <a:off x="6173724" y="1389685"/>
              <a:ext cx="2859193" cy="964353"/>
            </a:xfrm>
            <a:custGeom>
              <a:avLst/>
              <a:gdLst/>
              <a:ahLst/>
              <a:cxnLst/>
              <a:rect l="l" t="t" r="r" b="b"/>
              <a:pathLst>
                <a:path w="2144395" h="723264">
                  <a:moveTo>
                    <a:pt x="0" y="722655"/>
                  </a:moveTo>
                  <a:lnTo>
                    <a:pt x="2144267" y="722655"/>
                  </a:lnTo>
                  <a:lnTo>
                    <a:pt x="2144267" y="0"/>
                  </a:lnTo>
                  <a:lnTo>
                    <a:pt x="0" y="0"/>
                  </a:lnTo>
                  <a:lnTo>
                    <a:pt x="0" y="72265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6173724" y="2353192"/>
              <a:ext cx="2859193" cy="395393"/>
            </a:xfrm>
            <a:custGeom>
              <a:avLst/>
              <a:gdLst/>
              <a:ahLst/>
              <a:cxnLst/>
              <a:rect l="l" t="t" r="r" b="b"/>
              <a:pathLst>
                <a:path w="2144395" h="296544">
                  <a:moveTo>
                    <a:pt x="0" y="295935"/>
                  </a:moveTo>
                  <a:lnTo>
                    <a:pt x="2144267" y="295935"/>
                  </a:lnTo>
                  <a:lnTo>
                    <a:pt x="2144267" y="0"/>
                  </a:lnTo>
                  <a:lnTo>
                    <a:pt x="0" y="0"/>
                  </a:lnTo>
                  <a:lnTo>
                    <a:pt x="0" y="29593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6173724" y="2747738"/>
              <a:ext cx="2859193" cy="395393"/>
            </a:xfrm>
            <a:custGeom>
              <a:avLst/>
              <a:gdLst/>
              <a:ahLst/>
              <a:cxnLst/>
              <a:rect l="l" t="t" r="r" b="b"/>
              <a:pathLst>
                <a:path w="2144395" h="296544">
                  <a:moveTo>
                    <a:pt x="0" y="295935"/>
                  </a:moveTo>
                  <a:lnTo>
                    <a:pt x="2144267" y="295935"/>
                  </a:lnTo>
                  <a:lnTo>
                    <a:pt x="2144267" y="0"/>
                  </a:lnTo>
                  <a:lnTo>
                    <a:pt x="0" y="0"/>
                  </a:lnTo>
                  <a:lnTo>
                    <a:pt x="0" y="29593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6173724" y="3142386"/>
              <a:ext cx="2859193" cy="701887"/>
            </a:xfrm>
            <a:custGeom>
              <a:avLst/>
              <a:gdLst/>
              <a:ahLst/>
              <a:cxnLst/>
              <a:rect l="l" t="t" r="r" b="b"/>
              <a:pathLst>
                <a:path w="2144395" h="526414">
                  <a:moveTo>
                    <a:pt x="0" y="526110"/>
                  </a:moveTo>
                  <a:lnTo>
                    <a:pt x="2144267" y="526110"/>
                  </a:lnTo>
                  <a:lnTo>
                    <a:pt x="2144267" y="0"/>
                  </a:lnTo>
                  <a:lnTo>
                    <a:pt x="0" y="0"/>
                  </a:lnTo>
                  <a:lnTo>
                    <a:pt x="0" y="52611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schemeClr val="bg1"/>
                </a:solidFill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D7160ACD-7E67-44ED-8752-48AF4D74F1A8}"/>
                </a:ext>
              </a:extLst>
            </p:cNvPr>
            <p:cNvGrpSpPr/>
            <p:nvPr/>
          </p:nvGrpSpPr>
          <p:grpSpPr>
            <a:xfrm>
              <a:off x="1194098" y="5266175"/>
              <a:ext cx="8369449" cy="646331"/>
              <a:chOff x="469002" y="5525869"/>
              <a:chExt cx="6996398" cy="646331"/>
            </a:xfrm>
          </p:grpSpPr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2258F0AD-B342-46E9-81E9-96F48C27A905}"/>
                  </a:ext>
                </a:extLst>
              </p:cNvPr>
              <p:cNvSpPr txBox="1"/>
              <p:nvPr/>
            </p:nvSpPr>
            <p:spPr bwMode="auto">
              <a:xfrm>
                <a:off x="469002" y="5525869"/>
                <a:ext cx="1334468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atients at Risk, n</a:t>
                </a:r>
                <a:b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laparib</a:t>
                </a:r>
                <a:b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dirty="0">
                    <a:solidFill>
                      <a:schemeClr val="accent3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ntrol</a:t>
                </a:r>
                <a:endParaRPr lang="en-US" sz="1200" b="1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CC37B71C-AD5C-4D64-B0EB-EC8BCC7A093E}"/>
                  </a:ext>
                </a:extLst>
              </p:cNvPr>
              <p:cNvSpPr txBox="1"/>
              <p:nvPr/>
            </p:nvSpPr>
            <p:spPr bwMode="auto">
              <a:xfrm>
                <a:off x="1678658" y="5710535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8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6C7755A-AA47-4E8C-815D-10E9143CACC8}"/>
                  </a:ext>
                </a:extLst>
              </p:cNvPr>
              <p:cNvSpPr txBox="1"/>
              <p:nvPr/>
            </p:nvSpPr>
            <p:spPr bwMode="auto">
              <a:xfrm>
                <a:off x="1933185" y="5710535"/>
                <a:ext cx="420308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49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9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79969907-D9E9-4D0A-96CF-5302B53A3B11}"/>
                  </a:ext>
                </a:extLst>
              </p:cNvPr>
              <p:cNvSpPr txBox="1"/>
              <p:nvPr/>
            </p:nvSpPr>
            <p:spPr bwMode="auto">
              <a:xfrm>
                <a:off x="2200766" y="5710535"/>
                <a:ext cx="419303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7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65BF33DF-4079-4D00-990B-0B303D4C0574}"/>
                  </a:ext>
                </a:extLst>
              </p:cNvPr>
              <p:cNvSpPr txBox="1"/>
              <p:nvPr/>
            </p:nvSpPr>
            <p:spPr bwMode="auto">
              <a:xfrm>
                <a:off x="2467696" y="5710535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1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4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271A9A24-4B4D-485C-A772-37D6994C34F0}"/>
                  </a:ext>
                </a:extLst>
              </p:cNvPr>
              <p:cNvSpPr txBox="1"/>
              <p:nvPr/>
            </p:nvSpPr>
            <p:spPr bwMode="auto">
              <a:xfrm>
                <a:off x="2718188" y="5710535"/>
                <a:ext cx="420308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BACB4024-F1F2-46FD-AEA0-8224AFFFFC90}"/>
                  </a:ext>
                </a:extLst>
              </p:cNvPr>
              <p:cNvSpPr txBox="1"/>
              <p:nvPr/>
            </p:nvSpPr>
            <p:spPr bwMode="auto">
              <a:xfrm>
                <a:off x="2961101" y="5710535"/>
                <a:ext cx="420308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60303F46-C83D-484D-96D9-E7494636E37B}"/>
                  </a:ext>
                </a:extLst>
              </p:cNvPr>
              <p:cNvSpPr txBox="1"/>
              <p:nvPr/>
            </p:nvSpPr>
            <p:spPr bwMode="auto">
              <a:xfrm>
                <a:off x="3278674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8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5405489-BA1E-472F-BA6A-9613647E8834}"/>
                  </a:ext>
                </a:extLst>
              </p:cNvPr>
              <p:cNvSpPr txBox="1"/>
              <p:nvPr/>
            </p:nvSpPr>
            <p:spPr bwMode="auto">
              <a:xfrm>
                <a:off x="3524622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7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1825E9ED-4DA9-4545-88F4-4A2E6F027156}"/>
                  </a:ext>
                </a:extLst>
              </p:cNvPr>
              <p:cNvSpPr txBox="1"/>
              <p:nvPr/>
            </p:nvSpPr>
            <p:spPr bwMode="auto">
              <a:xfrm>
                <a:off x="3796972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4559EE48-12C5-4FB8-89BE-9F3C530062B7}"/>
                  </a:ext>
                </a:extLst>
              </p:cNvPr>
              <p:cNvSpPr txBox="1"/>
              <p:nvPr/>
            </p:nvSpPr>
            <p:spPr bwMode="auto">
              <a:xfrm>
                <a:off x="4066049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93B1187F-69E6-4E50-8175-359983ABBFEC}"/>
                  </a:ext>
                </a:extLst>
              </p:cNvPr>
              <p:cNvSpPr txBox="1"/>
              <p:nvPr/>
            </p:nvSpPr>
            <p:spPr bwMode="auto">
              <a:xfrm>
                <a:off x="4311488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F5D2A71B-A3A9-4A04-86B7-D46207138450}"/>
                  </a:ext>
                </a:extLst>
              </p:cNvPr>
              <p:cNvSpPr txBox="1"/>
              <p:nvPr/>
            </p:nvSpPr>
            <p:spPr bwMode="auto">
              <a:xfrm>
                <a:off x="4573272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7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A7BFDD9D-2C79-478B-AFFC-938B85071981}"/>
                  </a:ext>
                </a:extLst>
              </p:cNvPr>
              <p:cNvSpPr txBox="1"/>
              <p:nvPr/>
            </p:nvSpPr>
            <p:spPr bwMode="auto">
              <a:xfrm>
                <a:off x="4835439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6443B821-D506-4B48-A8F9-5BBBA01F0FF2}"/>
                  </a:ext>
                </a:extLst>
              </p:cNvPr>
              <p:cNvSpPr txBox="1"/>
              <p:nvPr/>
            </p:nvSpPr>
            <p:spPr bwMode="auto">
              <a:xfrm>
                <a:off x="5088972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4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9D00119-9226-4ABB-8F8B-ACD844FF7329}"/>
                  </a:ext>
                </a:extLst>
              </p:cNvPr>
              <p:cNvSpPr txBox="1"/>
              <p:nvPr/>
            </p:nvSpPr>
            <p:spPr bwMode="auto">
              <a:xfrm>
                <a:off x="5351139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6FE49859-C872-488A-A5E5-C7A757422358}"/>
                  </a:ext>
                </a:extLst>
              </p:cNvPr>
              <p:cNvSpPr txBox="1"/>
              <p:nvPr/>
            </p:nvSpPr>
            <p:spPr bwMode="auto">
              <a:xfrm>
                <a:off x="5604674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096030F2-3E96-4EA9-96DA-B84405E4EBE1}"/>
                  </a:ext>
                </a:extLst>
              </p:cNvPr>
              <p:cNvSpPr txBox="1"/>
              <p:nvPr/>
            </p:nvSpPr>
            <p:spPr bwMode="auto">
              <a:xfrm>
                <a:off x="5858209" y="5710535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47B81F53-2C2F-4382-849F-1B117D9DCAF6}"/>
                  </a:ext>
                </a:extLst>
              </p:cNvPr>
              <p:cNvSpPr txBox="1"/>
              <p:nvPr/>
            </p:nvSpPr>
            <p:spPr bwMode="auto">
              <a:xfrm>
                <a:off x="6155098" y="5710535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781A3361-5960-403D-BDA4-518F9BB27560}"/>
                  </a:ext>
                </a:extLst>
              </p:cNvPr>
              <p:cNvSpPr txBox="1"/>
              <p:nvPr/>
            </p:nvSpPr>
            <p:spPr bwMode="auto">
              <a:xfrm>
                <a:off x="6426110" y="5710535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526AA66D-BAD5-472C-B995-3320D92729B8}"/>
                  </a:ext>
                </a:extLst>
              </p:cNvPr>
              <p:cNvSpPr txBox="1"/>
              <p:nvPr/>
            </p:nvSpPr>
            <p:spPr bwMode="auto">
              <a:xfrm>
                <a:off x="6685225" y="5710535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BC0B4DB1-6105-4948-9782-07885C2E8CA3}"/>
                  </a:ext>
                </a:extLst>
              </p:cNvPr>
              <p:cNvSpPr txBox="1"/>
              <p:nvPr/>
            </p:nvSpPr>
            <p:spPr bwMode="auto">
              <a:xfrm>
                <a:off x="6946216" y="5710535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77BF54FA-8D1C-498A-906D-2C321294B2ED}"/>
                  </a:ext>
                </a:extLst>
              </p:cNvPr>
              <p:cNvSpPr txBox="1"/>
              <p:nvPr/>
            </p:nvSpPr>
            <p:spPr bwMode="auto">
              <a:xfrm>
                <a:off x="7202186" y="5710535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F4567E4-1942-4E35-96A4-868D85A12ECB}"/>
                </a:ext>
              </a:extLst>
            </p:cNvPr>
            <p:cNvSpPr txBox="1"/>
            <p:nvPr/>
          </p:nvSpPr>
          <p:spPr bwMode="auto">
            <a:xfrm>
              <a:off x="5616136" y="1550575"/>
              <a:ext cx="60164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dirty="0">
                  <a:solidFill>
                    <a:schemeClr val="bg1"/>
                  </a:solidFill>
                  <a:latin typeface="Calibri" panose="020F0502020204030204" pitchFamily="34" charset="0"/>
                </a:rPr>
                <a:t>rPFS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FF1710B-A909-4075-B428-405ACFBB7FAB}"/>
                </a:ext>
              </a:extLst>
            </p:cNvPr>
            <p:cNvSpPr txBox="1"/>
            <p:nvPr/>
          </p:nvSpPr>
          <p:spPr bwMode="auto">
            <a:xfrm rot="16200000">
              <a:off x="107577" y="3215186"/>
              <a:ext cx="37705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dirty="0">
                  <a:solidFill>
                    <a:schemeClr val="bg1"/>
                  </a:solidFill>
                  <a:latin typeface="Calibri" panose="020F0502020204030204" pitchFamily="34" charset="0"/>
                </a:rPr>
                <a:t>Probability of Imaging-Based PF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F05100A-76C3-40FD-B416-B791E401E47A}"/>
                </a:ext>
              </a:extLst>
            </p:cNvPr>
            <p:cNvSpPr txBox="1"/>
            <p:nvPr/>
          </p:nvSpPr>
          <p:spPr bwMode="auto">
            <a:xfrm>
              <a:off x="4459045" y="5154706"/>
              <a:ext cx="314840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dirty="0">
                  <a:solidFill>
                    <a:schemeClr val="bg1"/>
                  </a:solidFill>
                  <a:latin typeface="Calibri" panose="020F0502020204030204" pitchFamily="34" charset="0"/>
                </a:rPr>
                <a:t>Mo Since Randomization</a:t>
              </a:r>
            </a:p>
          </p:txBody>
        </p:sp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93BB6F9-4250-4B33-96B6-4CAA01BF233B}"/>
                </a:ext>
              </a:extLst>
            </p:cNvPr>
            <p:cNvSpPr/>
            <p:nvPr/>
          </p:nvSpPr>
          <p:spPr bwMode="auto">
            <a:xfrm>
              <a:off x="2824402" y="1811147"/>
              <a:ext cx="6587916" cy="3022110"/>
            </a:xfrm>
            <a:custGeom>
              <a:avLst/>
              <a:gdLst>
                <a:gd name="connsiteX0" fmla="*/ 0 w 6587916"/>
                <a:gd name="connsiteY0" fmla="*/ 0 h 3022110"/>
                <a:gd name="connsiteX1" fmla="*/ 0 w 6587916"/>
                <a:gd name="connsiteY1" fmla="*/ 3022110 h 3022110"/>
                <a:gd name="connsiteX2" fmla="*/ 6587916 w 6587916"/>
                <a:gd name="connsiteY2" fmla="*/ 3022110 h 3022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87916" h="3022110">
                  <a:moveTo>
                    <a:pt x="0" y="0"/>
                  </a:moveTo>
                  <a:lnTo>
                    <a:pt x="0" y="3022110"/>
                  </a:lnTo>
                  <a:lnTo>
                    <a:pt x="6587916" y="3022110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2E1B7E3-3DD6-485B-9759-4544D3CB56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1812471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0FE367F-DCD0-45C5-A629-C60B627E526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2416846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90527B71-C602-4881-9C64-2A45DB42CC0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3021221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D844C2-909F-490E-81AD-6CDBD87D6EA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3625596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DBE0E934-37A4-49AE-902D-56FD5C5EA1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4229971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E9ED5A5-DE21-474F-9DAF-CB03173871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3402" y="4834345"/>
              <a:ext cx="9470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4B3315D-ED83-4A95-9BE2-6E9FD2B3D682}"/>
                </a:ext>
              </a:extLst>
            </p:cNvPr>
            <p:cNvSpPr txBox="1"/>
            <p:nvPr/>
          </p:nvSpPr>
          <p:spPr bwMode="auto">
            <a:xfrm>
              <a:off x="2219596" y="1617618"/>
              <a:ext cx="65641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.0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90363F4-5D94-4EDB-862B-A68D3250D5F0}"/>
                </a:ext>
              </a:extLst>
            </p:cNvPr>
            <p:cNvSpPr txBox="1"/>
            <p:nvPr/>
          </p:nvSpPr>
          <p:spPr bwMode="auto">
            <a:xfrm>
              <a:off x="2219596" y="2222863"/>
              <a:ext cx="6934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80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79ABB5E-876C-4EB9-92FE-619E1476B53F}"/>
                </a:ext>
              </a:extLst>
            </p:cNvPr>
            <p:cNvSpPr txBox="1"/>
            <p:nvPr/>
          </p:nvSpPr>
          <p:spPr bwMode="auto">
            <a:xfrm>
              <a:off x="2219596" y="2827020"/>
              <a:ext cx="6934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60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0E6F000-4784-405A-9A21-B8C2FC68F0E8}"/>
                </a:ext>
              </a:extLst>
            </p:cNvPr>
            <p:cNvSpPr txBox="1"/>
            <p:nvPr/>
          </p:nvSpPr>
          <p:spPr bwMode="auto">
            <a:xfrm>
              <a:off x="2219596" y="3418115"/>
              <a:ext cx="6934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40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0379175-FB81-435C-B275-A4582099163C}"/>
                </a:ext>
              </a:extLst>
            </p:cNvPr>
            <p:cNvSpPr txBox="1"/>
            <p:nvPr/>
          </p:nvSpPr>
          <p:spPr bwMode="auto">
            <a:xfrm>
              <a:off x="2219596" y="4032069"/>
              <a:ext cx="6934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20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E24EC55-DEA3-4277-9EC6-B00366D0C45B}"/>
                </a:ext>
              </a:extLst>
            </p:cNvPr>
            <p:cNvSpPr txBox="1"/>
            <p:nvPr/>
          </p:nvSpPr>
          <p:spPr bwMode="auto">
            <a:xfrm>
              <a:off x="2461260" y="4649289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01D2454-387F-41F6-91E4-BF1C851576DC}"/>
                </a:ext>
              </a:extLst>
            </p:cNvPr>
            <p:cNvGrpSpPr/>
            <p:nvPr/>
          </p:nvGrpSpPr>
          <p:grpSpPr>
            <a:xfrm>
              <a:off x="2823328" y="4819453"/>
              <a:ext cx="6602690" cy="90211"/>
              <a:chOff x="2823328" y="4843678"/>
              <a:chExt cx="6602690" cy="65987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8E1A41C8-4A6D-46C6-8DFA-D5200C6B235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82332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092BBE56-C90F-4B94-8A4B-D7E9DD76BA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37742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1BA92D6C-8C65-40B5-8E63-AC0A70FCAB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452156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7F13F850-A1AC-4E62-BF4D-2802DDE904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66570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140B4BFE-A2C9-4264-9DBC-30726D5171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80984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8C23035-7472-4410-AF3D-EF8D7445EA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9539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29A818F6-7463-4C0B-9E90-620C62EDCAE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09812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EF2E634-BE6E-4F74-B606-C240A3DE555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024226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58CB8D71-C361-450E-AB24-CD584226C71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338640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B50F181C-080F-4653-A166-53C9EA04657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653054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6E36789-0638-460E-92AC-DDE0417C71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96746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FD3731F-78EC-4B03-AAD9-1CC85BD8A1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281882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DE5276BE-1300-4E3D-9ED1-F9FB2CAE59A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596296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233E99B6-F56A-4508-B5F5-311D1A8A1A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910710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DB45CFF4-2456-45EE-B89F-AAB4B2DFCE3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225124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0E682AC2-4B55-4F20-9C32-B4B0164988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53953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3671907E-2E37-4FDC-A835-9AF9EA8D35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853952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71FAF85-7860-41DF-B8DF-D36F619D6B5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68366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456AC283-A434-48A5-8610-07D0D3A7D4C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482780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1EAAAD07-363D-4FB8-A228-071D1182CB3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97194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094A256F-D326-4970-8EA8-6DF32199A77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11160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549DAD8-43D4-4D0B-978F-9AECB7E8F3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26018" y="4843678"/>
                <a:ext cx="0" cy="65987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78397F9-1E80-4584-8B7E-A27279F33FFB}"/>
                </a:ext>
              </a:extLst>
            </p:cNvPr>
            <p:cNvSpPr txBox="1"/>
            <p:nvPr/>
          </p:nvSpPr>
          <p:spPr bwMode="auto">
            <a:xfrm>
              <a:off x="2675709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FD062F2-19B1-4BBE-BA88-6625FF957157}"/>
                </a:ext>
              </a:extLst>
            </p:cNvPr>
            <p:cNvSpPr txBox="1"/>
            <p:nvPr/>
          </p:nvSpPr>
          <p:spPr bwMode="auto">
            <a:xfrm>
              <a:off x="2994660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8BFEA24-7F95-491E-906A-697674F7B924}"/>
                </a:ext>
              </a:extLst>
            </p:cNvPr>
            <p:cNvSpPr txBox="1"/>
            <p:nvPr/>
          </p:nvSpPr>
          <p:spPr bwMode="auto">
            <a:xfrm>
              <a:off x="3310346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75281C1-C2A6-4720-A507-C685B37D2D86}"/>
                </a:ext>
              </a:extLst>
            </p:cNvPr>
            <p:cNvSpPr txBox="1"/>
            <p:nvPr/>
          </p:nvSpPr>
          <p:spPr bwMode="auto">
            <a:xfrm>
              <a:off x="3616234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3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298393E-B003-49DC-8311-2A1D39643058}"/>
                </a:ext>
              </a:extLst>
            </p:cNvPr>
            <p:cNvSpPr txBox="1"/>
            <p:nvPr/>
          </p:nvSpPr>
          <p:spPr bwMode="auto">
            <a:xfrm>
              <a:off x="3931920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4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366322F8-5471-4892-9AA4-56389964440B}"/>
                </a:ext>
              </a:extLst>
            </p:cNvPr>
            <p:cNvSpPr txBox="1"/>
            <p:nvPr/>
          </p:nvSpPr>
          <p:spPr bwMode="auto">
            <a:xfrm>
              <a:off x="4250872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5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33C0448B-7927-44F9-802B-D0478DACB749}"/>
                </a:ext>
              </a:extLst>
            </p:cNvPr>
            <p:cNvSpPr txBox="1"/>
            <p:nvPr/>
          </p:nvSpPr>
          <p:spPr bwMode="auto">
            <a:xfrm>
              <a:off x="4563292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6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6D1F8D1-6709-4EBE-B216-2A32035A54FF}"/>
                </a:ext>
              </a:extLst>
            </p:cNvPr>
            <p:cNvSpPr txBox="1"/>
            <p:nvPr/>
          </p:nvSpPr>
          <p:spPr bwMode="auto">
            <a:xfrm>
              <a:off x="4872446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7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E4A2D8AA-07F0-4AC1-93A4-C8E58D0D54EB}"/>
                </a:ext>
              </a:extLst>
            </p:cNvPr>
            <p:cNvSpPr txBox="1"/>
            <p:nvPr/>
          </p:nvSpPr>
          <p:spPr bwMode="auto">
            <a:xfrm>
              <a:off x="5181600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8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264923D-596A-411D-B1E1-D9DB6B299A10}"/>
                </a:ext>
              </a:extLst>
            </p:cNvPr>
            <p:cNvSpPr txBox="1"/>
            <p:nvPr/>
          </p:nvSpPr>
          <p:spPr bwMode="auto">
            <a:xfrm>
              <a:off x="5513615" y="4811486"/>
              <a:ext cx="34072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9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A9C9A87-0851-4D32-A9B7-8BBA5422E202}"/>
                </a:ext>
              </a:extLst>
            </p:cNvPr>
            <p:cNvSpPr txBox="1"/>
            <p:nvPr/>
          </p:nvSpPr>
          <p:spPr bwMode="auto">
            <a:xfrm>
              <a:off x="5760720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0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C47CC71A-AAE1-4DCB-AF0E-AD0003578D8D}"/>
                </a:ext>
              </a:extLst>
            </p:cNvPr>
            <p:cNvSpPr txBox="1"/>
            <p:nvPr/>
          </p:nvSpPr>
          <p:spPr bwMode="auto">
            <a:xfrm>
              <a:off x="6079673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1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6A60ED67-0E57-43B3-87A0-E4E42AC78D40}"/>
                </a:ext>
              </a:extLst>
            </p:cNvPr>
            <p:cNvSpPr txBox="1"/>
            <p:nvPr/>
          </p:nvSpPr>
          <p:spPr bwMode="auto">
            <a:xfrm>
              <a:off x="6399712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2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A953B908-3609-438A-BD39-7609E6C0F625}"/>
                </a:ext>
              </a:extLst>
            </p:cNvPr>
            <p:cNvSpPr txBox="1"/>
            <p:nvPr/>
          </p:nvSpPr>
          <p:spPr bwMode="auto">
            <a:xfrm>
              <a:off x="6715397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3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4AD6CDD-C4E9-424E-B1A2-69A70D0AAFD2}"/>
                </a:ext>
              </a:extLst>
            </p:cNvPr>
            <p:cNvSpPr txBox="1"/>
            <p:nvPr/>
          </p:nvSpPr>
          <p:spPr bwMode="auto">
            <a:xfrm>
              <a:off x="7011489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4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36E01F39-DACF-4E28-A2D1-ED5935A0F329}"/>
                </a:ext>
              </a:extLst>
            </p:cNvPr>
            <p:cNvSpPr txBox="1"/>
            <p:nvPr/>
          </p:nvSpPr>
          <p:spPr bwMode="auto">
            <a:xfrm>
              <a:off x="7343503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5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6FC173B-7354-451D-B9EC-C0E37BE8418A}"/>
                </a:ext>
              </a:extLst>
            </p:cNvPr>
            <p:cNvSpPr txBox="1"/>
            <p:nvPr/>
          </p:nvSpPr>
          <p:spPr bwMode="auto">
            <a:xfrm>
              <a:off x="7649392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6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B854C14D-E0F8-4C5A-BB7A-EBE27581DB4C}"/>
                </a:ext>
              </a:extLst>
            </p:cNvPr>
            <p:cNvSpPr txBox="1"/>
            <p:nvPr/>
          </p:nvSpPr>
          <p:spPr bwMode="auto">
            <a:xfrm>
              <a:off x="7965078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7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27034C55-4262-483A-AFAA-9E94BE54BD56}"/>
                </a:ext>
              </a:extLst>
            </p:cNvPr>
            <p:cNvSpPr txBox="1"/>
            <p:nvPr/>
          </p:nvSpPr>
          <p:spPr bwMode="auto">
            <a:xfrm>
              <a:off x="8290561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8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2D375CF6-72D8-4117-8F7E-30E97A89EB8D}"/>
                </a:ext>
              </a:extLst>
            </p:cNvPr>
            <p:cNvSpPr txBox="1"/>
            <p:nvPr/>
          </p:nvSpPr>
          <p:spPr bwMode="auto">
            <a:xfrm>
              <a:off x="8596450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9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D6843D70-4F92-4617-9F7C-D23589D0BB9F}"/>
                </a:ext>
              </a:extLst>
            </p:cNvPr>
            <p:cNvSpPr txBox="1"/>
            <p:nvPr/>
          </p:nvSpPr>
          <p:spPr bwMode="auto">
            <a:xfrm>
              <a:off x="8912136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E00BE857-204C-4D4F-980B-A2D21688EF1E}"/>
                </a:ext>
              </a:extLst>
            </p:cNvPr>
            <p:cNvSpPr txBox="1"/>
            <p:nvPr/>
          </p:nvSpPr>
          <p:spPr bwMode="auto">
            <a:xfrm>
              <a:off x="9231087" y="4811486"/>
              <a:ext cx="43474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1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1F03406-5EB2-41E5-881A-74F1A4F77A9A}"/>
                </a:ext>
              </a:extLst>
            </p:cNvPr>
            <p:cNvSpPr/>
            <p:nvPr/>
          </p:nvSpPr>
          <p:spPr bwMode="auto">
            <a:xfrm>
              <a:off x="2816258" y="1817016"/>
              <a:ext cx="5764490" cy="2823328"/>
            </a:xfrm>
            <a:custGeom>
              <a:avLst/>
              <a:gdLst>
                <a:gd name="connsiteX0" fmla="*/ 5764490 w 5764490"/>
                <a:gd name="connsiteY0" fmla="*/ 2823328 h 2823328"/>
                <a:gd name="connsiteX1" fmla="*/ 4029958 w 5764490"/>
                <a:gd name="connsiteY1" fmla="*/ 2823328 h 2823328"/>
                <a:gd name="connsiteX2" fmla="*/ 4029958 w 5764490"/>
                <a:gd name="connsiteY2" fmla="*/ 2729060 h 2823328"/>
                <a:gd name="connsiteX3" fmla="*/ 2960016 w 5764490"/>
                <a:gd name="connsiteY3" fmla="*/ 2729060 h 2823328"/>
                <a:gd name="connsiteX4" fmla="*/ 2960016 w 5764490"/>
                <a:gd name="connsiteY4" fmla="*/ 2667786 h 2823328"/>
                <a:gd name="connsiteX5" fmla="*/ 2787977 w 5764490"/>
                <a:gd name="connsiteY5" fmla="*/ 2667786 h 2823328"/>
                <a:gd name="connsiteX6" fmla="*/ 2787977 w 5764490"/>
                <a:gd name="connsiteY6" fmla="*/ 2599442 h 2823328"/>
                <a:gd name="connsiteX7" fmla="*/ 2340204 w 5764490"/>
                <a:gd name="connsiteY7" fmla="*/ 2599442 h 2823328"/>
                <a:gd name="connsiteX8" fmla="*/ 2340204 w 5764490"/>
                <a:gd name="connsiteY8" fmla="*/ 2526384 h 2823328"/>
                <a:gd name="connsiteX9" fmla="*/ 2300140 w 5764490"/>
                <a:gd name="connsiteY9" fmla="*/ 2526384 h 2823328"/>
                <a:gd name="connsiteX10" fmla="*/ 2300140 w 5764490"/>
                <a:gd name="connsiteY10" fmla="*/ 2443899 h 2823328"/>
                <a:gd name="connsiteX11" fmla="*/ 2227082 w 5764490"/>
                <a:gd name="connsiteY11" fmla="*/ 2443899 h 2823328"/>
                <a:gd name="connsiteX12" fmla="*/ 2227082 w 5764490"/>
                <a:gd name="connsiteY12" fmla="*/ 2384982 h 2823328"/>
                <a:gd name="connsiteX13" fmla="*/ 2078610 w 5764490"/>
                <a:gd name="connsiteY13" fmla="*/ 2384982 h 2823328"/>
                <a:gd name="connsiteX14" fmla="*/ 2078610 w 5764490"/>
                <a:gd name="connsiteY14" fmla="*/ 2337848 h 2823328"/>
                <a:gd name="connsiteX15" fmla="*/ 1784022 w 5764490"/>
                <a:gd name="connsiteY15" fmla="*/ 2337848 h 2823328"/>
                <a:gd name="connsiteX16" fmla="*/ 1784022 w 5764490"/>
                <a:gd name="connsiteY16" fmla="*/ 2276574 h 2823328"/>
                <a:gd name="connsiteX17" fmla="*/ 1710965 w 5764490"/>
                <a:gd name="connsiteY17" fmla="*/ 2276574 h 2823328"/>
                <a:gd name="connsiteX18" fmla="*/ 1710965 w 5764490"/>
                <a:gd name="connsiteY18" fmla="*/ 2217656 h 2823328"/>
                <a:gd name="connsiteX19" fmla="*/ 1677971 w 5764490"/>
                <a:gd name="connsiteY19" fmla="*/ 2217656 h 2823328"/>
                <a:gd name="connsiteX20" fmla="*/ 1677971 w 5764490"/>
                <a:gd name="connsiteY20" fmla="*/ 2137528 h 2823328"/>
                <a:gd name="connsiteX21" fmla="*/ 1286758 w 5764490"/>
                <a:gd name="connsiteY21" fmla="*/ 2137528 h 2823328"/>
                <a:gd name="connsiteX22" fmla="*/ 1286758 w 5764490"/>
                <a:gd name="connsiteY22" fmla="*/ 2113961 h 2823328"/>
                <a:gd name="connsiteX23" fmla="*/ 1216057 w 5764490"/>
                <a:gd name="connsiteY23" fmla="*/ 2113961 h 2823328"/>
                <a:gd name="connsiteX24" fmla="*/ 1216057 w 5764490"/>
                <a:gd name="connsiteY24" fmla="*/ 2055044 h 2823328"/>
                <a:gd name="connsiteX25" fmla="*/ 1197204 w 5764490"/>
                <a:gd name="connsiteY25" fmla="*/ 2055044 h 2823328"/>
                <a:gd name="connsiteX26" fmla="*/ 1197204 w 5764490"/>
                <a:gd name="connsiteY26" fmla="*/ 2007910 h 2823328"/>
                <a:gd name="connsiteX27" fmla="*/ 1178350 w 5764490"/>
                <a:gd name="connsiteY27" fmla="*/ 2007910 h 2823328"/>
                <a:gd name="connsiteX28" fmla="*/ 1178350 w 5764490"/>
                <a:gd name="connsiteY28" fmla="*/ 1963132 h 2823328"/>
                <a:gd name="connsiteX29" fmla="*/ 1166567 w 5764490"/>
                <a:gd name="connsiteY29" fmla="*/ 1963132 h 2823328"/>
                <a:gd name="connsiteX30" fmla="*/ 1166567 w 5764490"/>
                <a:gd name="connsiteY30" fmla="*/ 1758099 h 2823328"/>
                <a:gd name="connsiteX31" fmla="*/ 1150070 w 5764490"/>
                <a:gd name="connsiteY31" fmla="*/ 1758099 h 2823328"/>
                <a:gd name="connsiteX32" fmla="*/ 1150070 w 5764490"/>
                <a:gd name="connsiteY32" fmla="*/ 1635551 h 2823328"/>
                <a:gd name="connsiteX33" fmla="*/ 1126503 w 5764490"/>
                <a:gd name="connsiteY33" fmla="*/ 1635551 h 2823328"/>
                <a:gd name="connsiteX34" fmla="*/ 1126503 w 5764490"/>
                <a:gd name="connsiteY34" fmla="*/ 1614341 h 2823328"/>
                <a:gd name="connsiteX35" fmla="*/ 1117076 w 5764490"/>
                <a:gd name="connsiteY35" fmla="*/ 1614341 h 2823328"/>
                <a:gd name="connsiteX36" fmla="*/ 1117076 w 5764490"/>
                <a:gd name="connsiteY36" fmla="*/ 1350390 h 2823328"/>
                <a:gd name="connsiteX37" fmla="*/ 1102936 w 5764490"/>
                <a:gd name="connsiteY37" fmla="*/ 1350390 h 2823328"/>
                <a:gd name="connsiteX38" fmla="*/ 1102936 w 5764490"/>
                <a:gd name="connsiteY38" fmla="*/ 1317396 h 2823328"/>
                <a:gd name="connsiteX39" fmla="*/ 945037 w 5764490"/>
                <a:gd name="connsiteY39" fmla="*/ 1317396 h 2823328"/>
                <a:gd name="connsiteX40" fmla="*/ 945037 w 5764490"/>
                <a:gd name="connsiteY40" fmla="*/ 1272619 h 2823328"/>
                <a:gd name="connsiteX41" fmla="*/ 820132 w 5764490"/>
                <a:gd name="connsiteY41" fmla="*/ 1272619 h 2823328"/>
                <a:gd name="connsiteX42" fmla="*/ 820132 w 5764490"/>
                <a:gd name="connsiteY42" fmla="*/ 1239625 h 2823328"/>
                <a:gd name="connsiteX43" fmla="*/ 633952 w 5764490"/>
                <a:gd name="connsiteY43" fmla="*/ 1239625 h 2823328"/>
                <a:gd name="connsiteX44" fmla="*/ 633952 w 5764490"/>
                <a:gd name="connsiteY44" fmla="*/ 1192491 h 2823328"/>
                <a:gd name="connsiteX45" fmla="*/ 612742 w 5764490"/>
                <a:gd name="connsiteY45" fmla="*/ 1192491 h 2823328"/>
                <a:gd name="connsiteX46" fmla="*/ 612742 w 5764490"/>
                <a:gd name="connsiteY46" fmla="*/ 1126504 h 2823328"/>
                <a:gd name="connsiteX47" fmla="*/ 598602 w 5764490"/>
                <a:gd name="connsiteY47" fmla="*/ 1126504 h 2823328"/>
                <a:gd name="connsiteX48" fmla="*/ 598602 w 5764490"/>
                <a:gd name="connsiteY48" fmla="*/ 1029879 h 2823328"/>
                <a:gd name="connsiteX49" fmla="*/ 582105 w 5764490"/>
                <a:gd name="connsiteY49" fmla="*/ 1029879 h 2823328"/>
                <a:gd name="connsiteX50" fmla="*/ 582105 w 5764490"/>
                <a:gd name="connsiteY50" fmla="*/ 956821 h 2823328"/>
                <a:gd name="connsiteX51" fmla="*/ 560895 w 5764490"/>
                <a:gd name="connsiteY51" fmla="*/ 956821 h 2823328"/>
                <a:gd name="connsiteX52" fmla="*/ 560895 w 5764490"/>
                <a:gd name="connsiteY52" fmla="*/ 881407 h 2823328"/>
                <a:gd name="connsiteX53" fmla="*/ 546754 w 5764490"/>
                <a:gd name="connsiteY53" fmla="*/ 881407 h 2823328"/>
                <a:gd name="connsiteX54" fmla="*/ 546754 w 5764490"/>
                <a:gd name="connsiteY54" fmla="*/ 494908 h 2823328"/>
                <a:gd name="connsiteX55" fmla="*/ 530257 w 5764490"/>
                <a:gd name="connsiteY55" fmla="*/ 494908 h 2823328"/>
                <a:gd name="connsiteX56" fmla="*/ 530257 w 5764490"/>
                <a:gd name="connsiteY56" fmla="*/ 370003 h 2823328"/>
                <a:gd name="connsiteX57" fmla="*/ 525544 w 5764490"/>
                <a:gd name="connsiteY57" fmla="*/ 370003 h 2823328"/>
                <a:gd name="connsiteX58" fmla="*/ 525544 w 5764490"/>
                <a:gd name="connsiteY58" fmla="*/ 261594 h 2823328"/>
                <a:gd name="connsiteX59" fmla="*/ 497264 w 5764490"/>
                <a:gd name="connsiteY59" fmla="*/ 261594 h 2823328"/>
                <a:gd name="connsiteX60" fmla="*/ 497264 w 5764490"/>
                <a:gd name="connsiteY60" fmla="*/ 169683 h 2823328"/>
                <a:gd name="connsiteX61" fmla="*/ 431276 w 5764490"/>
                <a:gd name="connsiteY61" fmla="*/ 169683 h 2823328"/>
                <a:gd name="connsiteX62" fmla="*/ 431276 w 5764490"/>
                <a:gd name="connsiteY62" fmla="*/ 160256 h 2823328"/>
                <a:gd name="connsiteX63" fmla="*/ 377072 w 5764490"/>
                <a:gd name="connsiteY63" fmla="*/ 160256 h 2823328"/>
                <a:gd name="connsiteX64" fmla="*/ 377072 w 5764490"/>
                <a:gd name="connsiteY64" fmla="*/ 68345 h 2823328"/>
                <a:gd name="connsiteX65" fmla="*/ 308728 w 5764490"/>
                <a:gd name="connsiteY65" fmla="*/ 68345 h 2823328"/>
                <a:gd name="connsiteX66" fmla="*/ 308728 w 5764490"/>
                <a:gd name="connsiteY66" fmla="*/ 40064 h 2823328"/>
                <a:gd name="connsiteX67" fmla="*/ 247453 w 5764490"/>
                <a:gd name="connsiteY67" fmla="*/ 40064 h 2823328"/>
                <a:gd name="connsiteX68" fmla="*/ 247453 w 5764490"/>
                <a:gd name="connsiteY68" fmla="*/ 0 h 2823328"/>
                <a:gd name="connsiteX69" fmla="*/ 0 w 5764490"/>
                <a:gd name="connsiteY69" fmla="*/ 0 h 2823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764490" h="2823328">
                  <a:moveTo>
                    <a:pt x="5764490" y="2823328"/>
                  </a:moveTo>
                  <a:lnTo>
                    <a:pt x="4029958" y="2823328"/>
                  </a:lnTo>
                  <a:lnTo>
                    <a:pt x="4029958" y="2729060"/>
                  </a:lnTo>
                  <a:lnTo>
                    <a:pt x="2960016" y="2729060"/>
                  </a:lnTo>
                  <a:lnTo>
                    <a:pt x="2960016" y="2667786"/>
                  </a:lnTo>
                  <a:lnTo>
                    <a:pt x="2787977" y="2667786"/>
                  </a:lnTo>
                  <a:lnTo>
                    <a:pt x="2787977" y="2599442"/>
                  </a:lnTo>
                  <a:lnTo>
                    <a:pt x="2340204" y="2599442"/>
                  </a:lnTo>
                  <a:lnTo>
                    <a:pt x="2340204" y="2526384"/>
                  </a:lnTo>
                  <a:lnTo>
                    <a:pt x="2300140" y="2526384"/>
                  </a:lnTo>
                  <a:lnTo>
                    <a:pt x="2300140" y="2443899"/>
                  </a:lnTo>
                  <a:lnTo>
                    <a:pt x="2227082" y="2443899"/>
                  </a:lnTo>
                  <a:lnTo>
                    <a:pt x="2227082" y="2384982"/>
                  </a:lnTo>
                  <a:lnTo>
                    <a:pt x="2078610" y="2384982"/>
                  </a:lnTo>
                  <a:lnTo>
                    <a:pt x="2078610" y="2337848"/>
                  </a:lnTo>
                  <a:lnTo>
                    <a:pt x="1784022" y="2337848"/>
                  </a:lnTo>
                  <a:lnTo>
                    <a:pt x="1784022" y="2276574"/>
                  </a:lnTo>
                  <a:lnTo>
                    <a:pt x="1710965" y="2276574"/>
                  </a:lnTo>
                  <a:lnTo>
                    <a:pt x="1710965" y="2217656"/>
                  </a:lnTo>
                  <a:lnTo>
                    <a:pt x="1677971" y="2217656"/>
                  </a:lnTo>
                  <a:lnTo>
                    <a:pt x="1677971" y="2137528"/>
                  </a:lnTo>
                  <a:lnTo>
                    <a:pt x="1286758" y="2137528"/>
                  </a:lnTo>
                  <a:lnTo>
                    <a:pt x="1286758" y="2113961"/>
                  </a:lnTo>
                  <a:lnTo>
                    <a:pt x="1216057" y="2113961"/>
                  </a:lnTo>
                  <a:lnTo>
                    <a:pt x="1216057" y="2055044"/>
                  </a:lnTo>
                  <a:lnTo>
                    <a:pt x="1197204" y="2055044"/>
                  </a:lnTo>
                  <a:lnTo>
                    <a:pt x="1197204" y="2007910"/>
                  </a:lnTo>
                  <a:lnTo>
                    <a:pt x="1178350" y="2007910"/>
                  </a:lnTo>
                  <a:lnTo>
                    <a:pt x="1178350" y="1963132"/>
                  </a:lnTo>
                  <a:lnTo>
                    <a:pt x="1166567" y="1963132"/>
                  </a:lnTo>
                  <a:lnTo>
                    <a:pt x="1166567" y="1758099"/>
                  </a:lnTo>
                  <a:lnTo>
                    <a:pt x="1150070" y="1758099"/>
                  </a:lnTo>
                  <a:lnTo>
                    <a:pt x="1150070" y="1635551"/>
                  </a:lnTo>
                  <a:lnTo>
                    <a:pt x="1126503" y="1635551"/>
                  </a:lnTo>
                  <a:lnTo>
                    <a:pt x="1126503" y="1614341"/>
                  </a:lnTo>
                  <a:lnTo>
                    <a:pt x="1117076" y="1614341"/>
                  </a:lnTo>
                  <a:lnTo>
                    <a:pt x="1117076" y="1350390"/>
                  </a:lnTo>
                  <a:lnTo>
                    <a:pt x="1102936" y="1350390"/>
                  </a:lnTo>
                  <a:lnTo>
                    <a:pt x="1102936" y="1317396"/>
                  </a:lnTo>
                  <a:lnTo>
                    <a:pt x="945037" y="1317396"/>
                  </a:lnTo>
                  <a:lnTo>
                    <a:pt x="945037" y="1272619"/>
                  </a:lnTo>
                  <a:lnTo>
                    <a:pt x="820132" y="1272619"/>
                  </a:lnTo>
                  <a:lnTo>
                    <a:pt x="820132" y="1239625"/>
                  </a:lnTo>
                  <a:lnTo>
                    <a:pt x="633952" y="1239625"/>
                  </a:lnTo>
                  <a:lnTo>
                    <a:pt x="633952" y="1192491"/>
                  </a:lnTo>
                  <a:lnTo>
                    <a:pt x="612742" y="1192491"/>
                  </a:lnTo>
                  <a:lnTo>
                    <a:pt x="612742" y="1126504"/>
                  </a:lnTo>
                  <a:lnTo>
                    <a:pt x="598602" y="1126504"/>
                  </a:lnTo>
                  <a:lnTo>
                    <a:pt x="598602" y="1029879"/>
                  </a:lnTo>
                  <a:lnTo>
                    <a:pt x="582105" y="1029879"/>
                  </a:lnTo>
                  <a:lnTo>
                    <a:pt x="582105" y="956821"/>
                  </a:lnTo>
                  <a:lnTo>
                    <a:pt x="560895" y="956821"/>
                  </a:lnTo>
                  <a:lnTo>
                    <a:pt x="560895" y="881407"/>
                  </a:lnTo>
                  <a:lnTo>
                    <a:pt x="546754" y="881407"/>
                  </a:lnTo>
                  <a:lnTo>
                    <a:pt x="546754" y="494908"/>
                  </a:lnTo>
                  <a:lnTo>
                    <a:pt x="530257" y="494908"/>
                  </a:lnTo>
                  <a:lnTo>
                    <a:pt x="530257" y="370003"/>
                  </a:lnTo>
                  <a:lnTo>
                    <a:pt x="525544" y="370003"/>
                  </a:lnTo>
                  <a:lnTo>
                    <a:pt x="525544" y="261594"/>
                  </a:lnTo>
                  <a:lnTo>
                    <a:pt x="497264" y="261594"/>
                  </a:lnTo>
                  <a:lnTo>
                    <a:pt x="497264" y="169683"/>
                  </a:lnTo>
                  <a:lnTo>
                    <a:pt x="431276" y="169683"/>
                  </a:lnTo>
                  <a:lnTo>
                    <a:pt x="431276" y="160256"/>
                  </a:lnTo>
                  <a:lnTo>
                    <a:pt x="377072" y="160256"/>
                  </a:lnTo>
                  <a:lnTo>
                    <a:pt x="377072" y="68345"/>
                  </a:lnTo>
                  <a:lnTo>
                    <a:pt x="308728" y="68345"/>
                  </a:lnTo>
                  <a:lnTo>
                    <a:pt x="308728" y="40064"/>
                  </a:lnTo>
                  <a:lnTo>
                    <a:pt x="247453" y="40064"/>
                  </a:lnTo>
                  <a:lnTo>
                    <a:pt x="247453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E7CD0E4-9885-4ED4-A13E-C02A285F92FA}"/>
                </a:ext>
              </a:extLst>
            </p:cNvPr>
            <p:cNvSpPr/>
            <p:nvPr/>
          </p:nvSpPr>
          <p:spPr bwMode="auto">
            <a:xfrm>
              <a:off x="2799761" y="1802876"/>
              <a:ext cx="5823408" cy="2738487"/>
            </a:xfrm>
            <a:custGeom>
              <a:avLst/>
              <a:gdLst>
                <a:gd name="connsiteX0" fmla="*/ 5823408 w 5823408"/>
                <a:gd name="connsiteY0" fmla="*/ 2738487 h 2738487"/>
                <a:gd name="connsiteX1" fmla="*/ 5439266 w 5823408"/>
                <a:gd name="connsiteY1" fmla="*/ 2738487 h 2738487"/>
                <a:gd name="connsiteX2" fmla="*/ 5439266 w 5823408"/>
                <a:gd name="connsiteY2" fmla="*/ 2590015 h 2738487"/>
                <a:gd name="connsiteX3" fmla="*/ 5229519 w 5823408"/>
                <a:gd name="connsiteY3" fmla="*/ 2590015 h 2738487"/>
                <a:gd name="connsiteX4" fmla="*/ 5229519 w 5823408"/>
                <a:gd name="connsiteY4" fmla="*/ 2535811 h 2738487"/>
                <a:gd name="connsiteX5" fmla="*/ 5172959 w 5823408"/>
                <a:gd name="connsiteY5" fmla="*/ 2535811 h 2738487"/>
                <a:gd name="connsiteX6" fmla="*/ 5172959 w 5823408"/>
                <a:gd name="connsiteY6" fmla="*/ 2483963 h 2738487"/>
                <a:gd name="connsiteX7" fmla="*/ 5090474 w 5823408"/>
                <a:gd name="connsiteY7" fmla="*/ 2483963 h 2738487"/>
                <a:gd name="connsiteX8" fmla="*/ 5090474 w 5823408"/>
                <a:gd name="connsiteY8" fmla="*/ 2427402 h 2738487"/>
                <a:gd name="connsiteX9" fmla="*/ 4597924 w 5823408"/>
                <a:gd name="connsiteY9" fmla="*/ 2427402 h 2738487"/>
                <a:gd name="connsiteX10" fmla="*/ 4597924 w 5823408"/>
                <a:gd name="connsiteY10" fmla="*/ 2328421 h 2738487"/>
                <a:gd name="connsiteX11" fmla="*/ 4536649 w 5823408"/>
                <a:gd name="connsiteY11" fmla="*/ 2328421 h 2738487"/>
                <a:gd name="connsiteX12" fmla="*/ 4536649 w 5823408"/>
                <a:gd name="connsiteY12" fmla="*/ 2283644 h 2738487"/>
                <a:gd name="connsiteX13" fmla="*/ 4296266 w 5823408"/>
                <a:gd name="connsiteY13" fmla="*/ 2283644 h 2738487"/>
                <a:gd name="connsiteX14" fmla="*/ 4296266 w 5823408"/>
                <a:gd name="connsiteY14" fmla="*/ 2255363 h 2738487"/>
                <a:gd name="connsiteX15" fmla="*/ 4121870 w 5823408"/>
                <a:gd name="connsiteY15" fmla="*/ 2255363 h 2738487"/>
                <a:gd name="connsiteX16" fmla="*/ 4121870 w 5823408"/>
                <a:gd name="connsiteY16" fmla="*/ 2184662 h 2738487"/>
                <a:gd name="connsiteX17" fmla="*/ 3603396 w 5823408"/>
                <a:gd name="connsiteY17" fmla="*/ 2184662 h 2738487"/>
                <a:gd name="connsiteX18" fmla="*/ 3603396 w 5823408"/>
                <a:gd name="connsiteY18" fmla="*/ 2104534 h 2738487"/>
                <a:gd name="connsiteX19" fmla="*/ 3553905 w 5823408"/>
                <a:gd name="connsiteY19" fmla="*/ 2104534 h 2738487"/>
                <a:gd name="connsiteX20" fmla="*/ 3553905 w 5823408"/>
                <a:gd name="connsiteY20" fmla="*/ 2071540 h 2738487"/>
                <a:gd name="connsiteX21" fmla="*/ 3525625 w 5823408"/>
                <a:gd name="connsiteY21" fmla="*/ 2071540 h 2738487"/>
                <a:gd name="connsiteX22" fmla="*/ 3525625 w 5823408"/>
                <a:gd name="connsiteY22" fmla="*/ 2031477 h 2738487"/>
                <a:gd name="connsiteX23" fmla="*/ 3504414 w 5823408"/>
                <a:gd name="connsiteY23" fmla="*/ 2031477 h 2738487"/>
                <a:gd name="connsiteX24" fmla="*/ 3504414 w 5823408"/>
                <a:gd name="connsiteY24" fmla="*/ 2005553 h 2738487"/>
                <a:gd name="connsiteX25" fmla="*/ 3473777 w 5823408"/>
                <a:gd name="connsiteY25" fmla="*/ 2005553 h 2738487"/>
                <a:gd name="connsiteX26" fmla="*/ 3473777 w 5823408"/>
                <a:gd name="connsiteY26" fmla="*/ 1970202 h 2738487"/>
                <a:gd name="connsiteX27" fmla="*/ 3443140 w 5823408"/>
                <a:gd name="connsiteY27" fmla="*/ 1970202 h 2738487"/>
                <a:gd name="connsiteX28" fmla="*/ 3443140 w 5823408"/>
                <a:gd name="connsiteY28" fmla="*/ 1934852 h 2738487"/>
                <a:gd name="connsiteX29" fmla="*/ 3285241 w 5823408"/>
                <a:gd name="connsiteY29" fmla="*/ 1934852 h 2738487"/>
                <a:gd name="connsiteX30" fmla="*/ 3285241 w 5823408"/>
                <a:gd name="connsiteY30" fmla="*/ 1887718 h 2738487"/>
                <a:gd name="connsiteX31" fmla="*/ 3209827 w 5823408"/>
                <a:gd name="connsiteY31" fmla="*/ 1887718 h 2738487"/>
                <a:gd name="connsiteX32" fmla="*/ 3209827 w 5823408"/>
                <a:gd name="connsiteY32" fmla="*/ 1859437 h 2738487"/>
                <a:gd name="connsiteX33" fmla="*/ 3099062 w 5823408"/>
                <a:gd name="connsiteY33" fmla="*/ 1859437 h 2738487"/>
                <a:gd name="connsiteX34" fmla="*/ 3099062 w 5823408"/>
                <a:gd name="connsiteY34" fmla="*/ 1828800 h 2738487"/>
                <a:gd name="connsiteX35" fmla="*/ 3009507 w 5823408"/>
                <a:gd name="connsiteY35" fmla="*/ 1828800 h 2738487"/>
                <a:gd name="connsiteX36" fmla="*/ 3009507 w 5823408"/>
                <a:gd name="connsiteY36" fmla="*/ 1781666 h 2738487"/>
                <a:gd name="connsiteX37" fmla="*/ 2967086 w 5823408"/>
                <a:gd name="connsiteY37" fmla="*/ 1781666 h 2738487"/>
                <a:gd name="connsiteX38" fmla="*/ 2967086 w 5823408"/>
                <a:gd name="connsiteY38" fmla="*/ 1739246 h 2738487"/>
                <a:gd name="connsiteX39" fmla="*/ 2905812 w 5823408"/>
                <a:gd name="connsiteY39" fmla="*/ 1739246 h 2738487"/>
                <a:gd name="connsiteX40" fmla="*/ 2905812 w 5823408"/>
                <a:gd name="connsiteY40" fmla="*/ 1703895 h 2738487"/>
                <a:gd name="connsiteX41" fmla="*/ 2877532 w 5823408"/>
                <a:gd name="connsiteY41" fmla="*/ 1703895 h 2738487"/>
                <a:gd name="connsiteX42" fmla="*/ 2877532 w 5823408"/>
                <a:gd name="connsiteY42" fmla="*/ 1673258 h 2738487"/>
                <a:gd name="connsiteX43" fmla="*/ 2828041 w 5823408"/>
                <a:gd name="connsiteY43" fmla="*/ 1673258 h 2738487"/>
                <a:gd name="connsiteX44" fmla="*/ 2828041 w 5823408"/>
                <a:gd name="connsiteY44" fmla="*/ 1633194 h 2738487"/>
                <a:gd name="connsiteX45" fmla="*/ 2828041 w 5823408"/>
                <a:gd name="connsiteY45" fmla="*/ 1614340 h 2738487"/>
                <a:gd name="connsiteX46" fmla="*/ 2415618 w 5823408"/>
                <a:gd name="connsiteY46" fmla="*/ 1614340 h 2738487"/>
                <a:gd name="connsiteX47" fmla="*/ 2415618 w 5823408"/>
                <a:gd name="connsiteY47" fmla="*/ 1541283 h 2738487"/>
                <a:gd name="connsiteX48" fmla="*/ 2354344 w 5823408"/>
                <a:gd name="connsiteY48" fmla="*/ 1541283 h 2738487"/>
                <a:gd name="connsiteX49" fmla="*/ 2354344 w 5823408"/>
                <a:gd name="connsiteY49" fmla="*/ 1458798 h 2738487"/>
                <a:gd name="connsiteX50" fmla="*/ 2335491 w 5823408"/>
                <a:gd name="connsiteY50" fmla="*/ 1458798 h 2738487"/>
                <a:gd name="connsiteX51" fmla="*/ 2335491 w 5823408"/>
                <a:gd name="connsiteY51" fmla="*/ 1348033 h 2738487"/>
                <a:gd name="connsiteX52" fmla="*/ 2283643 w 5823408"/>
                <a:gd name="connsiteY52" fmla="*/ 1348033 h 2738487"/>
                <a:gd name="connsiteX53" fmla="*/ 2283643 w 5823408"/>
                <a:gd name="connsiteY53" fmla="*/ 1312683 h 2738487"/>
                <a:gd name="connsiteX54" fmla="*/ 2191732 w 5823408"/>
                <a:gd name="connsiteY54" fmla="*/ 1312683 h 2738487"/>
                <a:gd name="connsiteX55" fmla="*/ 2191732 w 5823408"/>
                <a:gd name="connsiteY55" fmla="*/ 1265549 h 2738487"/>
                <a:gd name="connsiteX56" fmla="*/ 1986699 w 5823408"/>
                <a:gd name="connsiteY56" fmla="*/ 1265549 h 2738487"/>
                <a:gd name="connsiteX57" fmla="*/ 1986699 w 5823408"/>
                <a:gd name="connsiteY57" fmla="*/ 1225485 h 2738487"/>
                <a:gd name="connsiteX58" fmla="*/ 1845297 w 5823408"/>
                <a:gd name="connsiteY58" fmla="*/ 1225485 h 2738487"/>
                <a:gd name="connsiteX59" fmla="*/ 1845297 w 5823408"/>
                <a:gd name="connsiteY59" fmla="*/ 1194848 h 2738487"/>
                <a:gd name="connsiteX60" fmla="*/ 1814660 w 5823408"/>
                <a:gd name="connsiteY60" fmla="*/ 1194848 h 2738487"/>
                <a:gd name="connsiteX61" fmla="*/ 1814660 w 5823408"/>
                <a:gd name="connsiteY61" fmla="*/ 1152427 h 2738487"/>
                <a:gd name="connsiteX62" fmla="*/ 1807590 w 5823408"/>
                <a:gd name="connsiteY62" fmla="*/ 1159497 h 2738487"/>
                <a:gd name="connsiteX63" fmla="*/ 1807590 w 5823408"/>
                <a:gd name="connsiteY63" fmla="*/ 1114720 h 2738487"/>
                <a:gd name="connsiteX64" fmla="*/ 1781666 w 5823408"/>
                <a:gd name="connsiteY64" fmla="*/ 1114720 h 2738487"/>
                <a:gd name="connsiteX65" fmla="*/ 1781666 w 5823408"/>
                <a:gd name="connsiteY65" fmla="*/ 1081726 h 2738487"/>
                <a:gd name="connsiteX66" fmla="*/ 1765169 w 5823408"/>
                <a:gd name="connsiteY66" fmla="*/ 1081726 h 2738487"/>
                <a:gd name="connsiteX67" fmla="*/ 1765169 w 5823408"/>
                <a:gd name="connsiteY67" fmla="*/ 994528 h 2738487"/>
                <a:gd name="connsiteX68" fmla="*/ 1713321 w 5823408"/>
                <a:gd name="connsiteY68" fmla="*/ 994528 h 2738487"/>
                <a:gd name="connsiteX69" fmla="*/ 1713321 w 5823408"/>
                <a:gd name="connsiteY69" fmla="*/ 888477 h 2738487"/>
                <a:gd name="connsiteX70" fmla="*/ 1263192 w 5823408"/>
                <a:gd name="connsiteY70" fmla="*/ 888477 h 2738487"/>
                <a:gd name="connsiteX71" fmla="*/ 1263192 w 5823408"/>
                <a:gd name="connsiteY71" fmla="*/ 862553 h 2738487"/>
                <a:gd name="connsiteX72" fmla="*/ 1197204 w 5823408"/>
                <a:gd name="connsiteY72" fmla="*/ 862553 h 2738487"/>
                <a:gd name="connsiteX73" fmla="*/ 1197204 w 5823408"/>
                <a:gd name="connsiteY73" fmla="*/ 801279 h 2738487"/>
                <a:gd name="connsiteX74" fmla="*/ 1178350 w 5823408"/>
                <a:gd name="connsiteY74" fmla="*/ 801279 h 2738487"/>
                <a:gd name="connsiteX75" fmla="*/ 1178350 w 5823408"/>
                <a:gd name="connsiteY75" fmla="*/ 718794 h 2738487"/>
                <a:gd name="connsiteX76" fmla="*/ 1168924 w 5823408"/>
                <a:gd name="connsiteY76" fmla="*/ 718794 h 2738487"/>
                <a:gd name="connsiteX77" fmla="*/ 1168924 w 5823408"/>
                <a:gd name="connsiteY77" fmla="*/ 697584 h 2738487"/>
                <a:gd name="connsiteX78" fmla="*/ 1131216 w 5823408"/>
                <a:gd name="connsiteY78" fmla="*/ 697584 h 2738487"/>
                <a:gd name="connsiteX79" fmla="*/ 1131216 w 5823408"/>
                <a:gd name="connsiteY79" fmla="*/ 669303 h 2738487"/>
                <a:gd name="connsiteX80" fmla="*/ 1131216 w 5823408"/>
                <a:gd name="connsiteY80" fmla="*/ 657520 h 2738487"/>
                <a:gd name="connsiteX81" fmla="*/ 999241 w 5823408"/>
                <a:gd name="connsiteY81" fmla="*/ 657520 h 2738487"/>
                <a:gd name="connsiteX82" fmla="*/ 999241 w 5823408"/>
                <a:gd name="connsiteY82" fmla="*/ 657520 h 2738487"/>
                <a:gd name="connsiteX83" fmla="*/ 999241 w 5823408"/>
                <a:gd name="connsiteY83" fmla="*/ 629239 h 2738487"/>
                <a:gd name="connsiteX84" fmla="*/ 914400 w 5823408"/>
                <a:gd name="connsiteY84" fmla="*/ 629239 h 2738487"/>
                <a:gd name="connsiteX85" fmla="*/ 914400 w 5823408"/>
                <a:gd name="connsiteY85" fmla="*/ 605672 h 2738487"/>
                <a:gd name="connsiteX86" fmla="*/ 831915 w 5823408"/>
                <a:gd name="connsiteY86" fmla="*/ 605672 h 2738487"/>
                <a:gd name="connsiteX87" fmla="*/ 831915 w 5823408"/>
                <a:gd name="connsiteY87" fmla="*/ 567965 h 2738487"/>
                <a:gd name="connsiteX88" fmla="*/ 732934 w 5823408"/>
                <a:gd name="connsiteY88" fmla="*/ 567965 h 2738487"/>
                <a:gd name="connsiteX89" fmla="*/ 732934 w 5823408"/>
                <a:gd name="connsiteY89" fmla="*/ 532615 h 2738487"/>
                <a:gd name="connsiteX90" fmla="*/ 688157 w 5823408"/>
                <a:gd name="connsiteY90" fmla="*/ 532615 h 2738487"/>
                <a:gd name="connsiteX91" fmla="*/ 688157 w 5823408"/>
                <a:gd name="connsiteY91" fmla="*/ 492551 h 2738487"/>
                <a:gd name="connsiteX92" fmla="*/ 655163 w 5823408"/>
                <a:gd name="connsiteY92" fmla="*/ 492551 h 2738487"/>
                <a:gd name="connsiteX93" fmla="*/ 655163 w 5823408"/>
                <a:gd name="connsiteY93" fmla="*/ 391213 h 2738487"/>
                <a:gd name="connsiteX94" fmla="*/ 617455 w 5823408"/>
                <a:gd name="connsiteY94" fmla="*/ 391213 h 2738487"/>
                <a:gd name="connsiteX95" fmla="*/ 617455 w 5823408"/>
                <a:gd name="connsiteY95" fmla="*/ 301658 h 2738487"/>
                <a:gd name="connsiteX96" fmla="*/ 589175 w 5823408"/>
                <a:gd name="connsiteY96" fmla="*/ 301658 h 2738487"/>
                <a:gd name="connsiteX97" fmla="*/ 589175 w 5823408"/>
                <a:gd name="connsiteY97" fmla="*/ 235670 h 2738487"/>
                <a:gd name="connsiteX98" fmla="*/ 570321 w 5823408"/>
                <a:gd name="connsiteY98" fmla="*/ 235670 h 2738487"/>
                <a:gd name="connsiteX99" fmla="*/ 570321 w 5823408"/>
                <a:gd name="connsiteY99" fmla="*/ 148472 h 2738487"/>
                <a:gd name="connsiteX100" fmla="*/ 520831 w 5823408"/>
                <a:gd name="connsiteY100" fmla="*/ 148472 h 2738487"/>
                <a:gd name="connsiteX101" fmla="*/ 520831 w 5823408"/>
                <a:gd name="connsiteY101" fmla="*/ 131976 h 2738487"/>
                <a:gd name="connsiteX102" fmla="*/ 454843 w 5823408"/>
                <a:gd name="connsiteY102" fmla="*/ 131976 h 2738487"/>
                <a:gd name="connsiteX103" fmla="*/ 454843 w 5823408"/>
                <a:gd name="connsiteY103" fmla="*/ 101338 h 2738487"/>
                <a:gd name="connsiteX104" fmla="*/ 233313 w 5823408"/>
                <a:gd name="connsiteY104" fmla="*/ 101338 h 2738487"/>
                <a:gd name="connsiteX105" fmla="*/ 233313 w 5823408"/>
                <a:gd name="connsiteY105" fmla="*/ 87198 h 2738487"/>
                <a:gd name="connsiteX106" fmla="*/ 183823 w 5823408"/>
                <a:gd name="connsiteY106" fmla="*/ 87198 h 2738487"/>
                <a:gd name="connsiteX107" fmla="*/ 183823 w 5823408"/>
                <a:gd name="connsiteY107" fmla="*/ 63631 h 2738487"/>
                <a:gd name="connsiteX108" fmla="*/ 167326 w 5823408"/>
                <a:gd name="connsiteY108" fmla="*/ 63631 h 2738487"/>
                <a:gd name="connsiteX109" fmla="*/ 167326 w 5823408"/>
                <a:gd name="connsiteY109" fmla="*/ 25924 h 2738487"/>
                <a:gd name="connsiteX110" fmla="*/ 117835 w 5823408"/>
                <a:gd name="connsiteY110" fmla="*/ 25924 h 2738487"/>
                <a:gd name="connsiteX111" fmla="*/ 117835 w 5823408"/>
                <a:gd name="connsiteY111" fmla="*/ 0 h 2738487"/>
                <a:gd name="connsiteX112" fmla="*/ 0 w 5823408"/>
                <a:gd name="connsiteY112" fmla="*/ 0 h 273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5823408" h="2738487">
                  <a:moveTo>
                    <a:pt x="5823408" y="2738487"/>
                  </a:moveTo>
                  <a:lnTo>
                    <a:pt x="5439266" y="2738487"/>
                  </a:lnTo>
                  <a:lnTo>
                    <a:pt x="5439266" y="2590015"/>
                  </a:lnTo>
                  <a:lnTo>
                    <a:pt x="5229519" y="2590015"/>
                  </a:lnTo>
                  <a:lnTo>
                    <a:pt x="5229519" y="2535811"/>
                  </a:lnTo>
                  <a:lnTo>
                    <a:pt x="5172959" y="2535811"/>
                  </a:lnTo>
                  <a:lnTo>
                    <a:pt x="5172959" y="2483963"/>
                  </a:lnTo>
                  <a:lnTo>
                    <a:pt x="5090474" y="2483963"/>
                  </a:lnTo>
                  <a:lnTo>
                    <a:pt x="5090474" y="2427402"/>
                  </a:lnTo>
                  <a:lnTo>
                    <a:pt x="4597924" y="2427402"/>
                  </a:lnTo>
                  <a:lnTo>
                    <a:pt x="4597924" y="2328421"/>
                  </a:lnTo>
                  <a:lnTo>
                    <a:pt x="4536649" y="2328421"/>
                  </a:lnTo>
                  <a:lnTo>
                    <a:pt x="4536649" y="2283644"/>
                  </a:lnTo>
                  <a:lnTo>
                    <a:pt x="4296266" y="2283644"/>
                  </a:lnTo>
                  <a:lnTo>
                    <a:pt x="4296266" y="2255363"/>
                  </a:lnTo>
                  <a:lnTo>
                    <a:pt x="4121870" y="2255363"/>
                  </a:lnTo>
                  <a:lnTo>
                    <a:pt x="4121870" y="2184662"/>
                  </a:lnTo>
                  <a:lnTo>
                    <a:pt x="3603396" y="2184662"/>
                  </a:lnTo>
                  <a:lnTo>
                    <a:pt x="3603396" y="2104534"/>
                  </a:lnTo>
                  <a:lnTo>
                    <a:pt x="3553905" y="2104534"/>
                  </a:lnTo>
                  <a:lnTo>
                    <a:pt x="3553905" y="2071540"/>
                  </a:lnTo>
                  <a:lnTo>
                    <a:pt x="3525625" y="2071540"/>
                  </a:lnTo>
                  <a:lnTo>
                    <a:pt x="3525625" y="2031477"/>
                  </a:lnTo>
                  <a:lnTo>
                    <a:pt x="3504414" y="2031477"/>
                  </a:lnTo>
                  <a:lnTo>
                    <a:pt x="3504414" y="2005553"/>
                  </a:lnTo>
                  <a:lnTo>
                    <a:pt x="3473777" y="2005553"/>
                  </a:lnTo>
                  <a:lnTo>
                    <a:pt x="3473777" y="1970202"/>
                  </a:lnTo>
                  <a:lnTo>
                    <a:pt x="3443140" y="1970202"/>
                  </a:lnTo>
                  <a:lnTo>
                    <a:pt x="3443140" y="1934852"/>
                  </a:lnTo>
                  <a:lnTo>
                    <a:pt x="3285241" y="1934852"/>
                  </a:lnTo>
                  <a:lnTo>
                    <a:pt x="3285241" y="1887718"/>
                  </a:lnTo>
                  <a:lnTo>
                    <a:pt x="3209827" y="1887718"/>
                  </a:lnTo>
                  <a:lnTo>
                    <a:pt x="3209827" y="1859437"/>
                  </a:lnTo>
                  <a:lnTo>
                    <a:pt x="3099062" y="1859437"/>
                  </a:lnTo>
                  <a:lnTo>
                    <a:pt x="3099062" y="1828800"/>
                  </a:lnTo>
                  <a:lnTo>
                    <a:pt x="3009507" y="1828800"/>
                  </a:lnTo>
                  <a:lnTo>
                    <a:pt x="3009507" y="1781666"/>
                  </a:lnTo>
                  <a:lnTo>
                    <a:pt x="2967086" y="1781666"/>
                  </a:lnTo>
                  <a:lnTo>
                    <a:pt x="2967086" y="1739246"/>
                  </a:lnTo>
                  <a:lnTo>
                    <a:pt x="2905812" y="1739246"/>
                  </a:lnTo>
                  <a:lnTo>
                    <a:pt x="2905812" y="1703895"/>
                  </a:lnTo>
                  <a:lnTo>
                    <a:pt x="2877532" y="1703895"/>
                  </a:lnTo>
                  <a:lnTo>
                    <a:pt x="2877532" y="1673258"/>
                  </a:lnTo>
                  <a:lnTo>
                    <a:pt x="2828041" y="1673258"/>
                  </a:lnTo>
                  <a:lnTo>
                    <a:pt x="2828041" y="1633194"/>
                  </a:lnTo>
                  <a:lnTo>
                    <a:pt x="2828041" y="1614340"/>
                  </a:lnTo>
                  <a:lnTo>
                    <a:pt x="2415618" y="1614340"/>
                  </a:lnTo>
                  <a:lnTo>
                    <a:pt x="2415618" y="1541283"/>
                  </a:lnTo>
                  <a:lnTo>
                    <a:pt x="2354344" y="1541283"/>
                  </a:lnTo>
                  <a:lnTo>
                    <a:pt x="2354344" y="1458798"/>
                  </a:lnTo>
                  <a:lnTo>
                    <a:pt x="2335491" y="1458798"/>
                  </a:lnTo>
                  <a:lnTo>
                    <a:pt x="2335491" y="1348033"/>
                  </a:lnTo>
                  <a:lnTo>
                    <a:pt x="2283643" y="1348033"/>
                  </a:lnTo>
                  <a:lnTo>
                    <a:pt x="2283643" y="1312683"/>
                  </a:lnTo>
                  <a:lnTo>
                    <a:pt x="2191732" y="1312683"/>
                  </a:lnTo>
                  <a:lnTo>
                    <a:pt x="2191732" y="1265549"/>
                  </a:lnTo>
                  <a:lnTo>
                    <a:pt x="1986699" y="1265549"/>
                  </a:lnTo>
                  <a:lnTo>
                    <a:pt x="1986699" y="1225485"/>
                  </a:lnTo>
                  <a:lnTo>
                    <a:pt x="1845297" y="1225485"/>
                  </a:lnTo>
                  <a:lnTo>
                    <a:pt x="1845297" y="1194848"/>
                  </a:lnTo>
                  <a:lnTo>
                    <a:pt x="1814660" y="1194848"/>
                  </a:lnTo>
                  <a:lnTo>
                    <a:pt x="1814660" y="1152427"/>
                  </a:lnTo>
                  <a:lnTo>
                    <a:pt x="1807590" y="1159497"/>
                  </a:lnTo>
                  <a:lnTo>
                    <a:pt x="1807590" y="1114720"/>
                  </a:lnTo>
                  <a:lnTo>
                    <a:pt x="1781666" y="1114720"/>
                  </a:lnTo>
                  <a:lnTo>
                    <a:pt x="1781666" y="1081726"/>
                  </a:lnTo>
                  <a:lnTo>
                    <a:pt x="1765169" y="1081726"/>
                  </a:lnTo>
                  <a:lnTo>
                    <a:pt x="1765169" y="994528"/>
                  </a:lnTo>
                  <a:lnTo>
                    <a:pt x="1713321" y="994528"/>
                  </a:lnTo>
                  <a:lnTo>
                    <a:pt x="1713321" y="888477"/>
                  </a:lnTo>
                  <a:lnTo>
                    <a:pt x="1263192" y="888477"/>
                  </a:lnTo>
                  <a:lnTo>
                    <a:pt x="1263192" y="862553"/>
                  </a:lnTo>
                  <a:lnTo>
                    <a:pt x="1197204" y="862553"/>
                  </a:lnTo>
                  <a:lnTo>
                    <a:pt x="1197204" y="801279"/>
                  </a:lnTo>
                  <a:lnTo>
                    <a:pt x="1178350" y="801279"/>
                  </a:lnTo>
                  <a:lnTo>
                    <a:pt x="1178350" y="718794"/>
                  </a:lnTo>
                  <a:lnTo>
                    <a:pt x="1168924" y="718794"/>
                  </a:lnTo>
                  <a:lnTo>
                    <a:pt x="1168924" y="697584"/>
                  </a:lnTo>
                  <a:lnTo>
                    <a:pt x="1131216" y="697584"/>
                  </a:lnTo>
                  <a:lnTo>
                    <a:pt x="1131216" y="669303"/>
                  </a:lnTo>
                  <a:lnTo>
                    <a:pt x="1131216" y="657520"/>
                  </a:lnTo>
                  <a:lnTo>
                    <a:pt x="999241" y="657520"/>
                  </a:lnTo>
                  <a:lnTo>
                    <a:pt x="999241" y="657520"/>
                  </a:lnTo>
                  <a:lnTo>
                    <a:pt x="999241" y="629239"/>
                  </a:lnTo>
                  <a:lnTo>
                    <a:pt x="914400" y="629239"/>
                  </a:lnTo>
                  <a:lnTo>
                    <a:pt x="914400" y="605672"/>
                  </a:lnTo>
                  <a:lnTo>
                    <a:pt x="831915" y="605672"/>
                  </a:lnTo>
                  <a:lnTo>
                    <a:pt x="831915" y="567965"/>
                  </a:lnTo>
                  <a:lnTo>
                    <a:pt x="732934" y="567965"/>
                  </a:lnTo>
                  <a:lnTo>
                    <a:pt x="732934" y="532615"/>
                  </a:lnTo>
                  <a:lnTo>
                    <a:pt x="688157" y="532615"/>
                  </a:lnTo>
                  <a:lnTo>
                    <a:pt x="688157" y="492551"/>
                  </a:lnTo>
                  <a:lnTo>
                    <a:pt x="655163" y="492551"/>
                  </a:lnTo>
                  <a:lnTo>
                    <a:pt x="655163" y="391213"/>
                  </a:lnTo>
                  <a:lnTo>
                    <a:pt x="617455" y="391213"/>
                  </a:lnTo>
                  <a:lnTo>
                    <a:pt x="617455" y="301658"/>
                  </a:lnTo>
                  <a:lnTo>
                    <a:pt x="589175" y="301658"/>
                  </a:lnTo>
                  <a:lnTo>
                    <a:pt x="589175" y="235670"/>
                  </a:lnTo>
                  <a:lnTo>
                    <a:pt x="570321" y="235670"/>
                  </a:lnTo>
                  <a:lnTo>
                    <a:pt x="570321" y="148472"/>
                  </a:lnTo>
                  <a:lnTo>
                    <a:pt x="520831" y="148472"/>
                  </a:lnTo>
                  <a:lnTo>
                    <a:pt x="520831" y="131976"/>
                  </a:lnTo>
                  <a:lnTo>
                    <a:pt x="454843" y="131976"/>
                  </a:lnTo>
                  <a:lnTo>
                    <a:pt x="454843" y="101338"/>
                  </a:lnTo>
                  <a:lnTo>
                    <a:pt x="233313" y="101338"/>
                  </a:lnTo>
                  <a:lnTo>
                    <a:pt x="233313" y="87198"/>
                  </a:lnTo>
                  <a:lnTo>
                    <a:pt x="183823" y="87198"/>
                  </a:lnTo>
                  <a:lnTo>
                    <a:pt x="183823" y="63631"/>
                  </a:lnTo>
                  <a:lnTo>
                    <a:pt x="167326" y="63631"/>
                  </a:lnTo>
                  <a:lnTo>
                    <a:pt x="167326" y="25924"/>
                  </a:lnTo>
                  <a:lnTo>
                    <a:pt x="117835" y="25924"/>
                  </a:lnTo>
                  <a:lnTo>
                    <a:pt x="117835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1100F4D-D08B-4778-89B0-A630D74B9D46}"/>
                </a:ext>
              </a:extLst>
            </p:cNvPr>
            <p:cNvSpPr/>
            <p:nvPr/>
          </p:nvSpPr>
          <p:spPr bwMode="auto">
            <a:xfrm>
              <a:off x="8524188" y="459556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3E6B952D-3590-4FF3-A426-219FF70736FC}"/>
                </a:ext>
              </a:extLst>
            </p:cNvPr>
            <p:cNvSpPr/>
            <p:nvPr/>
          </p:nvSpPr>
          <p:spPr bwMode="auto">
            <a:xfrm>
              <a:off x="7352907" y="459556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A445E307-F8AB-40B4-8E27-6180EC636758}"/>
                </a:ext>
              </a:extLst>
            </p:cNvPr>
            <p:cNvSpPr/>
            <p:nvPr/>
          </p:nvSpPr>
          <p:spPr bwMode="auto">
            <a:xfrm>
              <a:off x="5801412" y="450051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23C3CA64-BC73-4A9E-A3FE-F62E7DC4049F}"/>
                </a:ext>
              </a:extLst>
            </p:cNvPr>
            <p:cNvSpPr/>
            <p:nvPr/>
          </p:nvSpPr>
          <p:spPr bwMode="auto">
            <a:xfrm>
              <a:off x="5666295" y="443138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5D56D46F-A047-4B89-8859-3C8EE54B69A5}"/>
                </a:ext>
              </a:extLst>
            </p:cNvPr>
            <p:cNvSpPr/>
            <p:nvPr/>
          </p:nvSpPr>
          <p:spPr bwMode="auto">
            <a:xfrm>
              <a:off x="5081833" y="432061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46529ACC-E131-4495-B64B-AF0BBBF899AD}"/>
                </a:ext>
              </a:extLst>
            </p:cNvPr>
            <p:cNvSpPr/>
            <p:nvPr/>
          </p:nvSpPr>
          <p:spPr bwMode="auto">
            <a:xfrm>
              <a:off x="4615206" y="410144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874DEED0-3075-47BB-B231-67AE001C6B44}"/>
                </a:ext>
              </a:extLst>
            </p:cNvPr>
            <p:cNvSpPr/>
            <p:nvPr/>
          </p:nvSpPr>
          <p:spPr bwMode="auto">
            <a:xfrm>
              <a:off x="4528008" y="4061383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FEFBFA4E-1717-48DE-91F4-FDB0F1C6B500}"/>
                </a:ext>
              </a:extLst>
            </p:cNvPr>
            <p:cNvSpPr/>
            <p:nvPr/>
          </p:nvSpPr>
          <p:spPr bwMode="auto">
            <a:xfrm>
              <a:off x="4485587" y="4011891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5483E6FB-8937-4963-B5D3-376227E03FB9}"/>
                </a:ext>
              </a:extLst>
            </p:cNvPr>
            <p:cNvSpPr/>
            <p:nvPr/>
          </p:nvSpPr>
          <p:spPr bwMode="auto">
            <a:xfrm>
              <a:off x="4318262" y="392233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7BDBAA64-742E-48A3-919B-7359ED6FEF0F}"/>
                </a:ext>
              </a:extLst>
            </p:cNvPr>
            <p:cNvSpPr/>
            <p:nvPr/>
          </p:nvSpPr>
          <p:spPr bwMode="auto">
            <a:xfrm>
              <a:off x="3936475" y="3604182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82FA7115-1F79-4C6B-9184-78528C5975D8}"/>
                </a:ext>
              </a:extLst>
            </p:cNvPr>
            <p:cNvSpPr/>
            <p:nvPr/>
          </p:nvSpPr>
          <p:spPr bwMode="auto">
            <a:xfrm>
              <a:off x="3891698" y="3276600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5F3583-3D41-4D35-A442-286638BDBE0D}"/>
                </a:ext>
              </a:extLst>
            </p:cNvPr>
            <p:cNvSpPr/>
            <p:nvPr/>
          </p:nvSpPr>
          <p:spPr bwMode="auto">
            <a:xfrm>
              <a:off x="3512269" y="300793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859DF1FF-D65F-41C3-812A-8A7A758571B6}"/>
                </a:ext>
              </a:extLst>
            </p:cNvPr>
            <p:cNvSpPr/>
            <p:nvPr/>
          </p:nvSpPr>
          <p:spPr bwMode="auto">
            <a:xfrm>
              <a:off x="3319020" y="2661502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D22F3FB5-7510-4D70-8958-D7686BE26597}"/>
                </a:ext>
              </a:extLst>
            </p:cNvPr>
            <p:cNvSpPr/>
            <p:nvPr/>
          </p:nvSpPr>
          <p:spPr bwMode="auto">
            <a:xfrm>
              <a:off x="2776979" y="177302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37780B0D-449B-4BBE-9C33-F3E74A7D3D3E}"/>
                </a:ext>
              </a:extLst>
            </p:cNvPr>
            <p:cNvSpPr/>
            <p:nvPr/>
          </p:nvSpPr>
          <p:spPr bwMode="auto">
            <a:xfrm>
              <a:off x="3327661" y="196077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7E05EF22-B4FB-42F7-8D26-2163AB82280C}"/>
                </a:ext>
              </a:extLst>
            </p:cNvPr>
            <p:cNvSpPr/>
            <p:nvPr/>
          </p:nvSpPr>
          <p:spPr bwMode="auto">
            <a:xfrm>
              <a:off x="3338659" y="202597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9911C26F-0F50-43FA-BEBF-C285F08D37CA}"/>
                </a:ext>
              </a:extLst>
            </p:cNvPr>
            <p:cNvSpPr/>
            <p:nvPr/>
          </p:nvSpPr>
          <p:spPr bwMode="auto">
            <a:xfrm>
              <a:off x="3378723" y="2153241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351C3D31-C78C-4568-A164-EDBCF69549FE}"/>
                </a:ext>
              </a:extLst>
            </p:cNvPr>
            <p:cNvSpPr/>
            <p:nvPr/>
          </p:nvSpPr>
          <p:spPr bwMode="auto">
            <a:xfrm>
              <a:off x="3576686" y="2332350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94CE5C16-9D81-4969-A2E3-904B44B6DCB3}"/>
                </a:ext>
              </a:extLst>
            </p:cNvPr>
            <p:cNvSpPr/>
            <p:nvPr/>
          </p:nvSpPr>
          <p:spPr bwMode="auto">
            <a:xfrm>
              <a:off x="3930191" y="254445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13786004-6A02-4A1A-8C3B-7B14A261ED06}"/>
                </a:ext>
              </a:extLst>
            </p:cNvPr>
            <p:cNvSpPr/>
            <p:nvPr/>
          </p:nvSpPr>
          <p:spPr bwMode="auto">
            <a:xfrm>
              <a:off x="4038599" y="2645791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E9222FE4-DB22-4B86-9E3F-C339D3A30128}"/>
                </a:ext>
              </a:extLst>
            </p:cNvPr>
            <p:cNvSpPr/>
            <p:nvPr/>
          </p:nvSpPr>
          <p:spPr bwMode="auto">
            <a:xfrm>
              <a:off x="4264842" y="2641078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0E52165-6EAE-434C-B0A0-60FCA9AAADE8}"/>
                </a:ext>
              </a:extLst>
            </p:cNvPr>
            <p:cNvSpPr/>
            <p:nvPr/>
          </p:nvSpPr>
          <p:spPr bwMode="auto">
            <a:xfrm>
              <a:off x="4480872" y="274634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222257BF-E2D0-442A-A9BD-A2BF183EFA72}"/>
                </a:ext>
              </a:extLst>
            </p:cNvPr>
            <p:cNvSpPr/>
            <p:nvPr/>
          </p:nvSpPr>
          <p:spPr bwMode="auto">
            <a:xfrm>
              <a:off x="4513867" y="2788765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6F841BD8-C254-47EF-83C7-4D73988D8799}"/>
                </a:ext>
              </a:extLst>
            </p:cNvPr>
            <p:cNvSpPr/>
            <p:nvPr/>
          </p:nvSpPr>
          <p:spPr bwMode="auto">
            <a:xfrm>
              <a:off x="4617562" y="298908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C36FED2F-55D3-49BF-A3DE-7AE07626343B}"/>
                </a:ext>
              </a:extLst>
            </p:cNvPr>
            <p:cNvSpPr/>
            <p:nvPr/>
          </p:nvSpPr>
          <p:spPr bwMode="auto">
            <a:xfrm>
              <a:off x="4933360" y="3026792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85C8F5C6-F014-4A11-B780-0E1DF4374419}"/>
                </a:ext>
              </a:extLst>
            </p:cNvPr>
            <p:cNvSpPr/>
            <p:nvPr/>
          </p:nvSpPr>
          <p:spPr bwMode="auto">
            <a:xfrm>
              <a:off x="5051195" y="311634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5F9D782E-251B-4E77-ADE9-8E4EB2D03C3D}"/>
                </a:ext>
              </a:extLst>
            </p:cNvPr>
            <p:cNvSpPr/>
            <p:nvPr/>
          </p:nvSpPr>
          <p:spPr bwMode="auto">
            <a:xfrm>
              <a:off x="5107756" y="320825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FDD369F0-2F65-40AD-B05A-FB9585D095DB}"/>
                </a:ext>
              </a:extLst>
            </p:cNvPr>
            <p:cNvSpPr/>
            <p:nvPr/>
          </p:nvSpPr>
          <p:spPr bwMode="auto">
            <a:xfrm>
              <a:off x="5107755" y="330016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DDAAC850-50E2-4B91-B747-2FF37DCD6CB6}"/>
                </a:ext>
              </a:extLst>
            </p:cNvPr>
            <p:cNvSpPr/>
            <p:nvPr/>
          </p:nvSpPr>
          <p:spPr bwMode="auto">
            <a:xfrm>
              <a:off x="5133679" y="330959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A7ABE76E-E989-4D1B-88CD-91E351B623F1}"/>
                </a:ext>
              </a:extLst>
            </p:cNvPr>
            <p:cNvSpPr/>
            <p:nvPr/>
          </p:nvSpPr>
          <p:spPr bwMode="auto">
            <a:xfrm>
              <a:off x="5147819" y="333080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8761A807-EFDA-4F13-ADD6-812835C7CA03}"/>
                </a:ext>
              </a:extLst>
            </p:cNvPr>
            <p:cNvSpPr/>
            <p:nvPr/>
          </p:nvSpPr>
          <p:spPr bwMode="auto">
            <a:xfrm>
              <a:off x="5197310" y="3361443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D8C70EC-43F7-4A44-B3ED-B077B1EA335E}"/>
                </a:ext>
              </a:extLst>
            </p:cNvPr>
            <p:cNvSpPr/>
            <p:nvPr/>
          </p:nvSpPr>
          <p:spPr bwMode="auto">
            <a:xfrm>
              <a:off x="5390559" y="3375583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60CF8843-8112-466D-9C62-5413A60AC4C2}"/>
                </a:ext>
              </a:extLst>
            </p:cNvPr>
            <p:cNvSpPr/>
            <p:nvPr/>
          </p:nvSpPr>
          <p:spPr bwMode="auto">
            <a:xfrm>
              <a:off x="5619159" y="3425074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6AADEA79-FDFB-4656-B41E-F3106A316A18}"/>
                </a:ext>
              </a:extLst>
            </p:cNvPr>
            <p:cNvSpPr/>
            <p:nvPr/>
          </p:nvSpPr>
          <p:spPr bwMode="auto">
            <a:xfrm>
              <a:off x="5704001" y="351462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68CDFC51-CAFB-4451-BC44-1AE457775ACE}"/>
                </a:ext>
              </a:extLst>
            </p:cNvPr>
            <p:cNvSpPr/>
            <p:nvPr/>
          </p:nvSpPr>
          <p:spPr bwMode="auto">
            <a:xfrm>
              <a:off x="5725211" y="3538195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48F5B338-AD0A-4526-8F2D-72350B062AD8}"/>
                </a:ext>
              </a:extLst>
            </p:cNvPr>
            <p:cNvSpPr/>
            <p:nvPr/>
          </p:nvSpPr>
          <p:spPr bwMode="auto">
            <a:xfrm>
              <a:off x="5751135" y="357354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65AEF06B-1715-47AD-97BC-AF00734F8086}"/>
                </a:ext>
              </a:extLst>
            </p:cNvPr>
            <p:cNvSpPr/>
            <p:nvPr/>
          </p:nvSpPr>
          <p:spPr bwMode="auto">
            <a:xfrm>
              <a:off x="6255469" y="378800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528ACCE-5405-4567-BF85-4C9E8DE81E18}"/>
                </a:ext>
              </a:extLst>
            </p:cNvPr>
            <p:cNvSpPr/>
            <p:nvPr/>
          </p:nvSpPr>
          <p:spPr bwMode="auto">
            <a:xfrm>
              <a:off x="6267252" y="3835140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D781234C-C1AE-485E-A8D1-8F626B688A7C}"/>
                </a:ext>
              </a:extLst>
            </p:cNvPr>
            <p:cNvSpPr/>
            <p:nvPr/>
          </p:nvSpPr>
          <p:spPr bwMode="auto">
            <a:xfrm>
              <a:off x="6333240" y="3877561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2DE25E72-7BCF-4D13-8E4A-598835877183}"/>
                </a:ext>
              </a:extLst>
            </p:cNvPr>
            <p:cNvSpPr/>
            <p:nvPr/>
          </p:nvSpPr>
          <p:spPr bwMode="auto">
            <a:xfrm>
              <a:off x="6771586" y="3938835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1DF006B9-33DF-4714-BE86-426CCBCF26EE}"/>
                </a:ext>
              </a:extLst>
            </p:cNvPr>
            <p:cNvSpPr/>
            <p:nvPr/>
          </p:nvSpPr>
          <p:spPr bwMode="auto">
            <a:xfrm>
              <a:off x="6811651" y="3938835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19217628-015E-4FDA-89EF-5DA6BDF6D789}"/>
                </a:ext>
              </a:extLst>
            </p:cNvPr>
            <p:cNvSpPr/>
            <p:nvPr/>
          </p:nvSpPr>
          <p:spPr bwMode="auto">
            <a:xfrm>
              <a:off x="6834432" y="3942763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985C5121-6E0E-4218-B753-BD279766235B}"/>
                </a:ext>
              </a:extLst>
            </p:cNvPr>
            <p:cNvSpPr/>
            <p:nvPr/>
          </p:nvSpPr>
          <p:spPr bwMode="auto">
            <a:xfrm>
              <a:off x="6879210" y="392390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87C0384B-4F63-4DB7-BD90-EB8EDA902ADF}"/>
                </a:ext>
              </a:extLst>
            </p:cNvPr>
            <p:cNvSpPr/>
            <p:nvPr/>
          </p:nvSpPr>
          <p:spPr bwMode="auto">
            <a:xfrm>
              <a:off x="6912204" y="401817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D3E8C395-CC87-4202-A2F1-0F32C1381D95}"/>
                </a:ext>
              </a:extLst>
            </p:cNvPr>
            <p:cNvSpPr/>
            <p:nvPr/>
          </p:nvSpPr>
          <p:spPr bwMode="auto">
            <a:xfrm>
              <a:off x="7077172" y="4053528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82E27611-32B4-4677-AA78-6759E4CF1C61}"/>
                </a:ext>
              </a:extLst>
            </p:cNvPr>
            <p:cNvSpPr/>
            <p:nvPr/>
          </p:nvSpPr>
          <p:spPr bwMode="auto">
            <a:xfrm>
              <a:off x="7402397" y="416900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D08FD5EA-A545-449A-B30A-0115F84753E7}"/>
                </a:ext>
              </a:extLst>
            </p:cNvPr>
            <p:cNvSpPr/>
            <p:nvPr/>
          </p:nvSpPr>
          <p:spPr bwMode="auto">
            <a:xfrm>
              <a:off x="7939726" y="4289197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B28F16C7-7FF0-4C69-8311-011275017E76}"/>
                </a:ext>
              </a:extLst>
            </p:cNvPr>
            <p:cNvSpPr/>
            <p:nvPr/>
          </p:nvSpPr>
          <p:spPr bwMode="auto">
            <a:xfrm>
              <a:off x="8005713" y="4352829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88FC9423-93E1-4BF7-A4B5-45B96D8AC916}"/>
                </a:ext>
              </a:extLst>
            </p:cNvPr>
            <p:cNvSpPr/>
            <p:nvPr/>
          </p:nvSpPr>
          <p:spPr bwMode="auto">
            <a:xfrm>
              <a:off x="8069344" y="4348116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5D6EFCD8-8005-4414-8472-668AB54076CC}"/>
                </a:ext>
              </a:extLst>
            </p:cNvPr>
            <p:cNvSpPr/>
            <p:nvPr/>
          </p:nvSpPr>
          <p:spPr bwMode="auto">
            <a:xfrm>
              <a:off x="8514761" y="4494231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330A5240-5C51-4C86-BF8F-8ED82C21F5A0}"/>
                </a:ext>
              </a:extLst>
            </p:cNvPr>
            <p:cNvSpPr/>
            <p:nvPr/>
          </p:nvSpPr>
          <p:spPr bwMode="auto">
            <a:xfrm>
              <a:off x="8601958" y="4491875"/>
              <a:ext cx="91911" cy="91911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CB28D56-0ECB-4578-B4FF-EA14D9040FCB}"/>
                </a:ext>
              </a:extLst>
            </p:cNvPr>
            <p:cNvSpPr txBox="1"/>
            <p:nvPr/>
          </p:nvSpPr>
          <p:spPr bwMode="auto">
            <a:xfrm>
              <a:off x="4284482" y="2125744"/>
              <a:ext cx="90261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6 mo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A6416D68-82DD-4B0D-8294-43662FB1D8C0}"/>
                </a:ext>
              </a:extLst>
            </p:cNvPr>
            <p:cNvSpPr txBox="1"/>
            <p:nvPr/>
          </p:nvSpPr>
          <p:spPr bwMode="auto">
            <a:xfrm>
              <a:off x="6131936" y="3310058"/>
              <a:ext cx="90261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2 mo</a:t>
              </a: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DA31C5C-5E28-4EFA-88C5-F529E10039A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708689" y="2660715"/>
              <a:ext cx="0" cy="2191733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B08D14DB-6164-42AD-8F93-F7C3459CD8A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593264" y="3770722"/>
              <a:ext cx="0" cy="108801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010EF2D0-1625-4255-A9A8-017EE4754FA2}"/>
                </a:ext>
              </a:extLst>
            </p:cNvPr>
            <p:cNvSpPr txBox="1"/>
            <p:nvPr/>
          </p:nvSpPr>
          <p:spPr bwMode="auto">
            <a:xfrm>
              <a:off x="4670982" y="2717277"/>
              <a:ext cx="92854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accent1"/>
                  </a:solidFill>
                  <a:latin typeface="Calibri" panose="020F0502020204030204" pitchFamily="34" charset="0"/>
                </a:rPr>
                <a:t>0.60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8FA36661-CE05-4DD8-B2A2-5336DFCED043}"/>
                </a:ext>
              </a:extLst>
            </p:cNvPr>
            <p:cNvSpPr txBox="1"/>
            <p:nvPr/>
          </p:nvSpPr>
          <p:spPr bwMode="auto">
            <a:xfrm>
              <a:off x="6592701" y="3615242"/>
              <a:ext cx="92854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accent1"/>
                  </a:solidFill>
                  <a:latin typeface="Calibri" panose="020F0502020204030204" pitchFamily="34" charset="0"/>
                </a:rPr>
                <a:t>0.28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66FA0C60-3CFB-4AF7-8377-181A43532929}"/>
                </a:ext>
              </a:extLst>
            </p:cNvPr>
            <p:cNvSpPr txBox="1"/>
            <p:nvPr/>
          </p:nvSpPr>
          <p:spPr bwMode="auto">
            <a:xfrm>
              <a:off x="6088974" y="4538489"/>
              <a:ext cx="57425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accent3"/>
                  </a:solidFill>
                  <a:latin typeface="Calibri" panose="020F0502020204030204" pitchFamily="34" charset="0"/>
                </a:rPr>
                <a:t>0.09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4B39A49F-8FB4-4E76-B75D-6B953F9F4958}"/>
                </a:ext>
              </a:extLst>
            </p:cNvPr>
            <p:cNvSpPr txBox="1"/>
            <p:nvPr/>
          </p:nvSpPr>
          <p:spPr bwMode="auto">
            <a:xfrm>
              <a:off x="4226284" y="4186826"/>
              <a:ext cx="57425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accent3"/>
                  </a:solidFill>
                  <a:latin typeface="Calibri" panose="020F0502020204030204" pitchFamily="34" charset="0"/>
                </a:rPr>
                <a:t>0.23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B74EA0F1-421A-4391-941E-E14FB4461BC6}"/>
                </a:ext>
              </a:extLst>
            </p:cNvPr>
            <p:cNvSpPr txBox="1"/>
            <p:nvPr/>
          </p:nvSpPr>
          <p:spPr bwMode="auto">
            <a:xfrm>
              <a:off x="7517419" y="3848246"/>
              <a:ext cx="109728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dirty="0">
                  <a:solidFill>
                    <a:schemeClr val="accent1"/>
                  </a:solidFill>
                  <a:latin typeface="Calibri" panose="020F0502020204030204" pitchFamily="34" charset="0"/>
                </a:rPr>
                <a:t>Olaparib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4E794942-CAC7-48BF-A09A-1059E2600102}"/>
                </a:ext>
              </a:extLst>
            </p:cNvPr>
            <p:cNvSpPr txBox="1"/>
            <p:nvPr/>
          </p:nvSpPr>
          <p:spPr bwMode="auto">
            <a:xfrm>
              <a:off x="6766021" y="4305446"/>
              <a:ext cx="118872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dirty="0">
                  <a:solidFill>
                    <a:schemeClr val="accent3"/>
                  </a:solidFill>
                  <a:latin typeface="Calibri" panose="020F0502020204030204" pitchFamily="34" charset="0"/>
                </a:rPr>
                <a:t>AR therapy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49748FC-DCC3-469F-8736-C7F57F9D30C2}"/>
                </a:ext>
              </a:extLst>
            </p:cNvPr>
            <p:cNvCxnSpPr/>
            <p:nvPr/>
          </p:nvCxnSpPr>
          <p:spPr bwMode="auto">
            <a:xfrm flipH="1">
              <a:off x="2817412" y="3318343"/>
              <a:ext cx="659958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1C8CCD4-37B2-4A1A-BC07-E33A86D18790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578CEB6-B621-414A-8227-CC018A12C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Rectangle 8">
              <a:extLst>
                <a:ext uri="{FF2B5EF4-FFF2-40B4-BE49-F238E27FC236}">
                  <a16:creationId xmlns:a16="http://schemas.microsoft.com/office/drawing/2014/main" id="{CC44CBFA-7690-4485-A06E-494897674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0" name="Title 49">
            <a:extLst>
              <a:ext uri="{FF2B5EF4-FFF2-40B4-BE49-F238E27FC236}">
                <a16:creationId xmlns:a16="http://schemas.microsoft.com/office/drawing/2014/main" id="{081C9CD4-BEC5-488A-A0C5-EDB462BCC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hase III PROfound: rPFS by BICR With Alterations in </a:t>
            </a:r>
            <a:r>
              <a:rPr lang="en-GB" b="1" i="1" dirty="0"/>
              <a:t>BRCA1, BRCA2, </a:t>
            </a:r>
            <a:r>
              <a:rPr lang="en-GB" b="1" dirty="0"/>
              <a:t>or </a:t>
            </a:r>
            <a:r>
              <a:rPr lang="en-GB" b="1" i="1" dirty="0"/>
              <a:t>ATM </a:t>
            </a:r>
            <a:r>
              <a:rPr lang="en-GB" b="1" dirty="0"/>
              <a:t>(Cohort A)</a:t>
            </a:r>
            <a:endParaRPr lang="en-US" dirty="0"/>
          </a:p>
        </p:txBody>
      </p:sp>
      <p:graphicFrame>
        <p:nvGraphicFramePr>
          <p:cNvPr id="42" name="object 42"/>
          <p:cNvGraphicFramePr>
            <a:graphicFrameLocks noGrp="1"/>
          </p:cNvGraphicFramePr>
          <p:nvPr/>
        </p:nvGraphicFramePr>
        <p:xfrm>
          <a:off x="6096000" y="1590101"/>
          <a:ext cx="4261023" cy="1148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1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08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1877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0345" marR="182245" indent="-30480" algn="ctr">
                        <a:lnSpc>
                          <a:spcPct val="100000"/>
                        </a:lnSpc>
                        <a:spcBef>
                          <a:spcPts val="1140"/>
                        </a:spcBef>
                      </a:pPr>
                      <a:r>
                        <a:rPr sz="1400" b="1" spc="-5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parib</a:t>
                      </a:r>
                      <a:r>
                        <a:rPr sz="1400" b="1" spc="-5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</a:t>
                      </a:r>
                      <a:br>
                        <a:rPr lang="en-US" sz="1400" b="1" spc="-5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</a:t>
                      </a: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en-US"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2)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19304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00990" marR="125730" indent="-167005" algn="l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1" spc="-10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 Therapy</a:t>
                      </a:r>
                      <a:br>
                        <a:rPr lang="en-US" sz="1400" b="0" spc="-1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</a:t>
                      </a: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en-US"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)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1920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260">
                <a:tc>
                  <a:txBody>
                    <a:bodyPr/>
                    <a:lstStyle/>
                    <a:p>
                      <a:pPr marR="76200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b="0" spc="-1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</a:t>
                      </a:r>
                      <a:r>
                        <a:rPr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PFS</a:t>
                      </a:r>
                      <a:r>
                        <a:rPr lang="en-US" sz="1400" b="0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mo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508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</a:t>
                      </a: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2878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</a:t>
                      </a: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2878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260">
                <a:tc>
                  <a:txBody>
                    <a:bodyPr/>
                    <a:lstStyle/>
                    <a:p>
                      <a:pPr marR="76200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(95% CI)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508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4 (0.25-0.47; </a:t>
                      </a:r>
                      <a:r>
                        <a:rPr lang="en-US" sz="1400" b="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lt;.001)</a:t>
                      </a: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2878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endParaRPr sz="14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28787" marB="0">
                    <a:lnL>
                      <a:noFill/>
                    </a:lnL>
                    <a:lnR>
                      <a:noFill/>
                    </a:lnR>
                    <a:lnT w="12700">
                      <a:noFill/>
                      <a:prstDash val="solid"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896577"/>
                  </a:ext>
                </a:extLst>
              </a:tr>
            </a:tbl>
          </a:graphicData>
        </a:graphic>
      </p:graphicFrame>
      <p:sp>
        <p:nvSpPr>
          <p:cNvPr id="197" name="Text Box 15">
            <a:extLst>
              <a:ext uri="{FF2B5EF4-FFF2-40B4-BE49-F238E27FC236}">
                <a16:creationId xmlns:a16="http://schemas.microsoft.com/office/drawing/2014/main" id="{19FBCC42-35E1-46ED-BAFD-419E24D0E4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583" y="6371992"/>
            <a:ext cx="2724296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 Bono. NEJM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ff-scala-sans-pro"/>
                <a:ea typeface="+mn-ea"/>
                <a:cs typeface="Calibri" panose="020F0502020204030204" pitchFamily="34" charset="0"/>
              </a:rPr>
              <a:t>2020;382:2091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4055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7BF3C268-9701-4BB0-913B-6FD91E5B0F2E}"/>
              </a:ext>
            </a:extLst>
          </p:cNvPr>
          <p:cNvSpPr/>
          <p:nvPr/>
        </p:nvSpPr>
        <p:spPr bwMode="auto">
          <a:xfrm>
            <a:off x="2833688" y="2033588"/>
            <a:ext cx="5986462" cy="2452687"/>
          </a:xfrm>
          <a:custGeom>
            <a:avLst/>
            <a:gdLst>
              <a:gd name="connsiteX0" fmla="*/ 5986462 w 5986462"/>
              <a:gd name="connsiteY0" fmla="*/ 2452687 h 2452687"/>
              <a:gd name="connsiteX1" fmla="*/ 4719637 w 5986462"/>
              <a:gd name="connsiteY1" fmla="*/ 2452687 h 2452687"/>
              <a:gd name="connsiteX2" fmla="*/ 4719637 w 5986462"/>
              <a:gd name="connsiteY2" fmla="*/ 2366962 h 2452687"/>
              <a:gd name="connsiteX3" fmla="*/ 4205287 w 5986462"/>
              <a:gd name="connsiteY3" fmla="*/ 2366962 h 2452687"/>
              <a:gd name="connsiteX4" fmla="*/ 4205287 w 5986462"/>
              <a:gd name="connsiteY4" fmla="*/ 2295525 h 2452687"/>
              <a:gd name="connsiteX5" fmla="*/ 4019550 w 5986462"/>
              <a:gd name="connsiteY5" fmla="*/ 2295525 h 2452687"/>
              <a:gd name="connsiteX6" fmla="*/ 4019550 w 5986462"/>
              <a:gd name="connsiteY6" fmla="*/ 2243137 h 2452687"/>
              <a:gd name="connsiteX7" fmla="*/ 3838575 w 5986462"/>
              <a:gd name="connsiteY7" fmla="*/ 2243137 h 2452687"/>
              <a:gd name="connsiteX8" fmla="*/ 3838575 w 5986462"/>
              <a:gd name="connsiteY8" fmla="*/ 2176462 h 2452687"/>
              <a:gd name="connsiteX9" fmla="*/ 3633787 w 5986462"/>
              <a:gd name="connsiteY9" fmla="*/ 2176462 h 2452687"/>
              <a:gd name="connsiteX10" fmla="*/ 3633787 w 5986462"/>
              <a:gd name="connsiteY10" fmla="*/ 2119312 h 2452687"/>
              <a:gd name="connsiteX11" fmla="*/ 3633787 w 5986462"/>
              <a:gd name="connsiteY11" fmla="*/ 2119312 h 2452687"/>
              <a:gd name="connsiteX12" fmla="*/ 3633787 w 5986462"/>
              <a:gd name="connsiteY12" fmla="*/ 2057400 h 2452687"/>
              <a:gd name="connsiteX13" fmla="*/ 3495675 w 5986462"/>
              <a:gd name="connsiteY13" fmla="*/ 2057400 h 2452687"/>
              <a:gd name="connsiteX14" fmla="*/ 3495675 w 5986462"/>
              <a:gd name="connsiteY14" fmla="*/ 2009775 h 2452687"/>
              <a:gd name="connsiteX15" fmla="*/ 3452812 w 5986462"/>
              <a:gd name="connsiteY15" fmla="*/ 2009775 h 2452687"/>
              <a:gd name="connsiteX16" fmla="*/ 3452812 w 5986462"/>
              <a:gd name="connsiteY16" fmla="*/ 1900237 h 2452687"/>
              <a:gd name="connsiteX17" fmla="*/ 3305175 w 5986462"/>
              <a:gd name="connsiteY17" fmla="*/ 1900237 h 2452687"/>
              <a:gd name="connsiteX18" fmla="*/ 3305175 w 5986462"/>
              <a:gd name="connsiteY18" fmla="*/ 1843087 h 2452687"/>
              <a:gd name="connsiteX19" fmla="*/ 3281362 w 5986462"/>
              <a:gd name="connsiteY19" fmla="*/ 1843087 h 2452687"/>
              <a:gd name="connsiteX20" fmla="*/ 3281362 w 5986462"/>
              <a:gd name="connsiteY20" fmla="*/ 1809750 h 2452687"/>
              <a:gd name="connsiteX21" fmla="*/ 3038475 w 5986462"/>
              <a:gd name="connsiteY21" fmla="*/ 1809750 h 2452687"/>
              <a:gd name="connsiteX22" fmla="*/ 3038475 w 5986462"/>
              <a:gd name="connsiteY22" fmla="*/ 1757362 h 2452687"/>
              <a:gd name="connsiteX23" fmla="*/ 2843212 w 5986462"/>
              <a:gd name="connsiteY23" fmla="*/ 1757362 h 2452687"/>
              <a:gd name="connsiteX24" fmla="*/ 2843212 w 5986462"/>
              <a:gd name="connsiteY24" fmla="*/ 1724025 h 2452687"/>
              <a:gd name="connsiteX25" fmla="*/ 2767012 w 5986462"/>
              <a:gd name="connsiteY25" fmla="*/ 1724025 h 2452687"/>
              <a:gd name="connsiteX26" fmla="*/ 2767012 w 5986462"/>
              <a:gd name="connsiteY26" fmla="*/ 1638300 h 2452687"/>
              <a:gd name="connsiteX27" fmla="*/ 2705100 w 5986462"/>
              <a:gd name="connsiteY27" fmla="*/ 1638300 h 2452687"/>
              <a:gd name="connsiteX28" fmla="*/ 2705100 w 5986462"/>
              <a:gd name="connsiteY28" fmla="*/ 1600200 h 2452687"/>
              <a:gd name="connsiteX29" fmla="*/ 2671762 w 5986462"/>
              <a:gd name="connsiteY29" fmla="*/ 1600200 h 2452687"/>
              <a:gd name="connsiteX30" fmla="*/ 2671762 w 5986462"/>
              <a:gd name="connsiteY30" fmla="*/ 1576387 h 2452687"/>
              <a:gd name="connsiteX31" fmla="*/ 2619375 w 5986462"/>
              <a:gd name="connsiteY31" fmla="*/ 1576387 h 2452687"/>
              <a:gd name="connsiteX32" fmla="*/ 2619375 w 5986462"/>
              <a:gd name="connsiteY32" fmla="*/ 1524000 h 2452687"/>
              <a:gd name="connsiteX33" fmla="*/ 2543175 w 5986462"/>
              <a:gd name="connsiteY33" fmla="*/ 1524000 h 2452687"/>
              <a:gd name="connsiteX34" fmla="*/ 2543175 w 5986462"/>
              <a:gd name="connsiteY34" fmla="*/ 1476375 h 2452687"/>
              <a:gd name="connsiteX35" fmla="*/ 2543175 w 5986462"/>
              <a:gd name="connsiteY35" fmla="*/ 1476375 h 2452687"/>
              <a:gd name="connsiteX36" fmla="*/ 2500312 w 5986462"/>
              <a:gd name="connsiteY36" fmla="*/ 1433512 h 2452687"/>
              <a:gd name="connsiteX37" fmla="*/ 2500312 w 5986462"/>
              <a:gd name="connsiteY37" fmla="*/ 1390650 h 2452687"/>
              <a:gd name="connsiteX38" fmla="*/ 2400300 w 5986462"/>
              <a:gd name="connsiteY38" fmla="*/ 1390650 h 2452687"/>
              <a:gd name="connsiteX39" fmla="*/ 2400300 w 5986462"/>
              <a:gd name="connsiteY39" fmla="*/ 1371600 h 2452687"/>
              <a:gd name="connsiteX40" fmla="*/ 2300287 w 5986462"/>
              <a:gd name="connsiteY40" fmla="*/ 1371600 h 2452687"/>
              <a:gd name="connsiteX41" fmla="*/ 2300287 w 5986462"/>
              <a:gd name="connsiteY41" fmla="*/ 1323975 h 2452687"/>
              <a:gd name="connsiteX42" fmla="*/ 2233612 w 5986462"/>
              <a:gd name="connsiteY42" fmla="*/ 1323975 h 2452687"/>
              <a:gd name="connsiteX43" fmla="*/ 2233612 w 5986462"/>
              <a:gd name="connsiteY43" fmla="*/ 1257300 h 2452687"/>
              <a:gd name="connsiteX44" fmla="*/ 2181225 w 5986462"/>
              <a:gd name="connsiteY44" fmla="*/ 1257300 h 2452687"/>
              <a:gd name="connsiteX45" fmla="*/ 2181225 w 5986462"/>
              <a:gd name="connsiteY45" fmla="*/ 1257300 h 2452687"/>
              <a:gd name="connsiteX46" fmla="*/ 2147887 w 5986462"/>
              <a:gd name="connsiteY46" fmla="*/ 1223962 h 2452687"/>
              <a:gd name="connsiteX47" fmla="*/ 2147887 w 5986462"/>
              <a:gd name="connsiteY47" fmla="*/ 1171575 h 2452687"/>
              <a:gd name="connsiteX48" fmla="*/ 2085975 w 5986462"/>
              <a:gd name="connsiteY48" fmla="*/ 1171575 h 2452687"/>
              <a:gd name="connsiteX49" fmla="*/ 2085975 w 5986462"/>
              <a:gd name="connsiteY49" fmla="*/ 1085850 h 2452687"/>
              <a:gd name="connsiteX50" fmla="*/ 1966912 w 5986462"/>
              <a:gd name="connsiteY50" fmla="*/ 1085850 h 2452687"/>
              <a:gd name="connsiteX51" fmla="*/ 1966912 w 5986462"/>
              <a:gd name="connsiteY51" fmla="*/ 1009650 h 2452687"/>
              <a:gd name="connsiteX52" fmla="*/ 1900237 w 5986462"/>
              <a:gd name="connsiteY52" fmla="*/ 1009650 h 2452687"/>
              <a:gd name="connsiteX53" fmla="*/ 1900237 w 5986462"/>
              <a:gd name="connsiteY53" fmla="*/ 942975 h 2452687"/>
              <a:gd name="connsiteX54" fmla="*/ 1828800 w 5986462"/>
              <a:gd name="connsiteY54" fmla="*/ 942975 h 2452687"/>
              <a:gd name="connsiteX55" fmla="*/ 1828800 w 5986462"/>
              <a:gd name="connsiteY55" fmla="*/ 909637 h 2452687"/>
              <a:gd name="connsiteX56" fmla="*/ 1828800 w 5986462"/>
              <a:gd name="connsiteY56" fmla="*/ 909637 h 2452687"/>
              <a:gd name="connsiteX57" fmla="*/ 1795462 w 5986462"/>
              <a:gd name="connsiteY57" fmla="*/ 876299 h 2452687"/>
              <a:gd name="connsiteX58" fmla="*/ 1728787 w 5986462"/>
              <a:gd name="connsiteY58" fmla="*/ 876299 h 2452687"/>
              <a:gd name="connsiteX59" fmla="*/ 1728787 w 5986462"/>
              <a:gd name="connsiteY59" fmla="*/ 819150 h 2452687"/>
              <a:gd name="connsiteX60" fmla="*/ 1662112 w 5986462"/>
              <a:gd name="connsiteY60" fmla="*/ 819150 h 2452687"/>
              <a:gd name="connsiteX61" fmla="*/ 1662112 w 5986462"/>
              <a:gd name="connsiteY61" fmla="*/ 819150 h 2452687"/>
              <a:gd name="connsiteX62" fmla="*/ 1624012 w 5986462"/>
              <a:gd name="connsiteY62" fmla="*/ 781050 h 2452687"/>
              <a:gd name="connsiteX63" fmla="*/ 1624012 w 5986462"/>
              <a:gd name="connsiteY63" fmla="*/ 781050 h 2452687"/>
              <a:gd name="connsiteX64" fmla="*/ 1604962 w 5986462"/>
              <a:gd name="connsiteY64" fmla="*/ 781050 h 2452687"/>
              <a:gd name="connsiteX65" fmla="*/ 1604962 w 5986462"/>
              <a:gd name="connsiteY65" fmla="*/ 733425 h 2452687"/>
              <a:gd name="connsiteX66" fmla="*/ 1509712 w 5986462"/>
              <a:gd name="connsiteY66" fmla="*/ 733425 h 2452687"/>
              <a:gd name="connsiteX67" fmla="*/ 1509712 w 5986462"/>
              <a:gd name="connsiteY67" fmla="*/ 700087 h 2452687"/>
              <a:gd name="connsiteX68" fmla="*/ 1447800 w 5986462"/>
              <a:gd name="connsiteY68" fmla="*/ 700087 h 2452687"/>
              <a:gd name="connsiteX69" fmla="*/ 1447800 w 5986462"/>
              <a:gd name="connsiteY69" fmla="*/ 661987 h 2452687"/>
              <a:gd name="connsiteX70" fmla="*/ 1419225 w 5986462"/>
              <a:gd name="connsiteY70" fmla="*/ 661987 h 2452687"/>
              <a:gd name="connsiteX71" fmla="*/ 1419225 w 5986462"/>
              <a:gd name="connsiteY71" fmla="*/ 619125 h 2452687"/>
              <a:gd name="connsiteX72" fmla="*/ 1376362 w 5986462"/>
              <a:gd name="connsiteY72" fmla="*/ 619125 h 2452687"/>
              <a:gd name="connsiteX73" fmla="*/ 1376362 w 5986462"/>
              <a:gd name="connsiteY73" fmla="*/ 581025 h 2452687"/>
              <a:gd name="connsiteX74" fmla="*/ 1328737 w 5986462"/>
              <a:gd name="connsiteY74" fmla="*/ 581025 h 2452687"/>
              <a:gd name="connsiteX75" fmla="*/ 1328737 w 5986462"/>
              <a:gd name="connsiteY75" fmla="*/ 542925 h 2452687"/>
              <a:gd name="connsiteX76" fmla="*/ 1290637 w 5986462"/>
              <a:gd name="connsiteY76" fmla="*/ 542925 h 2452687"/>
              <a:gd name="connsiteX77" fmla="*/ 1290637 w 5986462"/>
              <a:gd name="connsiteY77" fmla="*/ 509587 h 2452687"/>
              <a:gd name="connsiteX78" fmla="*/ 1004887 w 5986462"/>
              <a:gd name="connsiteY78" fmla="*/ 509587 h 2452687"/>
              <a:gd name="connsiteX79" fmla="*/ 1004887 w 5986462"/>
              <a:gd name="connsiteY79" fmla="*/ 452437 h 2452687"/>
              <a:gd name="connsiteX80" fmla="*/ 1004887 w 5986462"/>
              <a:gd name="connsiteY80" fmla="*/ 452437 h 2452687"/>
              <a:gd name="connsiteX81" fmla="*/ 1004887 w 5986462"/>
              <a:gd name="connsiteY81" fmla="*/ 385762 h 2452687"/>
              <a:gd name="connsiteX82" fmla="*/ 890587 w 5986462"/>
              <a:gd name="connsiteY82" fmla="*/ 385762 h 2452687"/>
              <a:gd name="connsiteX83" fmla="*/ 890587 w 5986462"/>
              <a:gd name="connsiteY83" fmla="*/ 347662 h 2452687"/>
              <a:gd name="connsiteX84" fmla="*/ 828675 w 5986462"/>
              <a:gd name="connsiteY84" fmla="*/ 347662 h 2452687"/>
              <a:gd name="connsiteX85" fmla="*/ 828675 w 5986462"/>
              <a:gd name="connsiteY85" fmla="*/ 280987 h 2452687"/>
              <a:gd name="connsiteX86" fmla="*/ 690562 w 5986462"/>
              <a:gd name="connsiteY86" fmla="*/ 280987 h 2452687"/>
              <a:gd name="connsiteX87" fmla="*/ 690562 w 5986462"/>
              <a:gd name="connsiteY87" fmla="*/ 233362 h 2452687"/>
              <a:gd name="connsiteX88" fmla="*/ 533400 w 5986462"/>
              <a:gd name="connsiteY88" fmla="*/ 233362 h 2452687"/>
              <a:gd name="connsiteX89" fmla="*/ 533400 w 5986462"/>
              <a:gd name="connsiteY89" fmla="*/ 195262 h 2452687"/>
              <a:gd name="connsiteX90" fmla="*/ 490537 w 5986462"/>
              <a:gd name="connsiteY90" fmla="*/ 195262 h 2452687"/>
              <a:gd name="connsiteX91" fmla="*/ 490537 w 5986462"/>
              <a:gd name="connsiteY91" fmla="*/ 157162 h 2452687"/>
              <a:gd name="connsiteX92" fmla="*/ 404812 w 5986462"/>
              <a:gd name="connsiteY92" fmla="*/ 157162 h 2452687"/>
              <a:gd name="connsiteX93" fmla="*/ 404812 w 5986462"/>
              <a:gd name="connsiteY93" fmla="*/ 157162 h 2452687"/>
              <a:gd name="connsiteX94" fmla="*/ 366712 w 5986462"/>
              <a:gd name="connsiteY94" fmla="*/ 119062 h 2452687"/>
              <a:gd name="connsiteX95" fmla="*/ 366712 w 5986462"/>
              <a:gd name="connsiteY95" fmla="*/ 71437 h 2452687"/>
              <a:gd name="connsiteX96" fmla="*/ 219075 w 5986462"/>
              <a:gd name="connsiteY96" fmla="*/ 71437 h 2452687"/>
              <a:gd name="connsiteX97" fmla="*/ 219075 w 5986462"/>
              <a:gd name="connsiteY97" fmla="*/ 0 h 2452687"/>
              <a:gd name="connsiteX98" fmla="*/ 171450 w 5986462"/>
              <a:gd name="connsiteY98" fmla="*/ 0 h 2452687"/>
              <a:gd name="connsiteX99" fmla="*/ 0 w 5986462"/>
              <a:gd name="connsiteY99" fmla="*/ 0 h 245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5986462" h="2452687">
                <a:moveTo>
                  <a:pt x="5986462" y="2452687"/>
                </a:moveTo>
                <a:lnTo>
                  <a:pt x="4719637" y="2452687"/>
                </a:lnTo>
                <a:lnTo>
                  <a:pt x="4719637" y="2366962"/>
                </a:lnTo>
                <a:lnTo>
                  <a:pt x="4205287" y="2366962"/>
                </a:lnTo>
                <a:lnTo>
                  <a:pt x="4205287" y="2295525"/>
                </a:lnTo>
                <a:lnTo>
                  <a:pt x="4019550" y="2295525"/>
                </a:lnTo>
                <a:lnTo>
                  <a:pt x="4019550" y="2243137"/>
                </a:lnTo>
                <a:lnTo>
                  <a:pt x="3838575" y="2243137"/>
                </a:lnTo>
                <a:lnTo>
                  <a:pt x="3838575" y="2176462"/>
                </a:lnTo>
                <a:lnTo>
                  <a:pt x="3633787" y="2176462"/>
                </a:lnTo>
                <a:lnTo>
                  <a:pt x="3633787" y="2119312"/>
                </a:lnTo>
                <a:lnTo>
                  <a:pt x="3633787" y="2119312"/>
                </a:lnTo>
                <a:lnTo>
                  <a:pt x="3633787" y="2057400"/>
                </a:lnTo>
                <a:lnTo>
                  <a:pt x="3495675" y="2057400"/>
                </a:lnTo>
                <a:lnTo>
                  <a:pt x="3495675" y="2009775"/>
                </a:lnTo>
                <a:lnTo>
                  <a:pt x="3452812" y="2009775"/>
                </a:lnTo>
                <a:lnTo>
                  <a:pt x="3452812" y="1900237"/>
                </a:lnTo>
                <a:lnTo>
                  <a:pt x="3305175" y="1900237"/>
                </a:lnTo>
                <a:lnTo>
                  <a:pt x="3305175" y="1843087"/>
                </a:lnTo>
                <a:lnTo>
                  <a:pt x="3281362" y="1843087"/>
                </a:lnTo>
                <a:lnTo>
                  <a:pt x="3281362" y="1809750"/>
                </a:lnTo>
                <a:lnTo>
                  <a:pt x="3038475" y="1809750"/>
                </a:lnTo>
                <a:lnTo>
                  <a:pt x="3038475" y="1757362"/>
                </a:lnTo>
                <a:lnTo>
                  <a:pt x="2843212" y="1757362"/>
                </a:lnTo>
                <a:lnTo>
                  <a:pt x="2843212" y="1724025"/>
                </a:lnTo>
                <a:lnTo>
                  <a:pt x="2767012" y="1724025"/>
                </a:lnTo>
                <a:lnTo>
                  <a:pt x="2767012" y="1638300"/>
                </a:lnTo>
                <a:lnTo>
                  <a:pt x="2705100" y="1638300"/>
                </a:lnTo>
                <a:lnTo>
                  <a:pt x="2705100" y="1600200"/>
                </a:lnTo>
                <a:lnTo>
                  <a:pt x="2671762" y="1600200"/>
                </a:lnTo>
                <a:lnTo>
                  <a:pt x="2671762" y="1576387"/>
                </a:lnTo>
                <a:lnTo>
                  <a:pt x="2619375" y="1576387"/>
                </a:lnTo>
                <a:lnTo>
                  <a:pt x="2619375" y="1524000"/>
                </a:lnTo>
                <a:lnTo>
                  <a:pt x="2543175" y="1524000"/>
                </a:lnTo>
                <a:lnTo>
                  <a:pt x="2543175" y="1476375"/>
                </a:lnTo>
                <a:lnTo>
                  <a:pt x="2543175" y="1476375"/>
                </a:lnTo>
                <a:lnTo>
                  <a:pt x="2500312" y="1433512"/>
                </a:lnTo>
                <a:lnTo>
                  <a:pt x="2500312" y="1390650"/>
                </a:lnTo>
                <a:lnTo>
                  <a:pt x="2400300" y="1390650"/>
                </a:lnTo>
                <a:lnTo>
                  <a:pt x="2400300" y="1371600"/>
                </a:lnTo>
                <a:lnTo>
                  <a:pt x="2300287" y="1371600"/>
                </a:lnTo>
                <a:lnTo>
                  <a:pt x="2300287" y="1323975"/>
                </a:lnTo>
                <a:lnTo>
                  <a:pt x="2233612" y="1323975"/>
                </a:lnTo>
                <a:lnTo>
                  <a:pt x="2233612" y="1257300"/>
                </a:lnTo>
                <a:lnTo>
                  <a:pt x="2181225" y="1257300"/>
                </a:lnTo>
                <a:lnTo>
                  <a:pt x="2181225" y="1257300"/>
                </a:lnTo>
                <a:lnTo>
                  <a:pt x="2147887" y="1223962"/>
                </a:lnTo>
                <a:lnTo>
                  <a:pt x="2147887" y="1171575"/>
                </a:lnTo>
                <a:lnTo>
                  <a:pt x="2085975" y="1171575"/>
                </a:lnTo>
                <a:lnTo>
                  <a:pt x="2085975" y="1085850"/>
                </a:lnTo>
                <a:lnTo>
                  <a:pt x="1966912" y="1085850"/>
                </a:lnTo>
                <a:lnTo>
                  <a:pt x="1966912" y="1009650"/>
                </a:lnTo>
                <a:lnTo>
                  <a:pt x="1900237" y="1009650"/>
                </a:lnTo>
                <a:lnTo>
                  <a:pt x="1900237" y="942975"/>
                </a:lnTo>
                <a:lnTo>
                  <a:pt x="1828800" y="942975"/>
                </a:lnTo>
                <a:lnTo>
                  <a:pt x="1828800" y="909637"/>
                </a:lnTo>
                <a:lnTo>
                  <a:pt x="1828800" y="909637"/>
                </a:lnTo>
                <a:lnTo>
                  <a:pt x="1795462" y="876299"/>
                </a:lnTo>
                <a:lnTo>
                  <a:pt x="1728787" y="876299"/>
                </a:lnTo>
                <a:lnTo>
                  <a:pt x="1728787" y="819150"/>
                </a:lnTo>
                <a:lnTo>
                  <a:pt x="1662112" y="819150"/>
                </a:lnTo>
                <a:lnTo>
                  <a:pt x="1662112" y="819150"/>
                </a:lnTo>
                <a:lnTo>
                  <a:pt x="1624012" y="781050"/>
                </a:lnTo>
                <a:lnTo>
                  <a:pt x="1624012" y="781050"/>
                </a:lnTo>
                <a:lnTo>
                  <a:pt x="1604962" y="781050"/>
                </a:lnTo>
                <a:lnTo>
                  <a:pt x="1604962" y="733425"/>
                </a:lnTo>
                <a:lnTo>
                  <a:pt x="1509712" y="733425"/>
                </a:lnTo>
                <a:lnTo>
                  <a:pt x="1509712" y="700087"/>
                </a:lnTo>
                <a:lnTo>
                  <a:pt x="1447800" y="700087"/>
                </a:lnTo>
                <a:lnTo>
                  <a:pt x="1447800" y="661987"/>
                </a:lnTo>
                <a:lnTo>
                  <a:pt x="1419225" y="661987"/>
                </a:lnTo>
                <a:lnTo>
                  <a:pt x="1419225" y="619125"/>
                </a:lnTo>
                <a:lnTo>
                  <a:pt x="1376362" y="619125"/>
                </a:lnTo>
                <a:lnTo>
                  <a:pt x="1376362" y="581025"/>
                </a:lnTo>
                <a:lnTo>
                  <a:pt x="1328737" y="581025"/>
                </a:lnTo>
                <a:lnTo>
                  <a:pt x="1328737" y="542925"/>
                </a:lnTo>
                <a:lnTo>
                  <a:pt x="1290637" y="542925"/>
                </a:lnTo>
                <a:lnTo>
                  <a:pt x="1290637" y="509587"/>
                </a:lnTo>
                <a:lnTo>
                  <a:pt x="1004887" y="509587"/>
                </a:lnTo>
                <a:lnTo>
                  <a:pt x="1004887" y="452437"/>
                </a:lnTo>
                <a:lnTo>
                  <a:pt x="1004887" y="452437"/>
                </a:lnTo>
                <a:lnTo>
                  <a:pt x="1004887" y="385762"/>
                </a:lnTo>
                <a:lnTo>
                  <a:pt x="890587" y="385762"/>
                </a:lnTo>
                <a:lnTo>
                  <a:pt x="890587" y="347662"/>
                </a:lnTo>
                <a:lnTo>
                  <a:pt x="828675" y="347662"/>
                </a:lnTo>
                <a:lnTo>
                  <a:pt x="828675" y="280987"/>
                </a:lnTo>
                <a:lnTo>
                  <a:pt x="690562" y="280987"/>
                </a:lnTo>
                <a:lnTo>
                  <a:pt x="690562" y="233362"/>
                </a:lnTo>
                <a:lnTo>
                  <a:pt x="533400" y="233362"/>
                </a:lnTo>
                <a:lnTo>
                  <a:pt x="533400" y="195262"/>
                </a:lnTo>
                <a:lnTo>
                  <a:pt x="490537" y="195262"/>
                </a:lnTo>
                <a:lnTo>
                  <a:pt x="490537" y="157162"/>
                </a:lnTo>
                <a:lnTo>
                  <a:pt x="404812" y="157162"/>
                </a:lnTo>
                <a:lnTo>
                  <a:pt x="404812" y="157162"/>
                </a:lnTo>
                <a:lnTo>
                  <a:pt x="366712" y="119062"/>
                </a:lnTo>
                <a:lnTo>
                  <a:pt x="366712" y="71437"/>
                </a:lnTo>
                <a:lnTo>
                  <a:pt x="219075" y="71437"/>
                </a:lnTo>
                <a:lnTo>
                  <a:pt x="219075" y="0"/>
                </a:lnTo>
                <a:lnTo>
                  <a:pt x="17145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2C0EE26C-94C3-4798-968F-BDD5EB083353}"/>
              </a:ext>
            </a:extLst>
          </p:cNvPr>
          <p:cNvGrpSpPr/>
          <p:nvPr/>
        </p:nvGrpSpPr>
        <p:grpSpPr>
          <a:xfrm>
            <a:off x="2819400" y="2019299"/>
            <a:ext cx="6129338" cy="2395539"/>
            <a:chOff x="2819400" y="2019299"/>
            <a:chExt cx="6129338" cy="2395539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AF118AF8-5949-4237-9707-4D581F65C28B}"/>
                </a:ext>
              </a:extLst>
            </p:cNvPr>
            <p:cNvSpPr/>
            <p:nvPr/>
          </p:nvSpPr>
          <p:spPr bwMode="auto">
            <a:xfrm>
              <a:off x="4619625" y="2614613"/>
              <a:ext cx="4329113" cy="1800225"/>
            </a:xfrm>
            <a:custGeom>
              <a:avLst/>
              <a:gdLst>
                <a:gd name="connsiteX0" fmla="*/ 4395788 w 4395788"/>
                <a:gd name="connsiteY0" fmla="*/ 1900238 h 1900238"/>
                <a:gd name="connsiteX1" fmla="*/ 3390900 w 4395788"/>
                <a:gd name="connsiteY1" fmla="*/ 1900238 h 1900238"/>
                <a:gd name="connsiteX2" fmla="*/ 3390900 w 4395788"/>
                <a:gd name="connsiteY2" fmla="*/ 1771650 h 1900238"/>
                <a:gd name="connsiteX3" fmla="*/ 3186113 w 4395788"/>
                <a:gd name="connsiteY3" fmla="*/ 1771650 h 1900238"/>
                <a:gd name="connsiteX4" fmla="*/ 3186113 w 4395788"/>
                <a:gd name="connsiteY4" fmla="*/ 1681163 h 1900238"/>
                <a:gd name="connsiteX5" fmla="*/ 2957513 w 4395788"/>
                <a:gd name="connsiteY5" fmla="*/ 1681163 h 1900238"/>
                <a:gd name="connsiteX6" fmla="*/ 2957513 w 4395788"/>
                <a:gd name="connsiteY6" fmla="*/ 1681163 h 1900238"/>
                <a:gd name="connsiteX7" fmla="*/ 2924175 w 4395788"/>
                <a:gd name="connsiteY7" fmla="*/ 1647825 h 1900238"/>
                <a:gd name="connsiteX8" fmla="*/ 2924175 w 4395788"/>
                <a:gd name="connsiteY8" fmla="*/ 1585913 h 1900238"/>
                <a:gd name="connsiteX9" fmla="*/ 2809875 w 4395788"/>
                <a:gd name="connsiteY9" fmla="*/ 1585913 h 1900238"/>
                <a:gd name="connsiteX10" fmla="*/ 2809875 w 4395788"/>
                <a:gd name="connsiteY10" fmla="*/ 1543050 h 1900238"/>
                <a:gd name="connsiteX11" fmla="*/ 2719388 w 4395788"/>
                <a:gd name="connsiteY11" fmla="*/ 1543050 h 1900238"/>
                <a:gd name="connsiteX12" fmla="*/ 2719388 w 4395788"/>
                <a:gd name="connsiteY12" fmla="*/ 1471613 h 1900238"/>
                <a:gd name="connsiteX13" fmla="*/ 2633663 w 4395788"/>
                <a:gd name="connsiteY13" fmla="*/ 1471613 h 1900238"/>
                <a:gd name="connsiteX14" fmla="*/ 2633663 w 4395788"/>
                <a:gd name="connsiteY14" fmla="*/ 1428750 h 1900238"/>
                <a:gd name="connsiteX15" fmla="*/ 2571750 w 4395788"/>
                <a:gd name="connsiteY15" fmla="*/ 1428750 h 1900238"/>
                <a:gd name="connsiteX16" fmla="*/ 2571750 w 4395788"/>
                <a:gd name="connsiteY16" fmla="*/ 1376363 h 1900238"/>
                <a:gd name="connsiteX17" fmla="*/ 2395538 w 4395788"/>
                <a:gd name="connsiteY17" fmla="*/ 1376363 h 1900238"/>
                <a:gd name="connsiteX18" fmla="*/ 2409825 w 4395788"/>
                <a:gd name="connsiteY18" fmla="*/ 1362076 h 1900238"/>
                <a:gd name="connsiteX19" fmla="*/ 2257425 w 4395788"/>
                <a:gd name="connsiteY19" fmla="*/ 1362076 h 1900238"/>
                <a:gd name="connsiteX20" fmla="*/ 2257425 w 4395788"/>
                <a:gd name="connsiteY20" fmla="*/ 1285875 h 1900238"/>
                <a:gd name="connsiteX21" fmla="*/ 2095500 w 4395788"/>
                <a:gd name="connsiteY21" fmla="*/ 1285875 h 1900238"/>
                <a:gd name="connsiteX22" fmla="*/ 2095500 w 4395788"/>
                <a:gd name="connsiteY22" fmla="*/ 1243013 h 1900238"/>
                <a:gd name="connsiteX23" fmla="*/ 2062163 w 4395788"/>
                <a:gd name="connsiteY23" fmla="*/ 1243013 h 1900238"/>
                <a:gd name="connsiteX24" fmla="*/ 2062163 w 4395788"/>
                <a:gd name="connsiteY24" fmla="*/ 1195388 h 1900238"/>
                <a:gd name="connsiteX25" fmla="*/ 1995488 w 4395788"/>
                <a:gd name="connsiteY25" fmla="*/ 1195388 h 1900238"/>
                <a:gd name="connsiteX26" fmla="*/ 1995488 w 4395788"/>
                <a:gd name="connsiteY26" fmla="*/ 1143000 h 1900238"/>
                <a:gd name="connsiteX27" fmla="*/ 1952625 w 4395788"/>
                <a:gd name="connsiteY27" fmla="*/ 1143000 h 1900238"/>
                <a:gd name="connsiteX28" fmla="*/ 1952625 w 4395788"/>
                <a:gd name="connsiteY28" fmla="*/ 1119188 h 1900238"/>
                <a:gd name="connsiteX29" fmla="*/ 1662113 w 4395788"/>
                <a:gd name="connsiteY29" fmla="*/ 1119188 h 1900238"/>
                <a:gd name="connsiteX30" fmla="*/ 1662113 w 4395788"/>
                <a:gd name="connsiteY30" fmla="*/ 1062038 h 1900238"/>
                <a:gd name="connsiteX31" fmla="*/ 1566863 w 4395788"/>
                <a:gd name="connsiteY31" fmla="*/ 1062038 h 1900238"/>
                <a:gd name="connsiteX32" fmla="*/ 1566863 w 4395788"/>
                <a:gd name="connsiteY32" fmla="*/ 966788 h 1900238"/>
                <a:gd name="connsiteX33" fmla="*/ 1495425 w 4395788"/>
                <a:gd name="connsiteY33" fmla="*/ 966788 h 1900238"/>
                <a:gd name="connsiteX34" fmla="*/ 1495425 w 4395788"/>
                <a:gd name="connsiteY34" fmla="*/ 895350 h 1900238"/>
                <a:gd name="connsiteX35" fmla="*/ 1495425 w 4395788"/>
                <a:gd name="connsiteY35" fmla="*/ 895350 h 1900238"/>
                <a:gd name="connsiteX36" fmla="*/ 1447800 w 4395788"/>
                <a:gd name="connsiteY36" fmla="*/ 847725 h 1900238"/>
                <a:gd name="connsiteX37" fmla="*/ 1352550 w 4395788"/>
                <a:gd name="connsiteY37" fmla="*/ 847725 h 1900238"/>
                <a:gd name="connsiteX38" fmla="*/ 1347788 w 4395788"/>
                <a:gd name="connsiteY38" fmla="*/ 800100 h 1900238"/>
                <a:gd name="connsiteX39" fmla="*/ 1347788 w 4395788"/>
                <a:gd name="connsiteY39" fmla="*/ 747713 h 1900238"/>
                <a:gd name="connsiteX40" fmla="*/ 1238250 w 4395788"/>
                <a:gd name="connsiteY40" fmla="*/ 747713 h 1900238"/>
                <a:gd name="connsiteX41" fmla="*/ 1238250 w 4395788"/>
                <a:gd name="connsiteY41" fmla="*/ 681038 h 1900238"/>
                <a:gd name="connsiteX42" fmla="*/ 1119188 w 4395788"/>
                <a:gd name="connsiteY42" fmla="*/ 681038 h 1900238"/>
                <a:gd name="connsiteX43" fmla="*/ 1119188 w 4395788"/>
                <a:gd name="connsiteY43" fmla="*/ 642938 h 1900238"/>
                <a:gd name="connsiteX44" fmla="*/ 1038225 w 4395788"/>
                <a:gd name="connsiteY44" fmla="*/ 642938 h 1900238"/>
                <a:gd name="connsiteX45" fmla="*/ 1038225 w 4395788"/>
                <a:gd name="connsiteY45" fmla="*/ 614363 h 1900238"/>
                <a:gd name="connsiteX46" fmla="*/ 1019175 w 4395788"/>
                <a:gd name="connsiteY46" fmla="*/ 614363 h 1900238"/>
                <a:gd name="connsiteX47" fmla="*/ 1019175 w 4395788"/>
                <a:gd name="connsiteY47" fmla="*/ 595313 h 1900238"/>
                <a:gd name="connsiteX48" fmla="*/ 971550 w 4395788"/>
                <a:gd name="connsiteY48" fmla="*/ 595313 h 1900238"/>
                <a:gd name="connsiteX49" fmla="*/ 971550 w 4395788"/>
                <a:gd name="connsiteY49" fmla="*/ 557213 h 1900238"/>
                <a:gd name="connsiteX50" fmla="*/ 919163 w 4395788"/>
                <a:gd name="connsiteY50" fmla="*/ 557213 h 1900238"/>
                <a:gd name="connsiteX51" fmla="*/ 919163 w 4395788"/>
                <a:gd name="connsiteY51" fmla="*/ 495300 h 1900238"/>
                <a:gd name="connsiteX52" fmla="*/ 742950 w 4395788"/>
                <a:gd name="connsiteY52" fmla="*/ 495300 h 1900238"/>
                <a:gd name="connsiteX53" fmla="*/ 742950 w 4395788"/>
                <a:gd name="connsiteY53" fmla="*/ 495300 h 1900238"/>
                <a:gd name="connsiteX54" fmla="*/ 652463 w 4395788"/>
                <a:gd name="connsiteY54" fmla="*/ 495300 h 1900238"/>
                <a:gd name="connsiteX55" fmla="*/ 652463 w 4395788"/>
                <a:gd name="connsiteY55" fmla="*/ 452438 h 1900238"/>
                <a:gd name="connsiteX56" fmla="*/ 590550 w 4395788"/>
                <a:gd name="connsiteY56" fmla="*/ 452438 h 1900238"/>
                <a:gd name="connsiteX57" fmla="*/ 590550 w 4395788"/>
                <a:gd name="connsiteY57" fmla="*/ 452438 h 1900238"/>
                <a:gd name="connsiteX58" fmla="*/ 519113 w 4395788"/>
                <a:gd name="connsiteY58" fmla="*/ 452438 h 1900238"/>
                <a:gd name="connsiteX59" fmla="*/ 519113 w 4395788"/>
                <a:gd name="connsiteY59" fmla="*/ 385763 h 1900238"/>
                <a:gd name="connsiteX60" fmla="*/ 414338 w 4395788"/>
                <a:gd name="connsiteY60" fmla="*/ 385763 h 1900238"/>
                <a:gd name="connsiteX61" fmla="*/ 414338 w 4395788"/>
                <a:gd name="connsiteY61" fmla="*/ 323850 h 1900238"/>
                <a:gd name="connsiteX62" fmla="*/ 361950 w 4395788"/>
                <a:gd name="connsiteY62" fmla="*/ 323850 h 1900238"/>
                <a:gd name="connsiteX63" fmla="*/ 361950 w 4395788"/>
                <a:gd name="connsiteY63" fmla="*/ 290513 h 1900238"/>
                <a:gd name="connsiteX64" fmla="*/ 285750 w 4395788"/>
                <a:gd name="connsiteY64" fmla="*/ 290513 h 1900238"/>
                <a:gd name="connsiteX65" fmla="*/ 285750 w 4395788"/>
                <a:gd name="connsiteY65" fmla="*/ 176213 h 1900238"/>
                <a:gd name="connsiteX66" fmla="*/ 133350 w 4395788"/>
                <a:gd name="connsiteY66" fmla="*/ 176213 h 1900238"/>
                <a:gd name="connsiteX67" fmla="*/ 133350 w 4395788"/>
                <a:gd name="connsiteY67" fmla="*/ 138113 h 1900238"/>
                <a:gd name="connsiteX68" fmla="*/ 66675 w 4395788"/>
                <a:gd name="connsiteY68" fmla="*/ 138113 h 1900238"/>
                <a:gd name="connsiteX69" fmla="*/ 66675 w 4395788"/>
                <a:gd name="connsiteY69" fmla="*/ 100013 h 1900238"/>
                <a:gd name="connsiteX70" fmla="*/ 66675 w 4395788"/>
                <a:gd name="connsiteY70" fmla="*/ 100013 h 1900238"/>
                <a:gd name="connsiteX71" fmla="*/ 66675 w 4395788"/>
                <a:gd name="connsiteY71" fmla="*/ 100013 h 1900238"/>
                <a:gd name="connsiteX72" fmla="*/ 66675 w 4395788"/>
                <a:gd name="connsiteY72" fmla="*/ 38100 h 1900238"/>
                <a:gd name="connsiteX73" fmla="*/ 0 w 4395788"/>
                <a:gd name="connsiteY73" fmla="*/ 38100 h 1900238"/>
                <a:gd name="connsiteX74" fmla="*/ 0 w 4395788"/>
                <a:gd name="connsiteY74" fmla="*/ 38100 h 1900238"/>
                <a:gd name="connsiteX75" fmla="*/ 0 w 4395788"/>
                <a:gd name="connsiteY75" fmla="*/ 0 h 1900238"/>
                <a:gd name="connsiteX0" fmla="*/ 4395788 w 4395788"/>
                <a:gd name="connsiteY0" fmla="*/ 1862138 h 1862138"/>
                <a:gd name="connsiteX1" fmla="*/ 3390900 w 4395788"/>
                <a:gd name="connsiteY1" fmla="*/ 1862138 h 1862138"/>
                <a:gd name="connsiteX2" fmla="*/ 3390900 w 4395788"/>
                <a:gd name="connsiteY2" fmla="*/ 1733550 h 1862138"/>
                <a:gd name="connsiteX3" fmla="*/ 3186113 w 4395788"/>
                <a:gd name="connsiteY3" fmla="*/ 1733550 h 1862138"/>
                <a:gd name="connsiteX4" fmla="*/ 3186113 w 4395788"/>
                <a:gd name="connsiteY4" fmla="*/ 1643063 h 1862138"/>
                <a:gd name="connsiteX5" fmla="*/ 2957513 w 4395788"/>
                <a:gd name="connsiteY5" fmla="*/ 1643063 h 1862138"/>
                <a:gd name="connsiteX6" fmla="*/ 2957513 w 4395788"/>
                <a:gd name="connsiteY6" fmla="*/ 1643063 h 1862138"/>
                <a:gd name="connsiteX7" fmla="*/ 2924175 w 4395788"/>
                <a:gd name="connsiteY7" fmla="*/ 1609725 h 1862138"/>
                <a:gd name="connsiteX8" fmla="*/ 2924175 w 4395788"/>
                <a:gd name="connsiteY8" fmla="*/ 1547813 h 1862138"/>
                <a:gd name="connsiteX9" fmla="*/ 2809875 w 4395788"/>
                <a:gd name="connsiteY9" fmla="*/ 1547813 h 1862138"/>
                <a:gd name="connsiteX10" fmla="*/ 2809875 w 4395788"/>
                <a:gd name="connsiteY10" fmla="*/ 1504950 h 1862138"/>
                <a:gd name="connsiteX11" fmla="*/ 2719388 w 4395788"/>
                <a:gd name="connsiteY11" fmla="*/ 1504950 h 1862138"/>
                <a:gd name="connsiteX12" fmla="*/ 2719388 w 4395788"/>
                <a:gd name="connsiteY12" fmla="*/ 1433513 h 1862138"/>
                <a:gd name="connsiteX13" fmla="*/ 2633663 w 4395788"/>
                <a:gd name="connsiteY13" fmla="*/ 1433513 h 1862138"/>
                <a:gd name="connsiteX14" fmla="*/ 2633663 w 4395788"/>
                <a:gd name="connsiteY14" fmla="*/ 1390650 h 1862138"/>
                <a:gd name="connsiteX15" fmla="*/ 2571750 w 4395788"/>
                <a:gd name="connsiteY15" fmla="*/ 1390650 h 1862138"/>
                <a:gd name="connsiteX16" fmla="*/ 2571750 w 4395788"/>
                <a:gd name="connsiteY16" fmla="*/ 1338263 h 1862138"/>
                <a:gd name="connsiteX17" fmla="*/ 2395538 w 4395788"/>
                <a:gd name="connsiteY17" fmla="*/ 1338263 h 1862138"/>
                <a:gd name="connsiteX18" fmla="*/ 2409825 w 4395788"/>
                <a:gd name="connsiteY18" fmla="*/ 1323976 h 1862138"/>
                <a:gd name="connsiteX19" fmla="*/ 2257425 w 4395788"/>
                <a:gd name="connsiteY19" fmla="*/ 1323976 h 1862138"/>
                <a:gd name="connsiteX20" fmla="*/ 2257425 w 4395788"/>
                <a:gd name="connsiteY20" fmla="*/ 1247775 h 1862138"/>
                <a:gd name="connsiteX21" fmla="*/ 2095500 w 4395788"/>
                <a:gd name="connsiteY21" fmla="*/ 1247775 h 1862138"/>
                <a:gd name="connsiteX22" fmla="*/ 2095500 w 4395788"/>
                <a:gd name="connsiteY22" fmla="*/ 1204913 h 1862138"/>
                <a:gd name="connsiteX23" fmla="*/ 2062163 w 4395788"/>
                <a:gd name="connsiteY23" fmla="*/ 1204913 h 1862138"/>
                <a:gd name="connsiteX24" fmla="*/ 2062163 w 4395788"/>
                <a:gd name="connsiteY24" fmla="*/ 1157288 h 1862138"/>
                <a:gd name="connsiteX25" fmla="*/ 1995488 w 4395788"/>
                <a:gd name="connsiteY25" fmla="*/ 1157288 h 1862138"/>
                <a:gd name="connsiteX26" fmla="*/ 1995488 w 4395788"/>
                <a:gd name="connsiteY26" fmla="*/ 1104900 h 1862138"/>
                <a:gd name="connsiteX27" fmla="*/ 1952625 w 4395788"/>
                <a:gd name="connsiteY27" fmla="*/ 1104900 h 1862138"/>
                <a:gd name="connsiteX28" fmla="*/ 1952625 w 4395788"/>
                <a:gd name="connsiteY28" fmla="*/ 1081088 h 1862138"/>
                <a:gd name="connsiteX29" fmla="*/ 1662113 w 4395788"/>
                <a:gd name="connsiteY29" fmla="*/ 1081088 h 1862138"/>
                <a:gd name="connsiteX30" fmla="*/ 1662113 w 4395788"/>
                <a:gd name="connsiteY30" fmla="*/ 1023938 h 1862138"/>
                <a:gd name="connsiteX31" fmla="*/ 1566863 w 4395788"/>
                <a:gd name="connsiteY31" fmla="*/ 1023938 h 1862138"/>
                <a:gd name="connsiteX32" fmla="*/ 1566863 w 4395788"/>
                <a:gd name="connsiteY32" fmla="*/ 928688 h 1862138"/>
                <a:gd name="connsiteX33" fmla="*/ 1495425 w 4395788"/>
                <a:gd name="connsiteY33" fmla="*/ 928688 h 1862138"/>
                <a:gd name="connsiteX34" fmla="*/ 1495425 w 4395788"/>
                <a:gd name="connsiteY34" fmla="*/ 857250 h 1862138"/>
                <a:gd name="connsiteX35" fmla="*/ 1495425 w 4395788"/>
                <a:gd name="connsiteY35" fmla="*/ 857250 h 1862138"/>
                <a:gd name="connsiteX36" fmla="*/ 1447800 w 4395788"/>
                <a:gd name="connsiteY36" fmla="*/ 809625 h 1862138"/>
                <a:gd name="connsiteX37" fmla="*/ 1352550 w 4395788"/>
                <a:gd name="connsiteY37" fmla="*/ 809625 h 1862138"/>
                <a:gd name="connsiteX38" fmla="*/ 1347788 w 4395788"/>
                <a:gd name="connsiteY38" fmla="*/ 762000 h 1862138"/>
                <a:gd name="connsiteX39" fmla="*/ 1347788 w 4395788"/>
                <a:gd name="connsiteY39" fmla="*/ 709613 h 1862138"/>
                <a:gd name="connsiteX40" fmla="*/ 1238250 w 4395788"/>
                <a:gd name="connsiteY40" fmla="*/ 709613 h 1862138"/>
                <a:gd name="connsiteX41" fmla="*/ 1238250 w 4395788"/>
                <a:gd name="connsiteY41" fmla="*/ 642938 h 1862138"/>
                <a:gd name="connsiteX42" fmla="*/ 1119188 w 4395788"/>
                <a:gd name="connsiteY42" fmla="*/ 642938 h 1862138"/>
                <a:gd name="connsiteX43" fmla="*/ 1119188 w 4395788"/>
                <a:gd name="connsiteY43" fmla="*/ 604838 h 1862138"/>
                <a:gd name="connsiteX44" fmla="*/ 1038225 w 4395788"/>
                <a:gd name="connsiteY44" fmla="*/ 604838 h 1862138"/>
                <a:gd name="connsiteX45" fmla="*/ 1038225 w 4395788"/>
                <a:gd name="connsiteY45" fmla="*/ 576263 h 1862138"/>
                <a:gd name="connsiteX46" fmla="*/ 1019175 w 4395788"/>
                <a:gd name="connsiteY46" fmla="*/ 576263 h 1862138"/>
                <a:gd name="connsiteX47" fmla="*/ 1019175 w 4395788"/>
                <a:gd name="connsiteY47" fmla="*/ 557213 h 1862138"/>
                <a:gd name="connsiteX48" fmla="*/ 971550 w 4395788"/>
                <a:gd name="connsiteY48" fmla="*/ 557213 h 1862138"/>
                <a:gd name="connsiteX49" fmla="*/ 971550 w 4395788"/>
                <a:gd name="connsiteY49" fmla="*/ 519113 h 1862138"/>
                <a:gd name="connsiteX50" fmla="*/ 919163 w 4395788"/>
                <a:gd name="connsiteY50" fmla="*/ 519113 h 1862138"/>
                <a:gd name="connsiteX51" fmla="*/ 919163 w 4395788"/>
                <a:gd name="connsiteY51" fmla="*/ 457200 h 1862138"/>
                <a:gd name="connsiteX52" fmla="*/ 742950 w 4395788"/>
                <a:gd name="connsiteY52" fmla="*/ 457200 h 1862138"/>
                <a:gd name="connsiteX53" fmla="*/ 742950 w 4395788"/>
                <a:gd name="connsiteY53" fmla="*/ 457200 h 1862138"/>
                <a:gd name="connsiteX54" fmla="*/ 652463 w 4395788"/>
                <a:gd name="connsiteY54" fmla="*/ 457200 h 1862138"/>
                <a:gd name="connsiteX55" fmla="*/ 652463 w 4395788"/>
                <a:gd name="connsiteY55" fmla="*/ 414338 h 1862138"/>
                <a:gd name="connsiteX56" fmla="*/ 590550 w 4395788"/>
                <a:gd name="connsiteY56" fmla="*/ 414338 h 1862138"/>
                <a:gd name="connsiteX57" fmla="*/ 590550 w 4395788"/>
                <a:gd name="connsiteY57" fmla="*/ 414338 h 1862138"/>
                <a:gd name="connsiteX58" fmla="*/ 519113 w 4395788"/>
                <a:gd name="connsiteY58" fmla="*/ 414338 h 1862138"/>
                <a:gd name="connsiteX59" fmla="*/ 519113 w 4395788"/>
                <a:gd name="connsiteY59" fmla="*/ 347663 h 1862138"/>
                <a:gd name="connsiteX60" fmla="*/ 414338 w 4395788"/>
                <a:gd name="connsiteY60" fmla="*/ 347663 h 1862138"/>
                <a:gd name="connsiteX61" fmla="*/ 414338 w 4395788"/>
                <a:gd name="connsiteY61" fmla="*/ 285750 h 1862138"/>
                <a:gd name="connsiteX62" fmla="*/ 361950 w 4395788"/>
                <a:gd name="connsiteY62" fmla="*/ 285750 h 1862138"/>
                <a:gd name="connsiteX63" fmla="*/ 361950 w 4395788"/>
                <a:gd name="connsiteY63" fmla="*/ 252413 h 1862138"/>
                <a:gd name="connsiteX64" fmla="*/ 285750 w 4395788"/>
                <a:gd name="connsiteY64" fmla="*/ 252413 h 1862138"/>
                <a:gd name="connsiteX65" fmla="*/ 285750 w 4395788"/>
                <a:gd name="connsiteY65" fmla="*/ 138113 h 1862138"/>
                <a:gd name="connsiteX66" fmla="*/ 133350 w 4395788"/>
                <a:gd name="connsiteY66" fmla="*/ 138113 h 1862138"/>
                <a:gd name="connsiteX67" fmla="*/ 133350 w 4395788"/>
                <a:gd name="connsiteY67" fmla="*/ 100013 h 1862138"/>
                <a:gd name="connsiteX68" fmla="*/ 66675 w 4395788"/>
                <a:gd name="connsiteY68" fmla="*/ 100013 h 1862138"/>
                <a:gd name="connsiteX69" fmla="*/ 66675 w 4395788"/>
                <a:gd name="connsiteY69" fmla="*/ 61913 h 1862138"/>
                <a:gd name="connsiteX70" fmla="*/ 66675 w 4395788"/>
                <a:gd name="connsiteY70" fmla="*/ 61913 h 1862138"/>
                <a:gd name="connsiteX71" fmla="*/ 66675 w 4395788"/>
                <a:gd name="connsiteY71" fmla="*/ 61913 h 1862138"/>
                <a:gd name="connsiteX72" fmla="*/ 66675 w 4395788"/>
                <a:gd name="connsiteY72" fmla="*/ 0 h 1862138"/>
                <a:gd name="connsiteX73" fmla="*/ 0 w 4395788"/>
                <a:gd name="connsiteY73" fmla="*/ 0 h 1862138"/>
                <a:gd name="connsiteX74" fmla="*/ 0 w 4395788"/>
                <a:gd name="connsiteY74" fmla="*/ 0 h 1862138"/>
                <a:gd name="connsiteX0" fmla="*/ 4395788 w 4395788"/>
                <a:gd name="connsiteY0" fmla="*/ 1862138 h 1862138"/>
                <a:gd name="connsiteX1" fmla="*/ 3390900 w 4395788"/>
                <a:gd name="connsiteY1" fmla="*/ 1862138 h 1862138"/>
                <a:gd name="connsiteX2" fmla="*/ 3390900 w 4395788"/>
                <a:gd name="connsiteY2" fmla="*/ 1733550 h 1862138"/>
                <a:gd name="connsiteX3" fmla="*/ 3186113 w 4395788"/>
                <a:gd name="connsiteY3" fmla="*/ 1733550 h 1862138"/>
                <a:gd name="connsiteX4" fmla="*/ 3186113 w 4395788"/>
                <a:gd name="connsiteY4" fmla="*/ 1643063 h 1862138"/>
                <a:gd name="connsiteX5" fmla="*/ 2957513 w 4395788"/>
                <a:gd name="connsiteY5" fmla="*/ 1643063 h 1862138"/>
                <a:gd name="connsiteX6" fmla="*/ 2957513 w 4395788"/>
                <a:gd name="connsiteY6" fmla="*/ 1643063 h 1862138"/>
                <a:gd name="connsiteX7" fmla="*/ 2924175 w 4395788"/>
                <a:gd name="connsiteY7" fmla="*/ 1609725 h 1862138"/>
                <a:gd name="connsiteX8" fmla="*/ 2924175 w 4395788"/>
                <a:gd name="connsiteY8" fmla="*/ 1547813 h 1862138"/>
                <a:gd name="connsiteX9" fmla="*/ 2809875 w 4395788"/>
                <a:gd name="connsiteY9" fmla="*/ 1547813 h 1862138"/>
                <a:gd name="connsiteX10" fmla="*/ 2809875 w 4395788"/>
                <a:gd name="connsiteY10" fmla="*/ 1504950 h 1862138"/>
                <a:gd name="connsiteX11" fmla="*/ 2719388 w 4395788"/>
                <a:gd name="connsiteY11" fmla="*/ 1504950 h 1862138"/>
                <a:gd name="connsiteX12" fmla="*/ 2719388 w 4395788"/>
                <a:gd name="connsiteY12" fmla="*/ 1433513 h 1862138"/>
                <a:gd name="connsiteX13" fmla="*/ 2633663 w 4395788"/>
                <a:gd name="connsiteY13" fmla="*/ 1433513 h 1862138"/>
                <a:gd name="connsiteX14" fmla="*/ 2633663 w 4395788"/>
                <a:gd name="connsiteY14" fmla="*/ 1390650 h 1862138"/>
                <a:gd name="connsiteX15" fmla="*/ 2571750 w 4395788"/>
                <a:gd name="connsiteY15" fmla="*/ 1390650 h 1862138"/>
                <a:gd name="connsiteX16" fmla="*/ 2571750 w 4395788"/>
                <a:gd name="connsiteY16" fmla="*/ 1338263 h 1862138"/>
                <a:gd name="connsiteX17" fmla="*/ 2395538 w 4395788"/>
                <a:gd name="connsiteY17" fmla="*/ 1338263 h 1862138"/>
                <a:gd name="connsiteX18" fmla="*/ 2409825 w 4395788"/>
                <a:gd name="connsiteY18" fmla="*/ 1323976 h 1862138"/>
                <a:gd name="connsiteX19" fmla="*/ 2257425 w 4395788"/>
                <a:gd name="connsiteY19" fmla="*/ 1323976 h 1862138"/>
                <a:gd name="connsiteX20" fmla="*/ 2257425 w 4395788"/>
                <a:gd name="connsiteY20" fmla="*/ 1247775 h 1862138"/>
                <a:gd name="connsiteX21" fmla="*/ 2095500 w 4395788"/>
                <a:gd name="connsiteY21" fmla="*/ 1247775 h 1862138"/>
                <a:gd name="connsiteX22" fmla="*/ 2095500 w 4395788"/>
                <a:gd name="connsiteY22" fmla="*/ 1204913 h 1862138"/>
                <a:gd name="connsiteX23" fmla="*/ 2062163 w 4395788"/>
                <a:gd name="connsiteY23" fmla="*/ 1204913 h 1862138"/>
                <a:gd name="connsiteX24" fmla="*/ 2062163 w 4395788"/>
                <a:gd name="connsiteY24" fmla="*/ 1157288 h 1862138"/>
                <a:gd name="connsiteX25" fmla="*/ 1995488 w 4395788"/>
                <a:gd name="connsiteY25" fmla="*/ 1157288 h 1862138"/>
                <a:gd name="connsiteX26" fmla="*/ 1995488 w 4395788"/>
                <a:gd name="connsiteY26" fmla="*/ 1104900 h 1862138"/>
                <a:gd name="connsiteX27" fmla="*/ 1952625 w 4395788"/>
                <a:gd name="connsiteY27" fmla="*/ 1104900 h 1862138"/>
                <a:gd name="connsiteX28" fmla="*/ 1952625 w 4395788"/>
                <a:gd name="connsiteY28" fmla="*/ 1081088 h 1862138"/>
                <a:gd name="connsiteX29" fmla="*/ 1662113 w 4395788"/>
                <a:gd name="connsiteY29" fmla="*/ 1081088 h 1862138"/>
                <a:gd name="connsiteX30" fmla="*/ 1662113 w 4395788"/>
                <a:gd name="connsiteY30" fmla="*/ 1023938 h 1862138"/>
                <a:gd name="connsiteX31" fmla="*/ 1566863 w 4395788"/>
                <a:gd name="connsiteY31" fmla="*/ 1023938 h 1862138"/>
                <a:gd name="connsiteX32" fmla="*/ 1566863 w 4395788"/>
                <a:gd name="connsiteY32" fmla="*/ 928688 h 1862138"/>
                <a:gd name="connsiteX33" fmla="*/ 1495425 w 4395788"/>
                <a:gd name="connsiteY33" fmla="*/ 928688 h 1862138"/>
                <a:gd name="connsiteX34" fmla="*/ 1495425 w 4395788"/>
                <a:gd name="connsiteY34" fmla="*/ 857250 h 1862138"/>
                <a:gd name="connsiteX35" fmla="*/ 1495425 w 4395788"/>
                <a:gd name="connsiteY35" fmla="*/ 857250 h 1862138"/>
                <a:gd name="connsiteX36" fmla="*/ 1447800 w 4395788"/>
                <a:gd name="connsiteY36" fmla="*/ 809625 h 1862138"/>
                <a:gd name="connsiteX37" fmla="*/ 1352550 w 4395788"/>
                <a:gd name="connsiteY37" fmla="*/ 809625 h 1862138"/>
                <a:gd name="connsiteX38" fmla="*/ 1347788 w 4395788"/>
                <a:gd name="connsiteY38" fmla="*/ 762000 h 1862138"/>
                <a:gd name="connsiteX39" fmla="*/ 1347788 w 4395788"/>
                <a:gd name="connsiteY39" fmla="*/ 709613 h 1862138"/>
                <a:gd name="connsiteX40" fmla="*/ 1238250 w 4395788"/>
                <a:gd name="connsiteY40" fmla="*/ 709613 h 1862138"/>
                <a:gd name="connsiteX41" fmla="*/ 1238250 w 4395788"/>
                <a:gd name="connsiteY41" fmla="*/ 642938 h 1862138"/>
                <a:gd name="connsiteX42" fmla="*/ 1119188 w 4395788"/>
                <a:gd name="connsiteY42" fmla="*/ 642938 h 1862138"/>
                <a:gd name="connsiteX43" fmla="*/ 1119188 w 4395788"/>
                <a:gd name="connsiteY43" fmla="*/ 604838 h 1862138"/>
                <a:gd name="connsiteX44" fmla="*/ 1038225 w 4395788"/>
                <a:gd name="connsiteY44" fmla="*/ 604838 h 1862138"/>
                <a:gd name="connsiteX45" fmla="*/ 1038225 w 4395788"/>
                <a:gd name="connsiteY45" fmla="*/ 576263 h 1862138"/>
                <a:gd name="connsiteX46" fmla="*/ 1019175 w 4395788"/>
                <a:gd name="connsiteY46" fmla="*/ 576263 h 1862138"/>
                <a:gd name="connsiteX47" fmla="*/ 1019175 w 4395788"/>
                <a:gd name="connsiteY47" fmla="*/ 557213 h 1862138"/>
                <a:gd name="connsiteX48" fmla="*/ 971550 w 4395788"/>
                <a:gd name="connsiteY48" fmla="*/ 557213 h 1862138"/>
                <a:gd name="connsiteX49" fmla="*/ 971550 w 4395788"/>
                <a:gd name="connsiteY49" fmla="*/ 519113 h 1862138"/>
                <a:gd name="connsiteX50" fmla="*/ 919163 w 4395788"/>
                <a:gd name="connsiteY50" fmla="*/ 519113 h 1862138"/>
                <a:gd name="connsiteX51" fmla="*/ 919163 w 4395788"/>
                <a:gd name="connsiteY51" fmla="*/ 457200 h 1862138"/>
                <a:gd name="connsiteX52" fmla="*/ 742950 w 4395788"/>
                <a:gd name="connsiteY52" fmla="*/ 457200 h 1862138"/>
                <a:gd name="connsiteX53" fmla="*/ 742950 w 4395788"/>
                <a:gd name="connsiteY53" fmla="*/ 457200 h 1862138"/>
                <a:gd name="connsiteX54" fmla="*/ 652463 w 4395788"/>
                <a:gd name="connsiteY54" fmla="*/ 457200 h 1862138"/>
                <a:gd name="connsiteX55" fmla="*/ 652463 w 4395788"/>
                <a:gd name="connsiteY55" fmla="*/ 414338 h 1862138"/>
                <a:gd name="connsiteX56" fmla="*/ 590550 w 4395788"/>
                <a:gd name="connsiteY56" fmla="*/ 414338 h 1862138"/>
                <a:gd name="connsiteX57" fmla="*/ 590550 w 4395788"/>
                <a:gd name="connsiteY57" fmla="*/ 414338 h 1862138"/>
                <a:gd name="connsiteX58" fmla="*/ 519113 w 4395788"/>
                <a:gd name="connsiteY58" fmla="*/ 414338 h 1862138"/>
                <a:gd name="connsiteX59" fmla="*/ 519113 w 4395788"/>
                <a:gd name="connsiteY59" fmla="*/ 347663 h 1862138"/>
                <a:gd name="connsiteX60" fmla="*/ 414338 w 4395788"/>
                <a:gd name="connsiteY60" fmla="*/ 347663 h 1862138"/>
                <a:gd name="connsiteX61" fmla="*/ 414338 w 4395788"/>
                <a:gd name="connsiteY61" fmla="*/ 285750 h 1862138"/>
                <a:gd name="connsiteX62" fmla="*/ 361950 w 4395788"/>
                <a:gd name="connsiteY62" fmla="*/ 285750 h 1862138"/>
                <a:gd name="connsiteX63" fmla="*/ 361950 w 4395788"/>
                <a:gd name="connsiteY63" fmla="*/ 252413 h 1862138"/>
                <a:gd name="connsiteX64" fmla="*/ 285750 w 4395788"/>
                <a:gd name="connsiteY64" fmla="*/ 252413 h 1862138"/>
                <a:gd name="connsiteX65" fmla="*/ 285750 w 4395788"/>
                <a:gd name="connsiteY65" fmla="*/ 138113 h 1862138"/>
                <a:gd name="connsiteX66" fmla="*/ 133350 w 4395788"/>
                <a:gd name="connsiteY66" fmla="*/ 138113 h 1862138"/>
                <a:gd name="connsiteX67" fmla="*/ 133350 w 4395788"/>
                <a:gd name="connsiteY67" fmla="*/ 100013 h 1862138"/>
                <a:gd name="connsiteX68" fmla="*/ 66675 w 4395788"/>
                <a:gd name="connsiteY68" fmla="*/ 100013 h 1862138"/>
                <a:gd name="connsiteX69" fmla="*/ 66675 w 4395788"/>
                <a:gd name="connsiteY69" fmla="*/ 61913 h 1862138"/>
                <a:gd name="connsiteX70" fmla="*/ 66675 w 4395788"/>
                <a:gd name="connsiteY70" fmla="*/ 61913 h 1862138"/>
                <a:gd name="connsiteX71" fmla="*/ 66675 w 4395788"/>
                <a:gd name="connsiteY71" fmla="*/ 61913 h 1862138"/>
                <a:gd name="connsiteX72" fmla="*/ 66675 w 4395788"/>
                <a:gd name="connsiteY72" fmla="*/ 0 h 1862138"/>
                <a:gd name="connsiteX73" fmla="*/ 0 w 4395788"/>
                <a:gd name="connsiteY73" fmla="*/ 0 h 1862138"/>
                <a:gd name="connsiteX0" fmla="*/ 4329113 w 4329113"/>
                <a:gd name="connsiteY0" fmla="*/ 1862138 h 1862138"/>
                <a:gd name="connsiteX1" fmla="*/ 3324225 w 4329113"/>
                <a:gd name="connsiteY1" fmla="*/ 1862138 h 1862138"/>
                <a:gd name="connsiteX2" fmla="*/ 3324225 w 4329113"/>
                <a:gd name="connsiteY2" fmla="*/ 1733550 h 1862138"/>
                <a:gd name="connsiteX3" fmla="*/ 3119438 w 4329113"/>
                <a:gd name="connsiteY3" fmla="*/ 1733550 h 1862138"/>
                <a:gd name="connsiteX4" fmla="*/ 3119438 w 4329113"/>
                <a:gd name="connsiteY4" fmla="*/ 1643063 h 1862138"/>
                <a:gd name="connsiteX5" fmla="*/ 2890838 w 4329113"/>
                <a:gd name="connsiteY5" fmla="*/ 1643063 h 1862138"/>
                <a:gd name="connsiteX6" fmla="*/ 2890838 w 4329113"/>
                <a:gd name="connsiteY6" fmla="*/ 1643063 h 1862138"/>
                <a:gd name="connsiteX7" fmla="*/ 2857500 w 4329113"/>
                <a:gd name="connsiteY7" fmla="*/ 1609725 h 1862138"/>
                <a:gd name="connsiteX8" fmla="*/ 2857500 w 4329113"/>
                <a:gd name="connsiteY8" fmla="*/ 1547813 h 1862138"/>
                <a:gd name="connsiteX9" fmla="*/ 2743200 w 4329113"/>
                <a:gd name="connsiteY9" fmla="*/ 1547813 h 1862138"/>
                <a:gd name="connsiteX10" fmla="*/ 2743200 w 4329113"/>
                <a:gd name="connsiteY10" fmla="*/ 1504950 h 1862138"/>
                <a:gd name="connsiteX11" fmla="*/ 2652713 w 4329113"/>
                <a:gd name="connsiteY11" fmla="*/ 1504950 h 1862138"/>
                <a:gd name="connsiteX12" fmla="*/ 2652713 w 4329113"/>
                <a:gd name="connsiteY12" fmla="*/ 1433513 h 1862138"/>
                <a:gd name="connsiteX13" fmla="*/ 2566988 w 4329113"/>
                <a:gd name="connsiteY13" fmla="*/ 1433513 h 1862138"/>
                <a:gd name="connsiteX14" fmla="*/ 2566988 w 4329113"/>
                <a:gd name="connsiteY14" fmla="*/ 1390650 h 1862138"/>
                <a:gd name="connsiteX15" fmla="*/ 2505075 w 4329113"/>
                <a:gd name="connsiteY15" fmla="*/ 1390650 h 1862138"/>
                <a:gd name="connsiteX16" fmla="*/ 2505075 w 4329113"/>
                <a:gd name="connsiteY16" fmla="*/ 1338263 h 1862138"/>
                <a:gd name="connsiteX17" fmla="*/ 2328863 w 4329113"/>
                <a:gd name="connsiteY17" fmla="*/ 1338263 h 1862138"/>
                <a:gd name="connsiteX18" fmla="*/ 2343150 w 4329113"/>
                <a:gd name="connsiteY18" fmla="*/ 1323976 h 1862138"/>
                <a:gd name="connsiteX19" fmla="*/ 2190750 w 4329113"/>
                <a:gd name="connsiteY19" fmla="*/ 1323976 h 1862138"/>
                <a:gd name="connsiteX20" fmla="*/ 2190750 w 4329113"/>
                <a:gd name="connsiteY20" fmla="*/ 1247775 h 1862138"/>
                <a:gd name="connsiteX21" fmla="*/ 2028825 w 4329113"/>
                <a:gd name="connsiteY21" fmla="*/ 1247775 h 1862138"/>
                <a:gd name="connsiteX22" fmla="*/ 2028825 w 4329113"/>
                <a:gd name="connsiteY22" fmla="*/ 1204913 h 1862138"/>
                <a:gd name="connsiteX23" fmla="*/ 1995488 w 4329113"/>
                <a:gd name="connsiteY23" fmla="*/ 1204913 h 1862138"/>
                <a:gd name="connsiteX24" fmla="*/ 1995488 w 4329113"/>
                <a:gd name="connsiteY24" fmla="*/ 1157288 h 1862138"/>
                <a:gd name="connsiteX25" fmla="*/ 1928813 w 4329113"/>
                <a:gd name="connsiteY25" fmla="*/ 1157288 h 1862138"/>
                <a:gd name="connsiteX26" fmla="*/ 1928813 w 4329113"/>
                <a:gd name="connsiteY26" fmla="*/ 1104900 h 1862138"/>
                <a:gd name="connsiteX27" fmla="*/ 1885950 w 4329113"/>
                <a:gd name="connsiteY27" fmla="*/ 1104900 h 1862138"/>
                <a:gd name="connsiteX28" fmla="*/ 1885950 w 4329113"/>
                <a:gd name="connsiteY28" fmla="*/ 1081088 h 1862138"/>
                <a:gd name="connsiteX29" fmla="*/ 1595438 w 4329113"/>
                <a:gd name="connsiteY29" fmla="*/ 1081088 h 1862138"/>
                <a:gd name="connsiteX30" fmla="*/ 1595438 w 4329113"/>
                <a:gd name="connsiteY30" fmla="*/ 1023938 h 1862138"/>
                <a:gd name="connsiteX31" fmla="*/ 1500188 w 4329113"/>
                <a:gd name="connsiteY31" fmla="*/ 1023938 h 1862138"/>
                <a:gd name="connsiteX32" fmla="*/ 1500188 w 4329113"/>
                <a:gd name="connsiteY32" fmla="*/ 928688 h 1862138"/>
                <a:gd name="connsiteX33" fmla="*/ 1428750 w 4329113"/>
                <a:gd name="connsiteY33" fmla="*/ 928688 h 1862138"/>
                <a:gd name="connsiteX34" fmla="*/ 1428750 w 4329113"/>
                <a:gd name="connsiteY34" fmla="*/ 857250 h 1862138"/>
                <a:gd name="connsiteX35" fmla="*/ 1428750 w 4329113"/>
                <a:gd name="connsiteY35" fmla="*/ 857250 h 1862138"/>
                <a:gd name="connsiteX36" fmla="*/ 1381125 w 4329113"/>
                <a:gd name="connsiteY36" fmla="*/ 809625 h 1862138"/>
                <a:gd name="connsiteX37" fmla="*/ 1285875 w 4329113"/>
                <a:gd name="connsiteY37" fmla="*/ 809625 h 1862138"/>
                <a:gd name="connsiteX38" fmla="*/ 1281113 w 4329113"/>
                <a:gd name="connsiteY38" fmla="*/ 762000 h 1862138"/>
                <a:gd name="connsiteX39" fmla="*/ 1281113 w 4329113"/>
                <a:gd name="connsiteY39" fmla="*/ 709613 h 1862138"/>
                <a:gd name="connsiteX40" fmla="*/ 1171575 w 4329113"/>
                <a:gd name="connsiteY40" fmla="*/ 709613 h 1862138"/>
                <a:gd name="connsiteX41" fmla="*/ 1171575 w 4329113"/>
                <a:gd name="connsiteY41" fmla="*/ 642938 h 1862138"/>
                <a:gd name="connsiteX42" fmla="*/ 1052513 w 4329113"/>
                <a:gd name="connsiteY42" fmla="*/ 642938 h 1862138"/>
                <a:gd name="connsiteX43" fmla="*/ 1052513 w 4329113"/>
                <a:gd name="connsiteY43" fmla="*/ 604838 h 1862138"/>
                <a:gd name="connsiteX44" fmla="*/ 971550 w 4329113"/>
                <a:gd name="connsiteY44" fmla="*/ 604838 h 1862138"/>
                <a:gd name="connsiteX45" fmla="*/ 971550 w 4329113"/>
                <a:gd name="connsiteY45" fmla="*/ 576263 h 1862138"/>
                <a:gd name="connsiteX46" fmla="*/ 952500 w 4329113"/>
                <a:gd name="connsiteY46" fmla="*/ 576263 h 1862138"/>
                <a:gd name="connsiteX47" fmla="*/ 952500 w 4329113"/>
                <a:gd name="connsiteY47" fmla="*/ 557213 h 1862138"/>
                <a:gd name="connsiteX48" fmla="*/ 904875 w 4329113"/>
                <a:gd name="connsiteY48" fmla="*/ 557213 h 1862138"/>
                <a:gd name="connsiteX49" fmla="*/ 904875 w 4329113"/>
                <a:gd name="connsiteY49" fmla="*/ 519113 h 1862138"/>
                <a:gd name="connsiteX50" fmla="*/ 852488 w 4329113"/>
                <a:gd name="connsiteY50" fmla="*/ 519113 h 1862138"/>
                <a:gd name="connsiteX51" fmla="*/ 852488 w 4329113"/>
                <a:gd name="connsiteY51" fmla="*/ 457200 h 1862138"/>
                <a:gd name="connsiteX52" fmla="*/ 676275 w 4329113"/>
                <a:gd name="connsiteY52" fmla="*/ 457200 h 1862138"/>
                <a:gd name="connsiteX53" fmla="*/ 676275 w 4329113"/>
                <a:gd name="connsiteY53" fmla="*/ 457200 h 1862138"/>
                <a:gd name="connsiteX54" fmla="*/ 585788 w 4329113"/>
                <a:gd name="connsiteY54" fmla="*/ 457200 h 1862138"/>
                <a:gd name="connsiteX55" fmla="*/ 585788 w 4329113"/>
                <a:gd name="connsiteY55" fmla="*/ 414338 h 1862138"/>
                <a:gd name="connsiteX56" fmla="*/ 523875 w 4329113"/>
                <a:gd name="connsiteY56" fmla="*/ 414338 h 1862138"/>
                <a:gd name="connsiteX57" fmla="*/ 523875 w 4329113"/>
                <a:gd name="connsiteY57" fmla="*/ 414338 h 1862138"/>
                <a:gd name="connsiteX58" fmla="*/ 452438 w 4329113"/>
                <a:gd name="connsiteY58" fmla="*/ 414338 h 1862138"/>
                <a:gd name="connsiteX59" fmla="*/ 452438 w 4329113"/>
                <a:gd name="connsiteY59" fmla="*/ 347663 h 1862138"/>
                <a:gd name="connsiteX60" fmla="*/ 347663 w 4329113"/>
                <a:gd name="connsiteY60" fmla="*/ 347663 h 1862138"/>
                <a:gd name="connsiteX61" fmla="*/ 347663 w 4329113"/>
                <a:gd name="connsiteY61" fmla="*/ 285750 h 1862138"/>
                <a:gd name="connsiteX62" fmla="*/ 295275 w 4329113"/>
                <a:gd name="connsiteY62" fmla="*/ 285750 h 1862138"/>
                <a:gd name="connsiteX63" fmla="*/ 295275 w 4329113"/>
                <a:gd name="connsiteY63" fmla="*/ 252413 h 1862138"/>
                <a:gd name="connsiteX64" fmla="*/ 219075 w 4329113"/>
                <a:gd name="connsiteY64" fmla="*/ 252413 h 1862138"/>
                <a:gd name="connsiteX65" fmla="*/ 219075 w 4329113"/>
                <a:gd name="connsiteY65" fmla="*/ 138113 h 1862138"/>
                <a:gd name="connsiteX66" fmla="*/ 66675 w 4329113"/>
                <a:gd name="connsiteY66" fmla="*/ 138113 h 1862138"/>
                <a:gd name="connsiteX67" fmla="*/ 66675 w 4329113"/>
                <a:gd name="connsiteY67" fmla="*/ 100013 h 1862138"/>
                <a:gd name="connsiteX68" fmla="*/ 0 w 4329113"/>
                <a:gd name="connsiteY68" fmla="*/ 100013 h 1862138"/>
                <a:gd name="connsiteX69" fmla="*/ 0 w 4329113"/>
                <a:gd name="connsiteY69" fmla="*/ 61913 h 1862138"/>
                <a:gd name="connsiteX70" fmla="*/ 0 w 4329113"/>
                <a:gd name="connsiteY70" fmla="*/ 61913 h 1862138"/>
                <a:gd name="connsiteX71" fmla="*/ 0 w 4329113"/>
                <a:gd name="connsiteY71" fmla="*/ 61913 h 1862138"/>
                <a:gd name="connsiteX72" fmla="*/ 0 w 4329113"/>
                <a:gd name="connsiteY72" fmla="*/ 0 h 1862138"/>
                <a:gd name="connsiteX0" fmla="*/ 4329113 w 4329113"/>
                <a:gd name="connsiteY0" fmla="*/ 1800225 h 1800225"/>
                <a:gd name="connsiteX1" fmla="*/ 3324225 w 4329113"/>
                <a:gd name="connsiteY1" fmla="*/ 1800225 h 1800225"/>
                <a:gd name="connsiteX2" fmla="*/ 3324225 w 4329113"/>
                <a:gd name="connsiteY2" fmla="*/ 1671637 h 1800225"/>
                <a:gd name="connsiteX3" fmla="*/ 3119438 w 4329113"/>
                <a:gd name="connsiteY3" fmla="*/ 1671637 h 1800225"/>
                <a:gd name="connsiteX4" fmla="*/ 3119438 w 4329113"/>
                <a:gd name="connsiteY4" fmla="*/ 1581150 h 1800225"/>
                <a:gd name="connsiteX5" fmla="*/ 2890838 w 4329113"/>
                <a:gd name="connsiteY5" fmla="*/ 1581150 h 1800225"/>
                <a:gd name="connsiteX6" fmla="*/ 2890838 w 4329113"/>
                <a:gd name="connsiteY6" fmla="*/ 1581150 h 1800225"/>
                <a:gd name="connsiteX7" fmla="*/ 2857500 w 4329113"/>
                <a:gd name="connsiteY7" fmla="*/ 1547812 h 1800225"/>
                <a:gd name="connsiteX8" fmla="*/ 2857500 w 4329113"/>
                <a:gd name="connsiteY8" fmla="*/ 1485900 h 1800225"/>
                <a:gd name="connsiteX9" fmla="*/ 2743200 w 4329113"/>
                <a:gd name="connsiteY9" fmla="*/ 1485900 h 1800225"/>
                <a:gd name="connsiteX10" fmla="*/ 2743200 w 4329113"/>
                <a:gd name="connsiteY10" fmla="*/ 1443037 h 1800225"/>
                <a:gd name="connsiteX11" fmla="*/ 2652713 w 4329113"/>
                <a:gd name="connsiteY11" fmla="*/ 1443037 h 1800225"/>
                <a:gd name="connsiteX12" fmla="*/ 2652713 w 4329113"/>
                <a:gd name="connsiteY12" fmla="*/ 1371600 h 1800225"/>
                <a:gd name="connsiteX13" fmla="*/ 2566988 w 4329113"/>
                <a:gd name="connsiteY13" fmla="*/ 1371600 h 1800225"/>
                <a:gd name="connsiteX14" fmla="*/ 2566988 w 4329113"/>
                <a:gd name="connsiteY14" fmla="*/ 1328737 h 1800225"/>
                <a:gd name="connsiteX15" fmla="*/ 2505075 w 4329113"/>
                <a:gd name="connsiteY15" fmla="*/ 1328737 h 1800225"/>
                <a:gd name="connsiteX16" fmla="*/ 2505075 w 4329113"/>
                <a:gd name="connsiteY16" fmla="*/ 1276350 h 1800225"/>
                <a:gd name="connsiteX17" fmla="*/ 2328863 w 4329113"/>
                <a:gd name="connsiteY17" fmla="*/ 1276350 h 1800225"/>
                <a:gd name="connsiteX18" fmla="*/ 2343150 w 4329113"/>
                <a:gd name="connsiteY18" fmla="*/ 1262063 h 1800225"/>
                <a:gd name="connsiteX19" fmla="*/ 2190750 w 4329113"/>
                <a:gd name="connsiteY19" fmla="*/ 1262063 h 1800225"/>
                <a:gd name="connsiteX20" fmla="*/ 2190750 w 4329113"/>
                <a:gd name="connsiteY20" fmla="*/ 1185862 h 1800225"/>
                <a:gd name="connsiteX21" fmla="*/ 2028825 w 4329113"/>
                <a:gd name="connsiteY21" fmla="*/ 1185862 h 1800225"/>
                <a:gd name="connsiteX22" fmla="*/ 2028825 w 4329113"/>
                <a:gd name="connsiteY22" fmla="*/ 1143000 h 1800225"/>
                <a:gd name="connsiteX23" fmla="*/ 1995488 w 4329113"/>
                <a:gd name="connsiteY23" fmla="*/ 1143000 h 1800225"/>
                <a:gd name="connsiteX24" fmla="*/ 1995488 w 4329113"/>
                <a:gd name="connsiteY24" fmla="*/ 1095375 h 1800225"/>
                <a:gd name="connsiteX25" fmla="*/ 1928813 w 4329113"/>
                <a:gd name="connsiteY25" fmla="*/ 1095375 h 1800225"/>
                <a:gd name="connsiteX26" fmla="*/ 1928813 w 4329113"/>
                <a:gd name="connsiteY26" fmla="*/ 1042987 h 1800225"/>
                <a:gd name="connsiteX27" fmla="*/ 1885950 w 4329113"/>
                <a:gd name="connsiteY27" fmla="*/ 1042987 h 1800225"/>
                <a:gd name="connsiteX28" fmla="*/ 1885950 w 4329113"/>
                <a:gd name="connsiteY28" fmla="*/ 1019175 h 1800225"/>
                <a:gd name="connsiteX29" fmla="*/ 1595438 w 4329113"/>
                <a:gd name="connsiteY29" fmla="*/ 1019175 h 1800225"/>
                <a:gd name="connsiteX30" fmla="*/ 1595438 w 4329113"/>
                <a:gd name="connsiteY30" fmla="*/ 962025 h 1800225"/>
                <a:gd name="connsiteX31" fmla="*/ 1500188 w 4329113"/>
                <a:gd name="connsiteY31" fmla="*/ 962025 h 1800225"/>
                <a:gd name="connsiteX32" fmla="*/ 1500188 w 4329113"/>
                <a:gd name="connsiteY32" fmla="*/ 866775 h 1800225"/>
                <a:gd name="connsiteX33" fmla="*/ 1428750 w 4329113"/>
                <a:gd name="connsiteY33" fmla="*/ 866775 h 1800225"/>
                <a:gd name="connsiteX34" fmla="*/ 1428750 w 4329113"/>
                <a:gd name="connsiteY34" fmla="*/ 795337 h 1800225"/>
                <a:gd name="connsiteX35" fmla="*/ 1428750 w 4329113"/>
                <a:gd name="connsiteY35" fmla="*/ 795337 h 1800225"/>
                <a:gd name="connsiteX36" fmla="*/ 1381125 w 4329113"/>
                <a:gd name="connsiteY36" fmla="*/ 747712 h 1800225"/>
                <a:gd name="connsiteX37" fmla="*/ 1285875 w 4329113"/>
                <a:gd name="connsiteY37" fmla="*/ 747712 h 1800225"/>
                <a:gd name="connsiteX38" fmla="*/ 1281113 w 4329113"/>
                <a:gd name="connsiteY38" fmla="*/ 700087 h 1800225"/>
                <a:gd name="connsiteX39" fmla="*/ 1281113 w 4329113"/>
                <a:gd name="connsiteY39" fmla="*/ 647700 h 1800225"/>
                <a:gd name="connsiteX40" fmla="*/ 1171575 w 4329113"/>
                <a:gd name="connsiteY40" fmla="*/ 647700 h 1800225"/>
                <a:gd name="connsiteX41" fmla="*/ 1171575 w 4329113"/>
                <a:gd name="connsiteY41" fmla="*/ 581025 h 1800225"/>
                <a:gd name="connsiteX42" fmla="*/ 1052513 w 4329113"/>
                <a:gd name="connsiteY42" fmla="*/ 581025 h 1800225"/>
                <a:gd name="connsiteX43" fmla="*/ 1052513 w 4329113"/>
                <a:gd name="connsiteY43" fmla="*/ 542925 h 1800225"/>
                <a:gd name="connsiteX44" fmla="*/ 971550 w 4329113"/>
                <a:gd name="connsiteY44" fmla="*/ 542925 h 1800225"/>
                <a:gd name="connsiteX45" fmla="*/ 971550 w 4329113"/>
                <a:gd name="connsiteY45" fmla="*/ 514350 h 1800225"/>
                <a:gd name="connsiteX46" fmla="*/ 952500 w 4329113"/>
                <a:gd name="connsiteY46" fmla="*/ 514350 h 1800225"/>
                <a:gd name="connsiteX47" fmla="*/ 952500 w 4329113"/>
                <a:gd name="connsiteY47" fmla="*/ 495300 h 1800225"/>
                <a:gd name="connsiteX48" fmla="*/ 904875 w 4329113"/>
                <a:gd name="connsiteY48" fmla="*/ 495300 h 1800225"/>
                <a:gd name="connsiteX49" fmla="*/ 904875 w 4329113"/>
                <a:gd name="connsiteY49" fmla="*/ 457200 h 1800225"/>
                <a:gd name="connsiteX50" fmla="*/ 852488 w 4329113"/>
                <a:gd name="connsiteY50" fmla="*/ 457200 h 1800225"/>
                <a:gd name="connsiteX51" fmla="*/ 852488 w 4329113"/>
                <a:gd name="connsiteY51" fmla="*/ 395287 h 1800225"/>
                <a:gd name="connsiteX52" fmla="*/ 676275 w 4329113"/>
                <a:gd name="connsiteY52" fmla="*/ 395287 h 1800225"/>
                <a:gd name="connsiteX53" fmla="*/ 676275 w 4329113"/>
                <a:gd name="connsiteY53" fmla="*/ 395287 h 1800225"/>
                <a:gd name="connsiteX54" fmla="*/ 585788 w 4329113"/>
                <a:gd name="connsiteY54" fmla="*/ 395287 h 1800225"/>
                <a:gd name="connsiteX55" fmla="*/ 585788 w 4329113"/>
                <a:gd name="connsiteY55" fmla="*/ 352425 h 1800225"/>
                <a:gd name="connsiteX56" fmla="*/ 523875 w 4329113"/>
                <a:gd name="connsiteY56" fmla="*/ 352425 h 1800225"/>
                <a:gd name="connsiteX57" fmla="*/ 523875 w 4329113"/>
                <a:gd name="connsiteY57" fmla="*/ 352425 h 1800225"/>
                <a:gd name="connsiteX58" fmla="*/ 452438 w 4329113"/>
                <a:gd name="connsiteY58" fmla="*/ 352425 h 1800225"/>
                <a:gd name="connsiteX59" fmla="*/ 452438 w 4329113"/>
                <a:gd name="connsiteY59" fmla="*/ 285750 h 1800225"/>
                <a:gd name="connsiteX60" fmla="*/ 347663 w 4329113"/>
                <a:gd name="connsiteY60" fmla="*/ 285750 h 1800225"/>
                <a:gd name="connsiteX61" fmla="*/ 347663 w 4329113"/>
                <a:gd name="connsiteY61" fmla="*/ 223837 h 1800225"/>
                <a:gd name="connsiteX62" fmla="*/ 295275 w 4329113"/>
                <a:gd name="connsiteY62" fmla="*/ 223837 h 1800225"/>
                <a:gd name="connsiteX63" fmla="*/ 295275 w 4329113"/>
                <a:gd name="connsiteY63" fmla="*/ 190500 h 1800225"/>
                <a:gd name="connsiteX64" fmla="*/ 219075 w 4329113"/>
                <a:gd name="connsiteY64" fmla="*/ 190500 h 1800225"/>
                <a:gd name="connsiteX65" fmla="*/ 219075 w 4329113"/>
                <a:gd name="connsiteY65" fmla="*/ 76200 h 1800225"/>
                <a:gd name="connsiteX66" fmla="*/ 66675 w 4329113"/>
                <a:gd name="connsiteY66" fmla="*/ 76200 h 1800225"/>
                <a:gd name="connsiteX67" fmla="*/ 66675 w 4329113"/>
                <a:gd name="connsiteY67" fmla="*/ 38100 h 1800225"/>
                <a:gd name="connsiteX68" fmla="*/ 0 w 4329113"/>
                <a:gd name="connsiteY68" fmla="*/ 38100 h 1800225"/>
                <a:gd name="connsiteX69" fmla="*/ 0 w 4329113"/>
                <a:gd name="connsiteY69" fmla="*/ 0 h 1800225"/>
                <a:gd name="connsiteX70" fmla="*/ 0 w 4329113"/>
                <a:gd name="connsiteY70" fmla="*/ 0 h 1800225"/>
                <a:gd name="connsiteX71" fmla="*/ 0 w 4329113"/>
                <a:gd name="connsiteY71" fmla="*/ 0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4329113" h="1800225">
                  <a:moveTo>
                    <a:pt x="4329113" y="1800225"/>
                  </a:moveTo>
                  <a:lnTo>
                    <a:pt x="3324225" y="1800225"/>
                  </a:lnTo>
                  <a:lnTo>
                    <a:pt x="3324225" y="1671637"/>
                  </a:lnTo>
                  <a:lnTo>
                    <a:pt x="3119438" y="1671637"/>
                  </a:lnTo>
                  <a:lnTo>
                    <a:pt x="3119438" y="1581150"/>
                  </a:lnTo>
                  <a:lnTo>
                    <a:pt x="2890838" y="1581150"/>
                  </a:lnTo>
                  <a:lnTo>
                    <a:pt x="2890838" y="1581150"/>
                  </a:lnTo>
                  <a:lnTo>
                    <a:pt x="2857500" y="1547812"/>
                  </a:lnTo>
                  <a:lnTo>
                    <a:pt x="2857500" y="1485900"/>
                  </a:lnTo>
                  <a:lnTo>
                    <a:pt x="2743200" y="1485900"/>
                  </a:lnTo>
                  <a:lnTo>
                    <a:pt x="2743200" y="1443037"/>
                  </a:lnTo>
                  <a:lnTo>
                    <a:pt x="2652713" y="1443037"/>
                  </a:lnTo>
                  <a:lnTo>
                    <a:pt x="2652713" y="1371600"/>
                  </a:lnTo>
                  <a:lnTo>
                    <a:pt x="2566988" y="1371600"/>
                  </a:lnTo>
                  <a:lnTo>
                    <a:pt x="2566988" y="1328737"/>
                  </a:lnTo>
                  <a:lnTo>
                    <a:pt x="2505075" y="1328737"/>
                  </a:lnTo>
                  <a:lnTo>
                    <a:pt x="2505075" y="1276350"/>
                  </a:lnTo>
                  <a:lnTo>
                    <a:pt x="2328863" y="1276350"/>
                  </a:lnTo>
                  <a:lnTo>
                    <a:pt x="2343150" y="1262063"/>
                  </a:lnTo>
                  <a:lnTo>
                    <a:pt x="2190750" y="1262063"/>
                  </a:lnTo>
                  <a:lnTo>
                    <a:pt x="2190750" y="1185862"/>
                  </a:lnTo>
                  <a:lnTo>
                    <a:pt x="2028825" y="1185862"/>
                  </a:lnTo>
                  <a:lnTo>
                    <a:pt x="2028825" y="1143000"/>
                  </a:lnTo>
                  <a:lnTo>
                    <a:pt x="1995488" y="1143000"/>
                  </a:lnTo>
                  <a:lnTo>
                    <a:pt x="1995488" y="1095375"/>
                  </a:lnTo>
                  <a:lnTo>
                    <a:pt x="1928813" y="1095375"/>
                  </a:lnTo>
                  <a:lnTo>
                    <a:pt x="1928813" y="1042987"/>
                  </a:lnTo>
                  <a:lnTo>
                    <a:pt x="1885950" y="1042987"/>
                  </a:lnTo>
                  <a:lnTo>
                    <a:pt x="1885950" y="1019175"/>
                  </a:lnTo>
                  <a:lnTo>
                    <a:pt x="1595438" y="1019175"/>
                  </a:lnTo>
                  <a:lnTo>
                    <a:pt x="1595438" y="962025"/>
                  </a:lnTo>
                  <a:lnTo>
                    <a:pt x="1500188" y="962025"/>
                  </a:lnTo>
                  <a:lnTo>
                    <a:pt x="1500188" y="866775"/>
                  </a:lnTo>
                  <a:lnTo>
                    <a:pt x="1428750" y="866775"/>
                  </a:lnTo>
                  <a:lnTo>
                    <a:pt x="1428750" y="795337"/>
                  </a:lnTo>
                  <a:lnTo>
                    <a:pt x="1428750" y="795337"/>
                  </a:lnTo>
                  <a:lnTo>
                    <a:pt x="1381125" y="747712"/>
                  </a:lnTo>
                  <a:lnTo>
                    <a:pt x="1285875" y="747712"/>
                  </a:lnTo>
                  <a:lnTo>
                    <a:pt x="1281113" y="700087"/>
                  </a:lnTo>
                  <a:lnTo>
                    <a:pt x="1281113" y="647700"/>
                  </a:lnTo>
                  <a:lnTo>
                    <a:pt x="1171575" y="647700"/>
                  </a:lnTo>
                  <a:lnTo>
                    <a:pt x="1171575" y="581025"/>
                  </a:lnTo>
                  <a:lnTo>
                    <a:pt x="1052513" y="581025"/>
                  </a:lnTo>
                  <a:lnTo>
                    <a:pt x="1052513" y="542925"/>
                  </a:lnTo>
                  <a:lnTo>
                    <a:pt x="971550" y="542925"/>
                  </a:lnTo>
                  <a:lnTo>
                    <a:pt x="971550" y="514350"/>
                  </a:lnTo>
                  <a:lnTo>
                    <a:pt x="952500" y="514350"/>
                  </a:lnTo>
                  <a:lnTo>
                    <a:pt x="952500" y="495300"/>
                  </a:lnTo>
                  <a:lnTo>
                    <a:pt x="904875" y="495300"/>
                  </a:lnTo>
                  <a:lnTo>
                    <a:pt x="904875" y="457200"/>
                  </a:lnTo>
                  <a:lnTo>
                    <a:pt x="852488" y="457200"/>
                  </a:lnTo>
                  <a:lnTo>
                    <a:pt x="852488" y="395287"/>
                  </a:lnTo>
                  <a:lnTo>
                    <a:pt x="676275" y="395287"/>
                  </a:lnTo>
                  <a:lnTo>
                    <a:pt x="676275" y="395287"/>
                  </a:lnTo>
                  <a:lnTo>
                    <a:pt x="585788" y="395287"/>
                  </a:lnTo>
                  <a:lnTo>
                    <a:pt x="585788" y="352425"/>
                  </a:lnTo>
                  <a:lnTo>
                    <a:pt x="523875" y="352425"/>
                  </a:lnTo>
                  <a:lnTo>
                    <a:pt x="523875" y="352425"/>
                  </a:lnTo>
                  <a:lnTo>
                    <a:pt x="452438" y="352425"/>
                  </a:lnTo>
                  <a:lnTo>
                    <a:pt x="452438" y="285750"/>
                  </a:lnTo>
                  <a:lnTo>
                    <a:pt x="347663" y="285750"/>
                  </a:lnTo>
                  <a:lnTo>
                    <a:pt x="347663" y="223837"/>
                  </a:lnTo>
                  <a:lnTo>
                    <a:pt x="295275" y="223837"/>
                  </a:lnTo>
                  <a:lnTo>
                    <a:pt x="295275" y="190500"/>
                  </a:lnTo>
                  <a:lnTo>
                    <a:pt x="219075" y="190500"/>
                  </a:lnTo>
                  <a:lnTo>
                    <a:pt x="219075" y="76200"/>
                  </a:lnTo>
                  <a:lnTo>
                    <a:pt x="66675" y="76200"/>
                  </a:lnTo>
                  <a:lnTo>
                    <a:pt x="66675" y="38100"/>
                  </a:lnTo>
                  <a:lnTo>
                    <a:pt x="0" y="3810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87B67173-1DCC-4F81-8570-40A0E99515A6}"/>
                </a:ext>
              </a:extLst>
            </p:cNvPr>
            <p:cNvSpPr/>
            <p:nvPr/>
          </p:nvSpPr>
          <p:spPr bwMode="auto">
            <a:xfrm>
              <a:off x="2819400" y="2019299"/>
              <a:ext cx="995363" cy="209550"/>
            </a:xfrm>
            <a:custGeom>
              <a:avLst/>
              <a:gdLst>
                <a:gd name="connsiteX0" fmla="*/ 0 w 995363"/>
                <a:gd name="connsiteY0" fmla="*/ 0 h 209550"/>
                <a:gd name="connsiteX1" fmla="*/ 100013 w 995363"/>
                <a:gd name="connsiteY1" fmla="*/ 0 h 209550"/>
                <a:gd name="connsiteX2" fmla="*/ 100013 w 995363"/>
                <a:gd name="connsiteY2" fmla="*/ 57150 h 209550"/>
                <a:gd name="connsiteX3" fmla="*/ 138113 w 995363"/>
                <a:gd name="connsiteY3" fmla="*/ 57150 h 209550"/>
                <a:gd name="connsiteX4" fmla="*/ 138113 w 995363"/>
                <a:gd name="connsiteY4" fmla="*/ 76200 h 209550"/>
                <a:gd name="connsiteX5" fmla="*/ 290513 w 995363"/>
                <a:gd name="connsiteY5" fmla="*/ 76200 h 209550"/>
                <a:gd name="connsiteX6" fmla="*/ 290513 w 995363"/>
                <a:gd name="connsiteY6" fmla="*/ 133350 h 209550"/>
                <a:gd name="connsiteX7" fmla="*/ 514350 w 995363"/>
                <a:gd name="connsiteY7" fmla="*/ 133350 h 209550"/>
                <a:gd name="connsiteX8" fmla="*/ 514350 w 995363"/>
                <a:gd name="connsiteY8" fmla="*/ 166688 h 209550"/>
                <a:gd name="connsiteX9" fmla="*/ 781050 w 995363"/>
                <a:gd name="connsiteY9" fmla="*/ 166688 h 209550"/>
                <a:gd name="connsiteX10" fmla="*/ 781050 w 995363"/>
                <a:gd name="connsiteY10" fmla="*/ 209550 h 209550"/>
                <a:gd name="connsiteX11" fmla="*/ 995363 w 995363"/>
                <a:gd name="connsiteY11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5363" h="209550">
                  <a:moveTo>
                    <a:pt x="0" y="0"/>
                  </a:moveTo>
                  <a:lnTo>
                    <a:pt x="100013" y="0"/>
                  </a:lnTo>
                  <a:lnTo>
                    <a:pt x="100013" y="57150"/>
                  </a:lnTo>
                  <a:lnTo>
                    <a:pt x="138113" y="57150"/>
                  </a:lnTo>
                  <a:lnTo>
                    <a:pt x="138113" y="76200"/>
                  </a:lnTo>
                  <a:lnTo>
                    <a:pt x="290513" y="76200"/>
                  </a:lnTo>
                  <a:lnTo>
                    <a:pt x="290513" y="133350"/>
                  </a:lnTo>
                  <a:lnTo>
                    <a:pt x="514350" y="133350"/>
                  </a:lnTo>
                  <a:lnTo>
                    <a:pt x="514350" y="166688"/>
                  </a:lnTo>
                  <a:lnTo>
                    <a:pt x="781050" y="166688"/>
                  </a:lnTo>
                  <a:lnTo>
                    <a:pt x="781050" y="209550"/>
                  </a:lnTo>
                  <a:lnTo>
                    <a:pt x="995363" y="20955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4B4AB97D-C23A-4587-8081-EC16058699B7}"/>
                </a:ext>
              </a:extLst>
            </p:cNvPr>
            <p:cNvSpPr/>
            <p:nvPr/>
          </p:nvSpPr>
          <p:spPr bwMode="auto">
            <a:xfrm>
              <a:off x="3805238" y="2214563"/>
              <a:ext cx="800100" cy="419100"/>
            </a:xfrm>
            <a:custGeom>
              <a:avLst/>
              <a:gdLst>
                <a:gd name="connsiteX0" fmla="*/ 0 w 800100"/>
                <a:gd name="connsiteY0" fmla="*/ 0 h 419100"/>
                <a:gd name="connsiteX1" fmla="*/ 0 w 800100"/>
                <a:gd name="connsiteY1" fmla="*/ 47625 h 419100"/>
                <a:gd name="connsiteX2" fmla="*/ 104775 w 800100"/>
                <a:gd name="connsiteY2" fmla="*/ 47625 h 419100"/>
                <a:gd name="connsiteX3" fmla="*/ 104775 w 800100"/>
                <a:gd name="connsiteY3" fmla="*/ 104775 h 419100"/>
                <a:gd name="connsiteX4" fmla="*/ 166687 w 800100"/>
                <a:gd name="connsiteY4" fmla="*/ 104775 h 419100"/>
                <a:gd name="connsiteX5" fmla="*/ 166687 w 800100"/>
                <a:gd name="connsiteY5" fmla="*/ 142875 h 419100"/>
                <a:gd name="connsiteX6" fmla="*/ 242887 w 800100"/>
                <a:gd name="connsiteY6" fmla="*/ 142875 h 419100"/>
                <a:gd name="connsiteX7" fmla="*/ 242887 w 800100"/>
                <a:gd name="connsiteY7" fmla="*/ 157162 h 419100"/>
                <a:gd name="connsiteX8" fmla="*/ 390525 w 800100"/>
                <a:gd name="connsiteY8" fmla="*/ 157162 h 419100"/>
                <a:gd name="connsiteX9" fmla="*/ 390525 w 800100"/>
                <a:gd name="connsiteY9" fmla="*/ 185737 h 419100"/>
                <a:gd name="connsiteX10" fmla="*/ 538162 w 800100"/>
                <a:gd name="connsiteY10" fmla="*/ 185737 h 419100"/>
                <a:gd name="connsiteX11" fmla="*/ 538162 w 800100"/>
                <a:gd name="connsiteY11" fmla="*/ 204787 h 419100"/>
                <a:gd name="connsiteX12" fmla="*/ 647700 w 800100"/>
                <a:gd name="connsiteY12" fmla="*/ 204787 h 419100"/>
                <a:gd name="connsiteX13" fmla="*/ 647700 w 800100"/>
                <a:gd name="connsiteY13" fmla="*/ 242887 h 419100"/>
                <a:gd name="connsiteX14" fmla="*/ 700087 w 800100"/>
                <a:gd name="connsiteY14" fmla="*/ 242887 h 419100"/>
                <a:gd name="connsiteX15" fmla="*/ 700087 w 800100"/>
                <a:gd name="connsiteY15" fmla="*/ 304800 h 419100"/>
                <a:gd name="connsiteX16" fmla="*/ 742950 w 800100"/>
                <a:gd name="connsiteY16" fmla="*/ 304800 h 419100"/>
                <a:gd name="connsiteX17" fmla="*/ 742950 w 800100"/>
                <a:gd name="connsiteY17" fmla="*/ 342900 h 419100"/>
                <a:gd name="connsiteX18" fmla="*/ 785812 w 800100"/>
                <a:gd name="connsiteY18" fmla="*/ 342900 h 419100"/>
                <a:gd name="connsiteX19" fmla="*/ 785812 w 800100"/>
                <a:gd name="connsiteY19" fmla="*/ 400050 h 419100"/>
                <a:gd name="connsiteX20" fmla="*/ 800100 w 800100"/>
                <a:gd name="connsiteY20" fmla="*/ 400050 h 419100"/>
                <a:gd name="connsiteX21" fmla="*/ 800100 w 800100"/>
                <a:gd name="connsiteY21" fmla="*/ 419100 h 419100"/>
                <a:gd name="connsiteX22" fmla="*/ 800100 w 800100"/>
                <a:gd name="connsiteY22" fmla="*/ 419100 h 419100"/>
                <a:gd name="connsiteX23" fmla="*/ 800100 w 800100"/>
                <a:gd name="connsiteY23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00100" h="419100">
                  <a:moveTo>
                    <a:pt x="0" y="0"/>
                  </a:moveTo>
                  <a:lnTo>
                    <a:pt x="0" y="47625"/>
                  </a:lnTo>
                  <a:lnTo>
                    <a:pt x="104775" y="47625"/>
                  </a:lnTo>
                  <a:lnTo>
                    <a:pt x="104775" y="104775"/>
                  </a:lnTo>
                  <a:lnTo>
                    <a:pt x="166687" y="104775"/>
                  </a:lnTo>
                  <a:lnTo>
                    <a:pt x="166687" y="142875"/>
                  </a:lnTo>
                  <a:lnTo>
                    <a:pt x="242887" y="142875"/>
                  </a:lnTo>
                  <a:lnTo>
                    <a:pt x="242887" y="157162"/>
                  </a:lnTo>
                  <a:lnTo>
                    <a:pt x="390525" y="157162"/>
                  </a:lnTo>
                  <a:lnTo>
                    <a:pt x="390525" y="185737"/>
                  </a:lnTo>
                  <a:lnTo>
                    <a:pt x="538162" y="185737"/>
                  </a:lnTo>
                  <a:lnTo>
                    <a:pt x="538162" y="204787"/>
                  </a:lnTo>
                  <a:lnTo>
                    <a:pt x="647700" y="204787"/>
                  </a:lnTo>
                  <a:lnTo>
                    <a:pt x="647700" y="242887"/>
                  </a:lnTo>
                  <a:lnTo>
                    <a:pt x="700087" y="242887"/>
                  </a:lnTo>
                  <a:lnTo>
                    <a:pt x="700087" y="304800"/>
                  </a:lnTo>
                  <a:lnTo>
                    <a:pt x="742950" y="304800"/>
                  </a:lnTo>
                  <a:lnTo>
                    <a:pt x="742950" y="342900"/>
                  </a:lnTo>
                  <a:lnTo>
                    <a:pt x="785812" y="342900"/>
                  </a:lnTo>
                  <a:lnTo>
                    <a:pt x="785812" y="400050"/>
                  </a:lnTo>
                  <a:lnTo>
                    <a:pt x="800100" y="400050"/>
                  </a:lnTo>
                  <a:lnTo>
                    <a:pt x="800100" y="419100"/>
                  </a:lnTo>
                  <a:lnTo>
                    <a:pt x="800100" y="419100"/>
                  </a:lnTo>
                  <a:lnTo>
                    <a:pt x="800100" y="41910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ase III PROfound: Final OS in Cohort A</a:t>
            </a:r>
            <a:endParaRPr lang="en-US" baseline="30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Box 15">
            <a:extLst>
              <a:ext uri="{FF2B5EF4-FFF2-40B4-BE49-F238E27FC236}">
                <a16:creationId xmlns:a16="http://schemas.microsoft.com/office/drawing/2014/main" id="{E11942B0-142A-4352-8072-09D735FC11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629" y="6363037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ussain</a:t>
            </a:r>
            <a:r>
              <a:rPr lang="en-US" altLang="en-US" sz="1200" b="0" spc="-10" dirty="0">
                <a:solidFill>
                  <a:srgbClr val="4555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NEJM. 2020;383:2345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4AB5A4-C884-4045-8FD5-CD63F8F8631C}"/>
              </a:ext>
            </a:extLst>
          </p:cNvPr>
          <p:cNvSpPr txBox="1"/>
          <p:nvPr/>
        </p:nvSpPr>
        <p:spPr bwMode="auto">
          <a:xfrm>
            <a:off x="1065131" y="5668718"/>
            <a:ext cx="1506631" cy="7386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Patients at Risk, n</a:t>
            </a:r>
            <a:b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</a:rPr>
              <a:t>Olaparib</a:t>
            </a:r>
            <a:b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</a:rPr>
              <a:t>Contro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29C01F-A645-45B1-A875-034C03F6161E}"/>
              </a:ext>
            </a:extLst>
          </p:cNvPr>
          <p:cNvSpPr txBox="1"/>
          <p:nvPr/>
        </p:nvSpPr>
        <p:spPr bwMode="auto">
          <a:xfrm>
            <a:off x="2857967" y="5497578"/>
            <a:ext cx="62170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bg1"/>
                </a:solidFill>
                <a:latin typeface="Calibri" panose="020F0502020204030204" pitchFamily="34" charset="0"/>
              </a:rPr>
              <a:t>M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63EAC6-E3B1-4DB5-BEEB-0621A259114F}"/>
              </a:ext>
            </a:extLst>
          </p:cNvPr>
          <p:cNvSpPr txBox="1"/>
          <p:nvPr/>
        </p:nvSpPr>
        <p:spPr bwMode="auto">
          <a:xfrm rot="16200000">
            <a:off x="522085" y="3459994"/>
            <a:ext cx="3234905" cy="369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S (%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D4C5A3-C54C-4F54-B163-2922BCA5EB61}"/>
              </a:ext>
            </a:extLst>
          </p:cNvPr>
          <p:cNvSpPr/>
          <p:nvPr/>
        </p:nvSpPr>
        <p:spPr bwMode="auto">
          <a:xfrm>
            <a:off x="5573027" y="1130306"/>
            <a:ext cx="3744228" cy="1554479"/>
          </a:xfrm>
          <a:prstGeom prst="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DE451EE-94FA-433D-B8EB-23E8F1ECB8B1}"/>
              </a:ext>
            </a:extLst>
          </p:cNvPr>
          <p:cNvGraphicFramePr>
            <a:graphicFrameLocks noGrp="1"/>
          </p:cNvGraphicFramePr>
          <p:nvPr/>
        </p:nvGraphicFramePr>
        <p:xfrm>
          <a:off x="7319589" y="1799182"/>
          <a:ext cx="4392446" cy="1249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918">
                  <a:extLst>
                    <a:ext uri="{9D8B030D-6E8A-4147-A177-3AD203B41FA5}">
                      <a16:colId xmlns:a16="http://schemas.microsoft.com/office/drawing/2014/main" val="1053462530"/>
                    </a:ext>
                  </a:extLst>
                </a:gridCol>
                <a:gridCol w="1383264">
                  <a:extLst>
                    <a:ext uri="{9D8B030D-6E8A-4147-A177-3AD203B41FA5}">
                      <a16:colId xmlns:a16="http://schemas.microsoft.com/office/drawing/2014/main" val="3660482051"/>
                    </a:ext>
                  </a:extLst>
                </a:gridCol>
                <a:gridCol w="1383264">
                  <a:extLst>
                    <a:ext uri="{9D8B030D-6E8A-4147-A177-3AD203B41FA5}">
                      <a16:colId xmlns:a16="http://schemas.microsoft.com/office/drawing/2014/main" val="2979136250"/>
                    </a:ext>
                  </a:extLst>
                </a:gridCol>
              </a:tblGrid>
              <a:tr h="222405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parib</a:t>
                      </a:r>
                      <a:br>
                        <a:rPr lang="en-US" sz="1600" b="1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162)</a:t>
                      </a: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 Therapy</a:t>
                      </a:r>
                      <a:br>
                        <a:rPr lang="en-US" sz="1600" b="1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83)</a:t>
                      </a: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88654"/>
                  </a:ext>
                </a:extLst>
              </a:tr>
              <a:tr h="13205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OS, mo 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7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425376"/>
                  </a:ext>
                </a:extLst>
              </a:tr>
              <a:tr h="22240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(95% CI)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9 (0.50-0.97; </a:t>
                      </a:r>
                      <a:r>
                        <a:rPr lang="en-US" sz="16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 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 .02)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48652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D2A08E4-2777-467D-B733-EC779753DDD4}"/>
              </a:ext>
            </a:extLst>
          </p:cNvPr>
          <p:cNvSpPr txBox="1"/>
          <p:nvPr/>
        </p:nvSpPr>
        <p:spPr>
          <a:xfrm>
            <a:off x="2771704" y="1309389"/>
            <a:ext cx="62170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hort A: </a:t>
            </a:r>
            <a:r>
              <a:rPr lang="en-US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CA1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CA2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or </a:t>
            </a:r>
            <a:r>
              <a:rPr lang="en-US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M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tations</a:t>
            </a: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8B279323-98BC-47FF-8E96-19B8A0AD9201}"/>
              </a:ext>
            </a:extLst>
          </p:cNvPr>
          <p:cNvGrpSpPr>
            <a:grpSpLocks/>
          </p:cNvGrpSpPr>
          <p:nvPr/>
        </p:nvGrpSpPr>
        <p:grpSpPr bwMode="auto">
          <a:xfrm>
            <a:off x="9389205" y="6215925"/>
            <a:ext cx="2486964" cy="447558"/>
            <a:chOff x="9527309" y="3551529"/>
            <a:chExt cx="2488502" cy="448324"/>
          </a:xfrm>
        </p:grpSpPr>
        <p:pic>
          <p:nvPicPr>
            <p:cNvPr id="15" name="Picture 9">
              <a:extLst>
                <a:ext uri="{FF2B5EF4-FFF2-40B4-BE49-F238E27FC236}">
                  <a16:creationId xmlns:a16="http://schemas.microsoft.com/office/drawing/2014/main" id="{0FCD131B-9F3E-46F3-AE59-643F9CC4BB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tangle 8">
              <a:extLst>
                <a:ext uri="{FF2B5EF4-FFF2-40B4-BE49-F238E27FC236}">
                  <a16:creationId xmlns:a16="http://schemas.microsoft.com/office/drawing/2014/main" id="{65B5D48C-4703-4596-A5E1-0447D44E7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Wingdings" panose="05000000000000000000" pitchFamily="2" charset="2"/>
                <a:buChar char="§"/>
                <a:defRPr sz="2800">
                  <a:solidFill>
                    <a:schemeClr val="bg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600">
                  <a:solidFill>
                    <a:schemeClr val="bg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400">
                  <a:solidFill>
                    <a:schemeClr val="bg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200">
                  <a:solidFill>
                    <a:schemeClr val="bg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charset="0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charset="0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339F067-ACAD-4F58-91E0-70E8C605C08B}"/>
              </a:ext>
            </a:extLst>
          </p:cNvPr>
          <p:cNvSpPr txBox="1"/>
          <p:nvPr/>
        </p:nvSpPr>
        <p:spPr bwMode="auto">
          <a:xfrm>
            <a:off x="2600011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62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83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05A4A7-D286-406F-95F6-4386712FD973}"/>
              </a:ext>
            </a:extLst>
          </p:cNvPr>
          <p:cNvSpPr txBox="1"/>
          <p:nvPr/>
        </p:nvSpPr>
        <p:spPr bwMode="auto">
          <a:xfrm>
            <a:off x="3036464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55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79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F3C05C-F98D-4EF4-94B8-3B40DAD6C71E}"/>
              </a:ext>
            </a:extLst>
          </p:cNvPr>
          <p:cNvSpPr txBox="1"/>
          <p:nvPr/>
        </p:nvSpPr>
        <p:spPr bwMode="auto">
          <a:xfrm>
            <a:off x="3472917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50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74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86EE1EC-960A-48CF-B73E-1CA2006AE290}"/>
              </a:ext>
            </a:extLst>
          </p:cNvPr>
          <p:cNvSpPr txBox="1"/>
          <p:nvPr/>
        </p:nvSpPr>
        <p:spPr bwMode="auto">
          <a:xfrm>
            <a:off x="3909370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42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9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6930AE-B3E8-4852-BC46-1084B1D17403}"/>
              </a:ext>
            </a:extLst>
          </p:cNvPr>
          <p:cNvSpPr txBox="1"/>
          <p:nvPr/>
        </p:nvSpPr>
        <p:spPr bwMode="auto">
          <a:xfrm>
            <a:off x="4345823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36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4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700C3A-36C6-4F4B-9CFA-841A80DAA8CC}"/>
              </a:ext>
            </a:extLst>
          </p:cNvPr>
          <p:cNvSpPr txBox="1"/>
          <p:nvPr/>
        </p:nvSpPr>
        <p:spPr bwMode="auto">
          <a:xfrm>
            <a:off x="4782276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24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8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A50CA2-F0B8-4688-BDEA-E21AA905914F}"/>
              </a:ext>
            </a:extLst>
          </p:cNvPr>
          <p:cNvSpPr txBox="1"/>
          <p:nvPr/>
        </p:nvSpPr>
        <p:spPr bwMode="auto">
          <a:xfrm>
            <a:off x="5218729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07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0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6ECF41-FAE1-4AD5-BB37-10F81C06DD30}"/>
              </a:ext>
            </a:extLst>
          </p:cNvPr>
          <p:cNvSpPr txBox="1"/>
          <p:nvPr/>
        </p:nvSpPr>
        <p:spPr bwMode="auto">
          <a:xfrm>
            <a:off x="5655182" y="5884162"/>
            <a:ext cx="458779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01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3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E32B73-7EFB-409D-A738-9FFB77AFF5F8}"/>
              </a:ext>
            </a:extLst>
          </p:cNvPr>
          <p:cNvSpPr txBox="1"/>
          <p:nvPr/>
        </p:nvSpPr>
        <p:spPr bwMode="auto">
          <a:xfrm>
            <a:off x="6091635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91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7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8BFAD42-1CDC-481A-B4A3-9E09CBD67680}"/>
              </a:ext>
            </a:extLst>
          </p:cNvPr>
          <p:cNvSpPr txBox="1"/>
          <p:nvPr/>
        </p:nvSpPr>
        <p:spPr bwMode="auto">
          <a:xfrm>
            <a:off x="6436717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71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7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E0183D-D922-4EDD-89B2-77E91AC004C8}"/>
              </a:ext>
            </a:extLst>
          </p:cNvPr>
          <p:cNvSpPr txBox="1"/>
          <p:nvPr/>
        </p:nvSpPr>
        <p:spPr bwMode="auto">
          <a:xfrm>
            <a:off x="6781799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6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8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0BD1820-D113-4930-B344-FABFE08A6187}"/>
              </a:ext>
            </a:extLst>
          </p:cNvPr>
          <p:cNvSpPr txBox="1"/>
          <p:nvPr/>
        </p:nvSpPr>
        <p:spPr bwMode="auto">
          <a:xfrm>
            <a:off x="7126881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4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5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8C1FF84-F074-4273-9E62-2591DC626B50}"/>
              </a:ext>
            </a:extLst>
          </p:cNvPr>
          <p:cNvSpPr txBox="1"/>
          <p:nvPr/>
        </p:nvSpPr>
        <p:spPr bwMode="auto">
          <a:xfrm>
            <a:off x="7471963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0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1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8D42486-53E9-4A95-8C99-58857CD886A6}"/>
              </a:ext>
            </a:extLst>
          </p:cNvPr>
          <p:cNvSpPr txBox="1"/>
          <p:nvPr/>
        </p:nvSpPr>
        <p:spPr bwMode="auto">
          <a:xfrm>
            <a:off x="7817045" y="5884162"/>
            <a:ext cx="36740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8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9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F7F773F-5888-4EE3-8C07-E439A2711560}"/>
              </a:ext>
            </a:extLst>
          </p:cNvPr>
          <p:cNvSpPr txBox="1"/>
          <p:nvPr/>
        </p:nvSpPr>
        <p:spPr bwMode="auto">
          <a:xfrm>
            <a:off x="8162127" y="5884162"/>
            <a:ext cx="27603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92AB52-4BC7-486D-9E73-39B7FB6CF42C}"/>
              </a:ext>
            </a:extLst>
          </p:cNvPr>
          <p:cNvSpPr txBox="1"/>
          <p:nvPr/>
        </p:nvSpPr>
        <p:spPr bwMode="auto">
          <a:xfrm>
            <a:off x="8415839" y="5884162"/>
            <a:ext cx="27603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9BC7B61-C9EF-4184-8AD1-83D1F87D3F36}"/>
              </a:ext>
            </a:extLst>
          </p:cNvPr>
          <p:cNvSpPr txBox="1"/>
          <p:nvPr/>
        </p:nvSpPr>
        <p:spPr bwMode="auto">
          <a:xfrm>
            <a:off x="8669551" y="5884162"/>
            <a:ext cx="27603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B387313-449A-41C1-A413-C632F1733051}"/>
              </a:ext>
            </a:extLst>
          </p:cNvPr>
          <p:cNvSpPr txBox="1"/>
          <p:nvPr/>
        </p:nvSpPr>
        <p:spPr bwMode="auto">
          <a:xfrm>
            <a:off x="8923255" y="5884162"/>
            <a:ext cx="276038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  <a:b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  <a:endParaRPr lang="en-US" sz="1400" b="0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FD87BB4-04C0-475A-9B02-2E743AFD1BB3}"/>
              </a:ext>
            </a:extLst>
          </p:cNvPr>
          <p:cNvCxnSpPr>
            <a:cxnSpLocks/>
          </p:cNvCxnSpPr>
          <p:nvPr/>
        </p:nvCxnSpPr>
        <p:spPr bwMode="auto">
          <a:xfrm>
            <a:off x="2806210" y="5244861"/>
            <a:ext cx="626877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2EB9720-D329-4D34-AE55-8D8440265642}"/>
              </a:ext>
            </a:extLst>
          </p:cNvPr>
          <p:cNvCxnSpPr/>
          <p:nvPr/>
        </p:nvCxnSpPr>
        <p:spPr bwMode="auto">
          <a:xfrm flipV="1">
            <a:off x="2823462" y="2027207"/>
            <a:ext cx="0" cy="3217654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E769082-405F-4404-B033-12A84D6F1266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2035833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3700DE6-B2A0-4891-B7FA-896F65F113C5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2356736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68A3555-7B14-429A-A301-89C5446FF629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2677639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4890D06-E80A-477B-832C-7FF24D57FA5D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2998542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94186B3-D8A7-4A1E-BAF6-C6F2C229B98B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3319445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4A43A7D-8C35-4EA2-8075-4F0C56AE7E1E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3640348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F1E9247-5350-4903-BE7A-35373FB7BC34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3961251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33D6031-79B4-4A42-B13A-4BE8984B85D3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4282154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B72F0BA-88E3-432C-89F1-714CB2FBECE8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4603057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40A3CA4-BB1A-491F-9E5C-E6739B561CE8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4923960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A7A9F2B-5CD2-46A7-8D8F-24A78325057F}"/>
              </a:ext>
            </a:extLst>
          </p:cNvPr>
          <p:cNvCxnSpPr>
            <a:cxnSpLocks/>
          </p:cNvCxnSpPr>
          <p:nvPr/>
        </p:nvCxnSpPr>
        <p:spPr bwMode="auto">
          <a:xfrm flipH="1">
            <a:off x="2763077" y="5244861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C5BE840-C9F4-41C6-AB72-78BAB04E11C3}"/>
              </a:ext>
            </a:extLst>
          </p:cNvPr>
          <p:cNvCxnSpPr>
            <a:cxnSpLocks/>
          </p:cNvCxnSpPr>
          <p:nvPr/>
        </p:nvCxnSpPr>
        <p:spPr bwMode="auto">
          <a:xfrm>
            <a:off x="2823462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D03ABF6-6A75-47E6-8BD9-CBAD094ECBDD}"/>
              </a:ext>
            </a:extLst>
          </p:cNvPr>
          <p:cNvCxnSpPr>
            <a:cxnSpLocks/>
          </p:cNvCxnSpPr>
          <p:nvPr/>
        </p:nvCxnSpPr>
        <p:spPr bwMode="auto">
          <a:xfrm>
            <a:off x="3190184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C369C3C-1033-4967-98D8-24C587C3EC14}"/>
              </a:ext>
            </a:extLst>
          </p:cNvPr>
          <p:cNvCxnSpPr>
            <a:cxnSpLocks/>
          </p:cNvCxnSpPr>
          <p:nvPr/>
        </p:nvCxnSpPr>
        <p:spPr bwMode="auto">
          <a:xfrm>
            <a:off x="3556906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44EE0A5-20C0-4F14-B17F-ACB425384489}"/>
              </a:ext>
            </a:extLst>
          </p:cNvPr>
          <p:cNvCxnSpPr>
            <a:cxnSpLocks/>
          </p:cNvCxnSpPr>
          <p:nvPr/>
        </p:nvCxnSpPr>
        <p:spPr bwMode="auto">
          <a:xfrm>
            <a:off x="3923628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1F44259-5108-47BA-B589-DEC4BDA22616}"/>
              </a:ext>
            </a:extLst>
          </p:cNvPr>
          <p:cNvCxnSpPr>
            <a:cxnSpLocks/>
          </p:cNvCxnSpPr>
          <p:nvPr/>
        </p:nvCxnSpPr>
        <p:spPr bwMode="auto">
          <a:xfrm>
            <a:off x="4290350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89FE403-03AA-4CAB-89F0-0C736638778B}"/>
              </a:ext>
            </a:extLst>
          </p:cNvPr>
          <p:cNvCxnSpPr>
            <a:cxnSpLocks/>
          </p:cNvCxnSpPr>
          <p:nvPr/>
        </p:nvCxnSpPr>
        <p:spPr bwMode="auto">
          <a:xfrm>
            <a:off x="4657072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D3877699-761F-4E1B-B3B2-DDEA951FAF72}"/>
              </a:ext>
            </a:extLst>
          </p:cNvPr>
          <p:cNvCxnSpPr>
            <a:cxnSpLocks/>
          </p:cNvCxnSpPr>
          <p:nvPr/>
        </p:nvCxnSpPr>
        <p:spPr bwMode="auto">
          <a:xfrm>
            <a:off x="5023794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326FC9D-7BCA-4EAD-906F-61EEF1BCD915}"/>
              </a:ext>
            </a:extLst>
          </p:cNvPr>
          <p:cNvCxnSpPr>
            <a:cxnSpLocks/>
          </p:cNvCxnSpPr>
          <p:nvPr/>
        </p:nvCxnSpPr>
        <p:spPr bwMode="auto">
          <a:xfrm>
            <a:off x="5390516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BAF7B4C-6948-4AE9-8B5C-C1B4E98DEB04}"/>
              </a:ext>
            </a:extLst>
          </p:cNvPr>
          <p:cNvCxnSpPr>
            <a:cxnSpLocks/>
          </p:cNvCxnSpPr>
          <p:nvPr/>
        </p:nvCxnSpPr>
        <p:spPr bwMode="auto">
          <a:xfrm>
            <a:off x="5757238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D25026F-525E-4053-9EFE-1F7D6E5BEB97}"/>
              </a:ext>
            </a:extLst>
          </p:cNvPr>
          <p:cNvCxnSpPr>
            <a:cxnSpLocks/>
          </p:cNvCxnSpPr>
          <p:nvPr/>
        </p:nvCxnSpPr>
        <p:spPr bwMode="auto">
          <a:xfrm>
            <a:off x="6123960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8148EFA-52C0-4B5C-9DC1-A619472F11D7}"/>
              </a:ext>
            </a:extLst>
          </p:cNvPr>
          <p:cNvCxnSpPr>
            <a:cxnSpLocks/>
          </p:cNvCxnSpPr>
          <p:nvPr/>
        </p:nvCxnSpPr>
        <p:spPr bwMode="auto">
          <a:xfrm>
            <a:off x="6490682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A65799A-6DB3-4EE8-AF01-8344992340E0}"/>
              </a:ext>
            </a:extLst>
          </p:cNvPr>
          <p:cNvCxnSpPr>
            <a:cxnSpLocks/>
          </p:cNvCxnSpPr>
          <p:nvPr/>
        </p:nvCxnSpPr>
        <p:spPr bwMode="auto">
          <a:xfrm>
            <a:off x="6857404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4B8BEC9-9F17-4D51-86B8-7DCFF86A1DF6}"/>
              </a:ext>
            </a:extLst>
          </p:cNvPr>
          <p:cNvCxnSpPr>
            <a:cxnSpLocks/>
          </p:cNvCxnSpPr>
          <p:nvPr/>
        </p:nvCxnSpPr>
        <p:spPr bwMode="auto">
          <a:xfrm>
            <a:off x="7224126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ADC975E-2B40-48FD-B4CE-C6A24B94B83E}"/>
              </a:ext>
            </a:extLst>
          </p:cNvPr>
          <p:cNvCxnSpPr>
            <a:cxnSpLocks/>
          </p:cNvCxnSpPr>
          <p:nvPr/>
        </p:nvCxnSpPr>
        <p:spPr bwMode="auto">
          <a:xfrm>
            <a:off x="7590848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7AB7B84F-7F83-4E97-B0DB-9B68C28FDE44}"/>
              </a:ext>
            </a:extLst>
          </p:cNvPr>
          <p:cNvCxnSpPr>
            <a:cxnSpLocks/>
          </p:cNvCxnSpPr>
          <p:nvPr/>
        </p:nvCxnSpPr>
        <p:spPr bwMode="auto">
          <a:xfrm>
            <a:off x="7957570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BD20269-FC06-45F2-9BCE-D5C393216706}"/>
              </a:ext>
            </a:extLst>
          </p:cNvPr>
          <p:cNvCxnSpPr>
            <a:cxnSpLocks/>
          </p:cNvCxnSpPr>
          <p:nvPr/>
        </p:nvCxnSpPr>
        <p:spPr bwMode="auto">
          <a:xfrm>
            <a:off x="8324292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3C10BCE-2654-441E-B9EC-128160A808B0}"/>
              </a:ext>
            </a:extLst>
          </p:cNvPr>
          <p:cNvCxnSpPr>
            <a:cxnSpLocks/>
          </p:cNvCxnSpPr>
          <p:nvPr/>
        </p:nvCxnSpPr>
        <p:spPr bwMode="auto">
          <a:xfrm>
            <a:off x="8691014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3485C26E-4145-464A-8D7D-1EE43B3667A4}"/>
              </a:ext>
            </a:extLst>
          </p:cNvPr>
          <p:cNvCxnSpPr>
            <a:cxnSpLocks/>
          </p:cNvCxnSpPr>
          <p:nvPr/>
        </p:nvCxnSpPr>
        <p:spPr bwMode="auto">
          <a:xfrm>
            <a:off x="9057736" y="524486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420B63BA-EE8E-427E-95D6-ADC8C256B845}"/>
              </a:ext>
            </a:extLst>
          </p:cNvPr>
          <p:cNvSpPr txBox="1"/>
          <p:nvPr/>
        </p:nvSpPr>
        <p:spPr bwMode="auto">
          <a:xfrm>
            <a:off x="8831731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34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50AD66A-1101-4CD6-9A2D-E0A21473BBE0}"/>
              </a:ext>
            </a:extLst>
          </p:cNvPr>
          <p:cNvSpPr txBox="1"/>
          <p:nvPr/>
        </p:nvSpPr>
        <p:spPr bwMode="auto">
          <a:xfrm>
            <a:off x="258355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91745D2-BF17-47FB-81A9-AFDEE617487E}"/>
              </a:ext>
            </a:extLst>
          </p:cNvPr>
          <p:cNvSpPr txBox="1"/>
          <p:nvPr/>
        </p:nvSpPr>
        <p:spPr bwMode="auto">
          <a:xfrm>
            <a:off x="295109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3F0F99E-6342-46CB-A6E3-6B1BA4B3AC5A}"/>
              </a:ext>
            </a:extLst>
          </p:cNvPr>
          <p:cNvSpPr txBox="1"/>
          <p:nvPr/>
        </p:nvSpPr>
        <p:spPr bwMode="auto">
          <a:xfrm>
            <a:off x="331863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F5E3098-E449-4476-A237-F4111D2F9730}"/>
              </a:ext>
            </a:extLst>
          </p:cNvPr>
          <p:cNvSpPr txBox="1"/>
          <p:nvPr/>
        </p:nvSpPr>
        <p:spPr bwMode="auto">
          <a:xfrm>
            <a:off x="368617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CE72F05-D48C-49C4-843E-4B4AEB083315}"/>
              </a:ext>
            </a:extLst>
          </p:cNvPr>
          <p:cNvSpPr txBox="1"/>
          <p:nvPr/>
        </p:nvSpPr>
        <p:spPr bwMode="auto">
          <a:xfrm>
            <a:off x="405371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4B8B367-04CB-4051-B705-ED02AFB82F16}"/>
              </a:ext>
            </a:extLst>
          </p:cNvPr>
          <p:cNvSpPr txBox="1"/>
          <p:nvPr/>
        </p:nvSpPr>
        <p:spPr bwMode="auto">
          <a:xfrm>
            <a:off x="442125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56DB44E-04CE-4C48-8AE8-E9AAE021EA54}"/>
              </a:ext>
            </a:extLst>
          </p:cNvPr>
          <p:cNvSpPr txBox="1"/>
          <p:nvPr/>
        </p:nvSpPr>
        <p:spPr bwMode="auto">
          <a:xfrm>
            <a:off x="478879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2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C8BDA2CD-26EE-4996-BD2B-232BFE92C95E}"/>
              </a:ext>
            </a:extLst>
          </p:cNvPr>
          <p:cNvSpPr txBox="1"/>
          <p:nvPr/>
        </p:nvSpPr>
        <p:spPr bwMode="auto">
          <a:xfrm>
            <a:off x="515633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4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0213AAF-C70C-4496-BF5D-A0AEDE1B640D}"/>
              </a:ext>
            </a:extLst>
          </p:cNvPr>
          <p:cNvSpPr txBox="1"/>
          <p:nvPr/>
        </p:nvSpPr>
        <p:spPr bwMode="auto">
          <a:xfrm>
            <a:off x="552387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6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2BCE80FC-222A-47CD-9559-4AD6A8383AAB}"/>
              </a:ext>
            </a:extLst>
          </p:cNvPr>
          <p:cNvSpPr txBox="1"/>
          <p:nvPr/>
        </p:nvSpPr>
        <p:spPr bwMode="auto">
          <a:xfrm>
            <a:off x="589141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8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E5F47BB-79AF-477C-9553-85B147EA36C7}"/>
              </a:ext>
            </a:extLst>
          </p:cNvPr>
          <p:cNvSpPr txBox="1"/>
          <p:nvPr/>
        </p:nvSpPr>
        <p:spPr bwMode="auto">
          <a:xfrm>
            <a:off x="625895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9FABAD9-C67F-457A-BA5D-64B00A4898A5}"/>
              </a:ext>
            </a:extLst>
          </p:cNvPr>
          <p:cNvSpPr txBox="1"/>
          <p:nvPr/>
        </p:nvSpPr>
        <p:spPr bwMode="auto">
          <a:xfrm>
            <a:off x="662649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2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EFDCC5-70CE-4790-B989-3534C5726296}"/>
              </a:ext>
            </a:extLst>
          </p:cNvPr>
          <p:cNvSpPr txBox="1"/>
          <p:nvPr/>
        </p:nvSpPr>
        <p:spPr bwMode="auto">
          <a:xfrm>
            <a:off x="699403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4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24B9C93-3C22-4199-BCE1-6FEC8E1BD374}"/>
              </a:ext>
            </a:extLst>
          </p:cNvPr>
          <p:cNvSpPr txBox="1"/>
          <p:nvPr/>
        </p:nvSpPr>
        <p:spPr bwMode="auto">
          <a:xfrm>
            <a:off x="736157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6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B37D875B-C4AC-4C77-9D80-30C7D35C44B4}"/>
              </a:ext>
            </a:extLst>
          </p:cNvPr>
          <p:cNvSpPr txBox="1"/>
          <p:nvPr/>
        </p:nvSpPr>
        <p:spPr bwMode="auto">
          <a:xfrm>
            <a:off x="772911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8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F8DB3C3A-E094-4BB1-862D-A02298222B15}"/>
              </a:ext>
            </a:extLst>
          </p:cNvPr>
          <p:cNvSpPr txBox="1"/>
          <p:nvPr/>
        </p:nvSpPr>
        <p:spPr bwMode="auto">
          <a:xfrm>
            <a:off x="809665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30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FCDC22F3-E782-4008-A7FB-B97C5E85835D}"/>
              </a:ext>
            </a:extLst>
          </p:cNvPr>
          <p:cNvSpPr txBox="1"/>
          <p:nvPr/>
        </p:nvSpPr>
        <p:spPr bwMode="auto">
          <a:xfrm>
            <a:off x="8464195" y="5241986"/>
            <a:ext cx="4681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32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5087E9C-F473-4F37-899A-3CE985EA317A}"/>
              </a:ext>
            </a:extLst>
          </p:cNvPr>
          <p:cNvSpPr txBox="1"/>
          <p:nvPr/>
        </p:nvSpPr>
        <p:spPr bwMode="auto">
          <a:xfrm>
            <a:off x="2178309" y="1852030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00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6D29C62-BF2E-4CE9-8EB3-FC6B5DC232DA}"/>
              </a:ext>
            </a:extLst>
          </p:cNvPr>
          <p:cNvSpPr txBox="1"/>
          <p:nvPr/>
        </p:nvSpPr>
        <p:spPr bwMode="auto">
          <a:xfrm>
            <a:off x="2178309" y="2173508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90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CA7F713-6F2F-4CB8-A402-E3A1E93F821E}"/>
              </a:ext>
            </a:extLst>
          </p:cNvPr>
          <p:cNvSpPr txBox="1"/>
          <p:nvPr/>
        </p:nvSpPr>
        <p:spPr bwMode="auto">
          <a:xfrm>
            <a:off x="2178309" y="2494986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80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09565D5-6B56-4569-A0D8-077B34B99F21}"/>
              </a:ext>
            </a:extLst>
          </p:cNvPr>
          <p:cNvSpPr txBox="1"/>
          <p:nvPr/>
        </p:nvSpPr>
        <p:spPr bwMode="auto">
          <a:xfrm>
            <a:off x="2178309" y="2816464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70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CB9CF3E-52D4-4BF9-8FE6-4808784F7B05}"/>
              </a:ext>
            </a:extLst>
          </p:cNvPr>
          <p:cNvSpPr txBox="1"/>
          <p:nvPr/>
        </p:nvSpPr>
        <p:spPr bwMode="auto">
          <a:xfrm>
            <a:off x="2178309" y="3137942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60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515B101-0947-4108-85DB-53D1E19479E0}"/>
              </a:ext>
            </a:extLst>
          </p:cNvPr>
          <p:cNvSpPr txBox="1"/>
          <p:nvPr/>
        </p:nvSpPr>
        <p:spPr bwMode="auto">
          <a:xfrm>
            <a:off x="2178309" y="3459420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50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AAC79B9-92A4-49AE-8BE9-FB6E7F668525}"/>
              </a:ext>
            </a:extLst>
          </p:cNvPr>
          <p:cNvSpPr txBox="1"/>
          <p:nvPr/>
        </p:nvSpPr>
        <p:spPr bwMode="auto">
          <a:xfrm>
            <a:off x="2178309" y="3780898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40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73AE5EEC-B7A1-412B-AFB3-666908E8C4C2}"/>
              </a:ext>
            </a:extLst>
          </p:cNvPr>
          <p:cNvSpPr txBox="1"/>
          <p:nvPr/>
        </p:nvSpPr>
        <p:spPr bwMode="auto">
          <a:xfrm>
            <a:off x="2178309" y="4102376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30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2EFE7699-F81E-4EAD-B531-7D357419160C}"/>
              </a:ext>
            </a:extLst>
          </p:cNvPr>
          <p:cNvSpPr txBox="1"/>
          <p:nvPr/>
        </p:nvSpPr>
        <p:spPr bwMode="auto">
          <a:xfrm>
            <a:off x="2178309" y="4423854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7CF31581-55DA-456C-B60E-58B478646205}"/>
              </a:ext>
            </a:extLst>
          </p:cNvPr>
          <p:cNvSpPr txBox="1"/>
          <p:nvPr/>
        </p:nvSpPr>
        <p:spPr bwMode="auto">
          <a:xfrm>
            <a:off x="2178309" y="4745332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D4A2F0B-7703-4B51-92B1-F9029E18D91F}"/>
              </a:ext>
            </a:extLst>
          </p:cNvPr>
          <p:cNvSpPr txBox="1"/>
          <p:nvPr/>
        </p:nvSpPr>
        <p:spPr bwMode="auto">
          <a:xfrm>
            <a:off x="2178309" y="5066808"/>
            <a:ext cx="6273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EA2C1A1-BED7-4994-B143-07ECA6592F70}"/>
              </a:ext>
            </a:extLst>
          </p:cNvPr>
          <p:cNvCxnSpPr/>
          <p:nvPr/>
        </p:nvCxnSpPr>
        <p:spPr bwMode="auto">
          <a:xfrm>
            <a:off x="2827085" y="3644086"/>
            <a:ext cx="500263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4603494D-3F03-4259-A394-9F5BAB2C070B}"/>
              </a:ext>
            </a:extLst>
          </p:cNvPr>
          <p:cNvSpPr txBox="1"/>
          <p:nvPr/>
        </p:nvSpPr>
        <p:spPr bwMode="auto">
          <a:xfrm>
            <a:off x="3622642" y="1610257"/>
            <a:ext cx="642735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accent1"/>
                </a:solidFill>
                <a:latin typeface="Calibri" panose="020F0502020204030204" pitchFamily="34" charset="0"/>
              </a:rPr>
              <a:t>91%</a:t>
            </a:r>
            <a:br>
              <a:rPr lang="en-US" sz="18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800" b="1" dirty="0">
                <a:solidFill>
                  <a:schemeClr val="accent3"/>
                </a:solidFill>
                <a:latin typeface="Calibri" panose="020F0502020204030204" pitchFamily="34" charset="0"/>
              </a:rPr>
              <a:t>84%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FEE50514-190D-4497-AA98-1F45CF4061DD}"/>
              </a:ext>
            </a:extLst>
          </p:cNvPr>
          <p:cNvSpPr txBox="1"/>
          <p:nvPr/>
        </p:nvSpPr>
        <p:spPr bwMode="auto">
          <a:xfrm>
            <a:off x="4704541" y="2163930"/>
            <a:ext cx="642735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accent1"/>
                </a:solidFill>
                <a:latin typeface="Calibri" panose="020F0502020204030204" pitchFamily="34" charset="0"/>
              </a:rPr>
              <a:t>73%</a:t>
            </a:r>
            <a:br>
              <a:rPr lang="en-US" sz="18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800" b="1" dirty="0">
                <a:solidFill>
                  <a:schemeClr val="accent3"/>
                </a:solidFill>
                <a:latin typeface="Calibri" panose="020F0502020204030204" pitchFamily="34" charset="0"/>
              </a:rPr>
              <a:t>61%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ADE442AE-50FF-4B11-8B58-27A2A75A433B}"/>
              </a:ext>
            </a:extLst>
          </p:cNvPr>
          <p:cNvSpPr txBox="1"/>
          <p:nvPr/>
        </p:nvSpPr>
        <p:spPr bwMode="auto">
          <a:xfrm>
            <a:off x="5809830" y="2598413"/>
            <a:ext cx="642735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accent1"/>
                </a:solidFill>
                <a:latin typeface="Calibri" panose="020F0502020204030204" pitchFamily="34" charset="0"/>
              </a:rPr>
              <a:t>54%</a:t>
            </a:r>
            <a:br>
              <a:rPr lang="en-US" sz="18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800" b="1" dirty="0">
                <a:solidFill>
                  <a:schemeClr val="accent3"/>
                </a:solidFill>
                <a:latin typeface="Calibri" panose="020F0502020204030204" pitchFamily="34" charset="0"/>
              </a:rPr>
              <a:t>42%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CA77A961-8609-4EF3-B307-19DB9D803F19}"/>
              </a:ext>
            </a:extLst>
          </p:cNvPr>
          <p:cNvSpPr txBox="1"/>
          <p:nvPr/>
        </p:nvSpPr>
        <p:spPr bwMode="auto">
          <a:xfrm>
            <a:off x="8117196" y="3975759"/>
            <a:ext cx="16121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accent1"/>
                </a:solidFill>
                <a:latin typeface="Calibri" panose="020F0502020204030204" pitchFamily="34" charset="0"/>
              </a:rPr>
              <a:t>Olaparib</a:t>
            </a:r>
            <a:endParaRPr lang="en-US" sz="1800" b="1" dirty="0">
              <a:solidFill>
                <a:schemeClr val="accent3"/>
              </a:solidFill>
              <a:latin typeface="Calibri" panose="020F050202020403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02C2033-8BCA-4CC6-B646-0C5B589C3A66}"/>
              </a:ext>
            </a:extLst>
          </p:cNvPr>
          <p:cNvSpPr txBox="1"/>
          <p:nvPr/>
        </p:nvSpPr>
        <p:spPr bwMode="auto">
          <a:xfrm>
            <a:off x="8117196" y="4567721"/>
            <a:ext cx="16121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accent3"/>
                </a:solidFill>
                <a:latin typeface="Calibri" panose="020F0502020204030204" pitchFamily="34" charset="0"/>
              </a:rPr>
              <a:t>AR Therapy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B477E4E0-928E-43DC-88BA-F48A174D9656}"/>
              </a:ext>
            </a:extLst>
          </p:cNvPr>
          <p:cNvCxnSpPr/>
          <p:nvPr/>
        </p:nvCxnSpPr>
        <p:spPr bwMode="auto">
          <a:xfrm>
            <a:off x="3926622" y="2173508"/>
            <a:ext cx="0" cy="306847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9E45FAC-09AA-4C9A-923D-A7B678CCFBF6}"/>
              </a:ext>
            </a:extLst>
          </p:cNvPr>
          <p:cNvCxnSpPr>
            <a:cxnSpLocks/>
          </p:cNvCxnSpPr>
          <p:nvPr/>
        </p:nvCxnSpPr>
        <p:spPr bwMode="auto">
          <a:xfrm flipH="1">
            <a:off x="5020291" y="2754861"/>
            <a:ext cx="0" cy="2560857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62B9889E-333E-4166-B1C7-F37059D11D1E}"/>
              </a:ext>
            </a:extLst>
          </p:cNvPr>
          <p:cNvCxnSpPr>
            <a:cxnSpLocks/>
            <a:stCxn id="158" idx="2"/>
          </p:cNvCxnSpPr>
          <p:nvPr/>
        </p:nvCxnSpPr>
        <p:spPr bwMode="auto">
          <a:xfrm flipH="1">
            <a:off x="6123960" y="3189344"/>
            <a:ext cx="0" cy="2096634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4" name="Oval 173">
            <a:extLst>
              <a:ext uri="{FF2B5EF4-FFF2-40B4-BE49-F238E27FC236}">
                <a16:creationId xmlns:a16="http://schemas.microsoft.com/office/drawing/2014/main" id="{6DC089BF-091B-4623-9963-D576164E49C7}"/>
              </a:ext>
            </a:extLst>
          </p:cNvPr>
          <p:cNvSpPr/>
          <p:nvPr/>
        </p:nvSpPr>
        <p:spPr bwMode="auto">
          <a:xfrm>
            <a:off x="3119820" y="209389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4818432B-B938-4469-8582-E1D3386E1B40}"/>
              </a:ext>
            </a:extLst>
          </p:cNvPr>
          <p:cNvSpPr/>
          <p:nvPr/>
        </p:nvSpPr>
        <p:spPr bwMode="auto">
          <a:xfrm>
            <a:off x="3171599" y="2102516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9348FE98-944D-4B53-A273-61296A3C98CB}"/>
              </a:ext>
            </a:extLst>
          </p:cNvPr>
          <p:cNvSpPr/>
          <p:nvPr/>
        </p:nvSpPr>
        <p:spPr bwMode="auto">
          <a:xfrm>
            <a:off x="3577020" y="217461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923194FF-02CB-4569-A963-CC03176FD0C0}"/>
              </a:ext>
            </a:extLst>
          </p:cNvPr>
          <p:cNvSpPr/>
          <p:nvPr/>
        </p:nvSpPr>
        <p:spPr bwMode="auto">
          <a:xfrm>
            <a:off x="3800858" y="221422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0F31E0B0-DE57-48EA-9605-05761630056C}"/>
              </a:ext>
            </a:extLst>
          </p:cNvPr>
          <p:cNvSpPr/>
          <p:nvPr/>
        </p:nvSpPr>
        <p:spPr bwMode="auto">
          <a:xfrm>
            <a:off x="3362593" y="213971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92ADC39A-0BD0-4957-9500-D605CF9A97CB}"/>
              </a:ext>
            </a:extLst>
          </p:cNvPr>
          <p:cNvSpPr/>
          <p:nvPr/>
        </p:nvSpPr>
        <p:spPr bwMode="auto">
          <a:xfrm>
            <a:off x="3395493" y="213737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E96F4EFE-A019-46E2-9B47-8BB943B77122}"/>
              </a:ext>
            </a:extLst>
          </p:cNvPr>
          <p:cNvSpPr/>
          <p:nvPr/>
        </p:nvSpPr>
        <p:spPr bwMode="auto">
          <a:xfrm>
            <a:off x="4067060" y="232731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957C033A-84D8-4553-B733-BB5115215EE8}"/>
              </a:ext>
            </a:extLst>
          </p:cNvPr>
          <p:cNvSpPr/>
          <p:nvPr/>
        </p:nvSpPr>
        <p:spPr bwMode="auto">
          <a:xfrm>
            <a:off x="4205288" y="235493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24167373-2462-4611-9D73-FCE310893631}"/>
              </a:ext>
            </a:extLst>
          </p:cNvPr>
          <p:cNvSpPr/>
          <p:nvPr/>
        </p:nvSpPr>
        <p:spPr bwMode="auto">
          <a:xfrm>
            <a:off x="4683912" y="264847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B1047F13-E191-44CE-B1E7-969E93F748DC}"/>
              </a:ext>
            </a:extLst>
          </p:cNvPr>
          <p:cNvSpPr/>
          <p:nvPr/>
        </p:nvSpPr>
        <p:spPr bwMode="auto">
          <a:xfrm>
            <a:off x="4732794" y="264846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43C33C1-87CF-4AFF-AADA-362096B2E377}"/>
              </a:ext>
            </a:extLst>
          </p:cNvPr>
          <p:cNvSpPr/>
          <p:nvPr/>
        </p:nvSpPr>
        <p:spPr bwMode="auto">
          <a:xfrm>
            <a:off x="4851348" y="277150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8D2C3175-1239-4A4C-B629-A36E4F1CF1EA}"/>
              </a:ext>
            </a:extLst>
          </p:cNvPr>
          <p:cNvSpPr/>
          <p:nvPr/>
        </p:nvSpPr>
        <p:spPr bwMode="auto">
          <a:xfrm>
            <a:off x="5185653" y="2952391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25D410CA-D40A-42EB-A320-2B7840241F27}"/>
              </a:ext>
            </a:extLst>
          </p:cNvPr>
          <p:cNvSpPr/>
          <p:nvPr/>
        </p:nvSpPr>
        <p:spPr bwMode="auto">
          <a:xfrm>
            <a:off x="4982426" y="286046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F64C35FC-9470-4F56-892C-B2FC78D72A6C}"/>
              </a:ext>
            </a:extLst>
          </p:cNvPr>
          <p:cNvSpPr/>
          <p:nvPr/>
        </p:nvSpPr>
        <p:spPr bwMode="auto">
          <a:xfrm>
            <a:off x="5483825" y="3057112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F4C71915-142C-4486-9629-831998C2F454}"/>
              </a:ext>
            </a:extLst>
          </p:cNvPr>
          <p:cNvSpPr/>
          <p:nvPr/>
        </p:nvSpPr>
        <p:spPr bwMode="auto">
          <a:xfrm>
            <a:off x="5704668" y="314627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D9EB13F0-9D15-4BC6-932F-19ED262315BD}"/>
              </a:ext>
            </a:extLst>
          </p:cNvPr>
          <p:cNvSpPr/>
          <p:nvPr/>
        </p:nvSpPr>
        <p:spPr bwMode="auto">
          <a:xfrm>
            <a:off x="5800568" y="321246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61C460DC-628D-4687-8B62-06BA59D5812E}"/>
              </a:ext>
            </a:extLst>
          </p:cNvPr>
          <p:cNvSpPr/>
          <p:nvPr/>
        </p:nvSpPr>
        <p:spPr bwMode="auto">
          <a:xfrm>
            <a:off x="5836842" y="3219344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5E19EEA5-866C-4CD3-B552-EC0D3342A70C}"/>
              </a:ext>
            </a:extLst>
          </p:cNvPr>
          <p:cNvSpPr/>
          <p:nvPr/>
        </p:nvSpPr>
        <p:spPr bwMode="auto">
          <a:xfrm>
            <a:off x="5909922" y="326571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0" name="Oval 209">
            <a:extLst>
              <a:ext uri="{FF2B5EF4-FFF2-40B4-BE49-F238E27FC236}">
                <a16:creationId xmlns:a16="http://schemas.microsoft.com/office/drawing/2014/main" id="{3F7F60EF-C2CA-4C30-825A-9DB8F074218D}"/>
              </a:ext>
            </a:extLst>
          </p:cNvPr>
          <p:cNvSpPr/>
          <p:nvPr/>
        </p:nvSpPr>
        <p:spPr bwMode="auto">
          <a:xfrm>
            <a:off x="5972238" y="331805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29AFF58F-502F-409B-A812-F88DEBA48203}"/>
              </a:ext>
            </a:extLst>
          </p:cNvPr>
          <p:cNvSpPr/>
          <p:nvPr/>
        </p:nvSpPr>
        <p:spPr bwMode="auto">
          <a:xfrm>
            <a:off x="5890799" y="328944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F62AD341-4C8F-482B-A1FC-A1ED0D99F540}"/>
              </a:ext>
            </a:extLst>
          </p:cNvPr>
          <p:cNvSpPr/>
          <p:nvPr/>
        </p:nvSpPr>
        <p:spPr bwMode="auto">
          <a:xfrm>
            <a:off x="6058966" y="344214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2488A0F2-C6F8-49CB-A53A-F1296D2D0C05}"/>
              </a:ext>
            </a:extLst>
          </p:cNvPr>
          <p:cNvSpPr/>
          <p:nvPr/>
        </p:nvSpPr>
        <p:spPr bwMode="auto">
          <a:xfrm>
            <a:off x="6076729" y="348348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9753ED9A-31A9-41A9-8792-957452740170}"/>
              </a:ext>
            </a:extLst>
          </p:cNvPr>
          <p:cNvSpPr/>
          <p:nvPr/>
        </p:nvSpPr>
        <p:spPr bwMode="auto">
          <a:xfrm>
            <a:off x="6171192" y="358326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974B97E1-C03F-4B17-8045-398DCE73C038}"/>
              </a:ext>
            </a:extLst>
          </p:cNvPr>
          <p:cNvSpPr/>
          <p:nvPr/>
        </p:nvSpPr>
        <p:spPr bwMode="auto">
          <a:xfrm>
            <a:off x="6220074" y="358326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8C9D398A-88C7-4F36-B794-2388B5B9C050}"/>
              </a:ext>
            </a:extLst>
          </p:cNvPr>
          <p:cNvSpPr/>
          <p:nvPr/>
        </p:nvSpPr>
        <p:spPr bwMode="auto">
          <a:xfrm>
            <a:off x="6268956" y="357582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A2996351-B070-41F9-9AFC-06B8F7A99898}"/>
              </a:ext>
            </a:extLst>
          </p:cNvPr>
          <p:cNvSpPr/>
          <p:nvPr/>
        </p:nvSpPr>
        <p:spPr bwMode="auto">
          <a:xfrm>
            <a:off x="6299370" y="3598312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B92496ED-6B21-4408-80B5-71F6F910F5CD}"/>
              </a:ext>
            </a:extLst>
          </p:cNvPr>
          <p:cNvSpPr/>
          <p:nvPr/>
        </p:nvSpPr>
        <p:spPr bwMode="auto">
          <a:xfrm>
            <a:off x="6344155" y="3603382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7630F96E-89B5-43BE-8F2C-95213BE91500}"/>
              </a:ext>
            </a:extLst>
          </p:cNvPr>
          <p:cNvSpPr/>
          <p:nvPr/>
        </p:nvSpPr>
        <p:spPr bwMode="auto">
          <a:xfrm>
            <a:off x="6502315" y="3670831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56431662-707F-4269-A51B-2975A10ACDF4}"/>
              </a:ext>
            </a:extLst>
          </p:cNvPr>
          <p:cNvSpPr/>
          <p:nvPr/>
        </p:nvSpPr>
        <p:spPr bwMode="auto">
          <a:xfrm>
            <a:off x="6629332" y="377458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4E682E58-85FF-41D0-ACB4-59F587666609}"/>
              </a:ext>
            </a:extLst>
          </p:cNvPr>
          <p:cNvSpPr/>
          <p:nvPr/>
        </p:nvSpPr>
        <p:spPr bwMode="auto">
          <a:xfrm>
            <a:off x="6709825" y="3774588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9E8FEDA2-DBC5-40A6-8D1C-3F247DCD32DA}"/>
              </a:ext>
            </a:extLst>
          </p:cNvPr>
          <p:cNvSpPr/>
          <p:nvPr/>
        </p:nvSpPr>
        <p:spPr bwMode="auto">
          <a:xfrm>
            <a:off x="6802087" y="382347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EE603CBB-5FFC-4CFB-B4F7-3CAD84BEF16E}"/>
              </a:ext>
            </a:extLst>
          </p:cNvPr>
          <p:cNvSpPr/>
          <p:nvPr/>
        </p:nvSpPr>
        <p:spPr bwMode="auto">
          <a:xfrm>
            <a:off x="6864333" y="381859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B377C1D4-97FF-46E6-9DD4-9C4C160D1BAB}"/>
              </a:ext>
            </a:extLst>
          </p:cNvPr>
          <p:cNvSpPr/>
          <p:nvPr/>
        </p:nvSpPr>
        <p:spPr bwMode="auto">
          <a:xfrm>
            <a:off x="6935237" y="3812362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ECC84635-2BE7-4899-969D-D46527C094E5}"/>
              </a:ext>
            </a:extLst>
          </p:cNvPr>
          <p:cNvSpPr/>
          <p:nvPr/>
        </p:nvSpPr>
        <p:spPr bwMode="auto">
          <a:xfrm>
            <a:off x="6960345" y="385182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1B9D40CC-4E54-478A-BA99-4B83C62A2AD1}"/>
              </a:ext>
            </a:extLst>
          </p:cNvPr>
          <p:cNvSpPr/>
          <p:nvPr/>
        </p:nvSpPr>
        <p:spPr bwMode="auto">
          <a:xfrm>
            <a:off x="7011082" y="385182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EFA6B9DB-A2B0-449A-B054-3A930F180A91}"/>
              </a:ext>
            </a:extLst>
          </p:cNvPr>
          <p:cNvSpPr/>
          <p:nvPr/>
        </p:nvSpPr>
        <p:spPr bwMode="auto">
          <a:xfrm>
            <a:off x="7089023" y="388156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8B6447DD-5977-4596-8F8D-717A95693A12}"/>
              </a:ext>
            </a:extLst>
          </p:cNvPr>
          <p:cNvSpPr/>
          <p:nvPr/>
        </p:nvSpPr>
        <p:spPr bwMode="auto">
          <a:xfrm>
            <a:off x="7165590" y="393044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60C83821-FB0E-4D15-921F-BAED7E46323A}"/>
              </a:ext>
            </a:extLst>
          </p:cNvPr>
          <p:cNvSpPr/>
          <p:nvPr/>
        </p:nvSpPr>
        <p:spPr bwMode="auto">
          <a:xfrm>
            <a:off x="7203627" y="3972525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9EF0162F-8023-4AA7-996E-F666A96C3EFB}"/>
              </a:ext>
            </a:extLst>
          </p:cNvPr>
          <p:cNvSpPr/>
          <p:nvPr/>
        </p:nvSpPr>
        <p:spPr bwMode="auto">
          <a:xfrm>
            <a:off x="7252509" y="401066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93152801-5E4E-4F1F-932A-053211722D13}"/>
              </a:ext>
            </a:extLst>
          </p:cNvPr>
          <p:cNvSpPr/>
          <p:nvPr/>
        </p:nvSpPr>
        <p:spPr bwMode="auto">
          <a:xfrm>
            <a:off x="7339003" y="404881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ECE68B48-1C48-40B6-B487-3D9D658430C5}"/>
              </a:ext>
            </a:extLst>
          </p:cNvPr>
          <p:cNvSpPr/>
          <p:nvPr/>
        </p:nvSpPr>
        <p:spPr bwMode="auto">
          <a:xfrm>
            <a:off x="7394488" y="4048166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B666A2F0-6F1D-492A-B158-BAA9D8839887}"/>
              </a:ext>
            </a:extLst>
          </p:cNvPr>
          <p:cNvSpPr/>
          <p:nvPr/>
        </p:nvSpPr>
        <p:spPr bwMode="auto">
          <a:xfrm>
            <a:off x="8892771" y="437674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F00DF646-8039-44B8-9E77-5AAE80C8C9E6}"/>
              </a:ext>
            </a:extLst>
          </p:cNvPr>
          <p:cNvSpPr/>
          <p:nvPr/>
        </p:nvSpPr>
        <p:spPr bwMode="auto">
          <a:xfrm>
            <a:off x="8295826" y="437585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2325159D-443F-4605-B965-89FC0B81F045}"/>
              </a:ext>
            </a:extLst>
          </p:cNvPr>
          <p:cNvSpPr/>
          <p:nvPr/>
        </p:nvSpPr>
        <p:spPr bwMode="auto">
          <a:xfrm>
            <a:off x="8066130" y="436211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2B2CB89A-31C9-4026-AAB2-A01FD8696FFC}"/>
              </a:ext>
            </a:extLst>
          </p:cNvPr>
          <p:cNvSpPr/>
          <p:nvPr/>
        </p:nvSpPr>
        <p:spPr bwMode="auto">
          <a:xfrm>
            <a:off x="8250388" y="437674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0D08B340-F13C-4526-90DA-3EDC0A96061F}"/>
              </a:ext>
            </a:extLst>
          </p:cNvPr>
          <p:cNvSpPr/>
          <p:nvPr/>
        </p:nvSpPr>
        <p:spPr bwMode="auto">
          <a:xfrm>
            <a:off x="8019431" y="4366516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78273DCD-62B3-4B8A-8D99-C7B19247D266}"/>
              </a:ext>
            </a:extLst>
          </p:cNvPr>
          <p:cNvSpPr/>
          <p:nvPr/>
        </p:nvSpPr>
        <p:spPr bwMode="auto">
          <a:xfrm>
            <a:off x="7438702" y="4107661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553579CA-889E-4876-ADBD-038908349A3F}"/>
              </a:ext>
            </a:extLst>
          </p:cNvPr>
          <p:cNvSpPr/>
          <p:nvPr/>
        </p:nvSpPr>
        <p:spPr bwMode="auto">
          <a:xfrm>
            <a:off x="7557902" y="415023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70" name="Oval 269">
            <a:extLst>
              <a:ext uri="{FF2B5EF4-FFF2-40B4-BE49-F238E27FC236}">
                <a16:creationId xmlns:a16="http://schemas.microsoft.com/office/drawing/2014/main" id="{2689E6BE-DEC3-4865-98CA-F3C3AC2D5FF0}"/>
              </a:ext>
            </a:extLst>
          </p:cNvPr>
          <p:cNvSpPr/>
          <p:nvPr/>
        </p:nvSpPr>
        <p:spPr bwMode="auto">
          <a:xfrm>
            <a:off x="7629102" y="4152207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86E87E27-43AC-4092-AA68-CDF778C76E13}"/>
              </a:ext>
            </a:extLst>
          </p:cNvPr>
          <p:cNvSpPr/>
          <p:nvPr/>
        </p:nvSpPr>
        <p:spPr bwMode="auto">
          <a:xfrm>
            <a:off x="7517050" y="4156543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74" name="Oval 273">
            <a:extLst>
              <a:ext uri="{FF2B5EF4-FFF2-40B4-BE49-F238E27FC236}">
                <a16:creationId xmlns:a16="http://schemas.microsoft.com/office/drawing/2014/main" id="{FC037BD0-BC5E-45A0-A9C0-A5EDDEB847F4}"/>
              </a:ext>
            </a:extLst>
          </p:cNvPr>
          <p:cNvSpPr/>
          <p:nvPr/>
        </p:nvSpPr>
        <p:spPr bwMode="auto">
          <a:xfrm>
            <a:off x="7693163" y="423815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A1DA4BC1-E642-4F5E-956F-5C7447480B46}"/>
              </a:ext>
            </a:extLst>
          </p:cNvPr>
          <p:cNvSpPr/>
          <p:nvPr/>
        </p:nvSpPr>
        <p:spPr bwMode="auto">
          <a:xfrm>
            <a:off x="7738586" y="4233271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78" name="Oval 277">
            <a:extLst>
              <a:ext uri="{FF2B5EF4-FFF2-40B4-BE49-F238E27FC236}">
                <a16:creationId xmlns:a16="http://schemas.microsoft.com/office/drawing/2014/main" id="{CA7C6838-9D67-44B8-8807-5933FFFE33FF}"/>
              </a:ext>
            </a:extLst>
          </p:cNvPr>
          <p:cNvSpPr/>
          <p:nvPr/>
        </p:nvSpPr>
        <p:spPr bwMode="auto">
          <a:xfrm>
            <a:off x="7846981" y="4233270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80" name="Oval 279">
            <a:extLst>
              <a:ext uri="{FF2B5EF4-FFF2-40B4-BE49-F238E27FC236}">
                <a16:creationId xmlns:a16="http://schemas.microsoft.com/office/drawing/2014/main" id="{5AB5E194-2C24-494A-903B-74FB80EF92CD}"/>
              </a:ext>
            </a:extLst>
          </p:cNvPr>
          <p:cNvSpPr/>
          <p:nvPr/>
        </p:nvSpPr>
        <p:spPr bwMode="auto">
          <a:xfrm>
            <a:off x="7893522" y="4233269"/>
            <a:ext cx="97765" cy="97765"/>
          </a:xfrm>
          <a:prstGeom prst="ellipse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84" name="Oval 283">
            <a:extLst>
              <a:ext uri="{FF2B5EF4-FFF2-40B4-BE49-F238E27FC236}">
                <a16:creationId xmlns:a16="http://schemas.microsoft.com/office/drawing/2014/main" id="{AFB5A5BB-B9FC-4BE0-AE2E-8E89E046EA02}"/>
              </a:ext>
            </a:extLst>
          </p:cNvPr>
          <p:cNvSpPr/>
          <p:nvPr/>
        </p:nvSpPr>
        <p:spPr bwMode="auto">
          <a:xfrm>
            <a:off x="2966383" y="1975770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86" name="Oval 285">
            <a:extLst>
              <a:ext uri="{FF2B5EF4-FFF2-40B4-BE49-F238E27FC236}">
                <a16:creationId xmlns:a16="http://schemas.microsoft.com/office/drawing/2014/main" id="{43350CE5-8625-407C-B64B-564487DB9104}"/>
              </a:ext>
            </a:extLst>
          </p:cNvPr>
          <p:cNvSpPr/>
          <p:nvPr/>
        </p:nvSpPr>
        <p:spPr bwMode="auto">
          <a:xfrm>
            <a:off x="5832682" y="3760212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88" name="Oval 287">
            <a:extLst>
              <a:ext uri="{FF2B5EF4-FFF2-40B4-BE49-F238E27FC236}">
                <a16:creationId xmlns:a16="http://schemas.microsoft.com/office/drawing/2014/main" id="{54EE0261-D318-4262-886E-6DC9810763DC}"/>
              </a:ext>
            </a:extLst>
          </p:cNvPr>
          <p:cNvSpPr/>
          <p:nvPr/>
        </p:nvSpPr>
        <p:spPr bwMode="auto">
          <a:xfrm>
            <a:off x="7178676" y="435230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5665D2FB-5F65-4AC9-B61E-B48CC254ADCE}"/>
              </a:ext>
            </a:extLst>
          </p:cNvPr>
          <p:cNvSpPr/>
          <p:nvPr/>
        </p:nvSpPr>
        <p:spPr bwMode="auto">
          <a:xfrm>
            <a:off x="7323744" y="435779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2140AE98-0754-490D-996E-C66A3C4C40F7}"/>
              </a:ext>
            </a:extLst>
          </p:cNvPr>
          <p:cNvSpPr/>
          <p:nvPr/>
        </p:nvSpPr>
        <p:spPr bwMode="auto">
          <a:xfrm>
            <a:off x="6200528" y="389376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4" name="Oval 293">
            <a:extLst>
              <a:ext uri="{FF2B5EF4-FFF2-40B4-BE49-F238E27FC236}">
                <a16:creationId xmlns:a16="http://schemas.microsoft.com/office/drawing/2014/main" id="{35AC73B8-2ED2-41CF-A4EE-5EF1A8740EA5}"/>
              </a:ext>
            </a:extLst>
          </p:cNvPr>
          <p:cNvSpPr/>
          <p:nvPr/>
        </p:nvSpPr>
        <p:spPr bwMode="auto">
          <a:xfrm>
            <a:off x="6257445" y="3999283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6" name="Oval 295">
            <a:extLst>
              <a:ext uri="{FF2B5EF4-FFF2-40B4-BE49-F238E27FC236}">
                <a16:creationId xmlns:a16="http://schemas.microsoft.com/office/drawing/2014/main" id="{05429731-B60B-4BE1-8BB5-0DD1EBDF2376}"/>
              </a:ext>
            </a:extLst>
          </p:cNvPr>
          <p:cNvSpPr/>
          <p:nvPr/>
        </p:nvSpPr>
        <p:spPr bwMode="auto">
          <a:xfrm>
            <a:off x="8781492" y="444740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FA01F838-E619-4BCF-B3CB-BCCD3A9281C2}"/>
              </a:ext>
            </a:extLst>
          </p:cNvPr>
          <p:cNvSpPr/>
          <p:nvPr/>
        </p:nvSpPr>
        <p:spPr bwMode="auto">
          <a:xfrm>
            <a:off x="6338358" y="4054543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913D2DFD-BEB6-4171-A440-ADC69219CB94}"/>
              </a:ext>
            </a:extLst>
          </p:cNvPr>
          <p:cNvSpPr/>
          <p:nvPr/>
        </p:nvSpPr>
        <p:spPr bwMode="auto">
          <a:xfrm>
            <a:off x="6553553" y="4160425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E7BB8B8E-220E-43F6-9F17-257D9E1B3390}"/>
              </a:ext>
            </a:extLst>
          </p:cNvPr>
          <p:cNvSpPr/>
          <p:nvPr/>
        </p:nvSpPr>
        <p:spPr bwMode="auto">
          <a:xfrm>
            <a:off x="6743166" y="422269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7F89D3EE-EEA4-497D-AE4A-F1EA86B6980B}"/>
              </a:ext>
            </a:extLst>
          </p:cNvPr>
          <p:cNvSpPr/>
          <p:nvPr/>
        </p:nvSpPr>
        <p:spPr bwMode="auto">
          <a:xfrm>
            <a:off x="6886354" y="427711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88C393E7-8E88-46BE-9D57-A0E552E25879}"/>
              </a:ext>
            </a:extLst>
          </p:cNvPr>
          <p:cNvSpPr/>
          <p:nvPr/>
        </p:nvSpPr>
        <p:spPr bwMode="auto">
          <a:xfrm>
            <a:off x="5895232" y="3797539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FCD6A670-4BC7-45AC-B325-436828E50446}"/>
              </a:ext>
            </a:extLst>
          </p:cNvPr>
          <p:cNvSpPr/>
          <p:nvPr/>
        </p:nvSpPr>
        <p:spPr bwMode="auto">
          <a:xfrm>
            <a:off x="5981195" y="380996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0" name="Oval 309">
            <a:extLst>
              <a:ext uri="{FF2B5EF4-FFF2-40B4-BE49-F238E27FC236}">
                <a16:creationId xmlns:a16="http://schemas.microsoft.com/office/drawing/2014/main" id="{5B1FE211-ED97-4E56-BE0E-4004A28DB959}"/>
              </a:ext>
            </a:extLst>
          </p:cNvPr>
          <p:cNvSpPr/>
          <p:nvPr/>
        </p:nvSpPr>
        <p:spPr bwMode="auto">
          <a:xfrm>
            <a:off x="5999597" y="379600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2" name="Oval 311">
            <a:extLst>
              <a:ext uri="{FF2B5EF4-FFF2-40B4-BE49-F238E27FC236}">
                <a16:creationId xmlns:a16="http://schemas.microsoft.com/office/drawing/2014/main" id="{E74D4F28-9F5A-43CE-9DCC-EE55A50E2144}"/>
              </a:ext>
            </a:extLst>
          </p:cNvPr>
          <p:cNvSpPr/>
          <p:nvPr/>
        </p:nvSpPr>
        <p:spPr bwMode="auto">
          <a:xfrm>
            <a:off x="7712794" y="443868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4" name="Oval 313">
            <a:extLst>
              <a:ext uri="{FF2B5EF4-FFF2-40B4-BE49-F238E27FC236}">
                <a16:creationId xmlns:a16="http://schemas.microsoft.com/office/drawing/2014/main" id="{795456F5-D2BA-409B-9935-CC7C8E596F24}"/>
              </a:ext>
            </a:extLst>
          </p:cNvPr>
          <p:cNvSpPr/>
          <p:nvPr/>
        </p:nvSpPr>
        <p:spPr bwMode="auto">
          <a:xfrm>
            <a:off x="7800160" y="444335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6" name="Oval 315">
            <a:extLst>
              <a:ext uri="{FF2B5EF4-FFF2-40B4-BE49-F238E27FC236}">
                <a16:creationId xmlns:a16="http://schemas.microsoft.com/office/drawing/2014/main" id="{4DE27E1D-58A0-40F0-BE35-448B4D273D0E}"/>
              </a:ext>
            </a:extLst>
          </p:cNvPr>
          <p:cNvSpPr/>
          <p:nvPr/>
        </p:nvSpPr>
        <p:spPr bwMode="auto">
          <a:xfrm>
            <a:off x="8090296" y="4444868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8" name="Oval 317">
            <a:extLst>
              <a:ext uri="{FF2B5EF4-FFF2-40B4-BE49-F238E27FC236}">
                <a16:creationId xmlns:a16="http://schemas.microsoft.com/office/drawing/2014/main" id="{BC6C17A1-16DF-4D2A-985D-954F8A5101DB}"/>
              </a:ext>
            </a:extLst>
          </p:cNvPr>
          <p:cNvSpPr/>
          <p:nvPr/>
        </p:nvSpPr>
        <p:spPr bwMode="auto">
          <a:xfrm>
            <a:off x="7862487" y="4447401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1E6A482A-DE4E-43F7-87B2-5DEE3077527F}"/>
              </a:ext>
            </a:extLst>
          </p:cNvPr>
          <p:cNvSpPr/>
          <p:nvPr/>
        </p:nvSpPr>
        <p:spPr bwMode="auto">
          <a:xfrm>
            <a:off x="8188539" y="4444868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41EFB68C-7845-40D9-8591-EDA5B64C8DD2}"/>
              </a:ext>
            </a:extLst>
          </p:cNvPr>
          <p:cNvSpPr/>
          <p:nvPr/>
        </p:nvSpPr>
        <p:spPr bwMode="auto">
          <a:xfrm>
            <a:off x="8412242" y="444590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C63187A6-E2E7-4A5E-BB82-946E7CC2E616}"/>
              </a:ext>
            </a:extLst>
          </p:cNvPr>
          <p:cNvSpPr/>
          <p:nvPr/>
        </p:nvSpPr>
        <p:spPr bwMode="auto">
          <a:xfrm>
            <a:off x="8448552" y="4443356"/>
            <a:ext cx="97765" cy="97765"/>
          </a:xfrm>
          <a:prstGeom prst="ellipse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1468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F86B0-8AD9-DC47-BAA4-2968CD241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ucaparib</a:t>
            </a:r>
          </a:p>
        </p:txBody>
      </p:sp>
    </p:spTree>
    <p:extLst>
      <p:ext uri="{BB962C8B-B14F-4D97-AF65-F5344CB8AC3E}">
        <p14:creationId xmlns:p14="http://schemas.microsoft.com/office/powerpoint/2010/main" val="24180233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93A4F82A-A55C-8A4B-89A3-4B516971E873}"/>
              </a:ext>
            </a:extLst>
          </p:cNvPr>
          <p:cNvGrpSpPr/>
          <p:nvPr/>
        </p:nvGrpSpPr>
        <p:grpSpPr>
          <a:xfrm>
            <a:off x="2465567" y="1636626"/>
            <a:ext cx="7643628" cy="2244545"/>
            <a:chOff x="2787103" y="1636626"/>
            <a:chExt cx="7643628" cy="224454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987ADF8-382B-C749-8A77-9F8F360CC520}"/>
                </a:ext>
              </a:extLst>
            </p:cNvPr>
            <p:cNvSpPr/>
            <p:nvPr/>
          </p:nvSpPr>
          <p:spPr bwMode="auto">
            <a:xfrm>
              <a:off x="2787103" y="1636626"/>
              <a:ext cx="116359" cy="13051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7A07591-D5F0-8A46-A9B9-07080CE9297D}"/>
                </a:ext>
              </a:extLst>
            </p:cNvPr>
            <p:cNvSpPr/>
            <p:nvPr/>
          </p:nvSpPr>
          <p:spPr bwMode="auto">
            <a:xfrm>
              <a:off x="2943921" y="1636626"/>
              <a:ext cx="116359" cy="13051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C498DDB-7DF9-1747-B1CA-3FB4C2066D97}"/>
                </a:ext>
              </a:extLst>
            </p:cNvPr>
            <p:cNvSpPr/>
            <p:nvPr/>
          </p:nvSpPr>
          <p:spPr bwMode="auto">
            <a:xfrm>
              <a:off x="3100739" y="1636626"/>
              <a:ext cx="116359" cy="13051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206004D-9D76-5A46-BD1B-7FB6292721AE}"/>
                </a:ext>
              </a:extLst>
            </p:cNvPr>
            <p:cNvSpPr/>
            <p:nvPr/>
          </p:nvSpPr>
          <p:spPr bwMode="auto">
            <a:xfrm>
              <a:off x="3257557" y="1636626"/>
              <a:ext cx="116359" cy="13051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F35CD57-574F-B14C-B2F6-3574212CB168}"/>
                </a:ext>
              </a:extLst>
            </p:cNvPr>
            <p:cNvSpPr/>
            <p:nvPr/>
          </p:nvSpPr>
          <p:spPr bwMode="auto">
            <a:xfrm>
              <a:off x="3414375" y="1636626"/>
              <a:ext cx="116359" cy="13051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684C0D08-80F7-7F49-A98B-6B3993E4FE9C}"/>
                </a:ext>
              </a:extLst>
            </p:cNvPr>
            <p:cNvSpPr/>
            <p:nvPr/>
          </p:nvSpPr>
          <p:spPr bwMode="auto">
            <a:xfrm>
              <a:off x="3571193" y="1695327"/>
              <a:ext cx="116359" cy="1246449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DACA667-C3DB-D447-B02F-600FB13488BC}"/>
                </a:ext>
              </a:extLst>
            </p:cNvPr>
            <p:cNvSpPr/>
            <p:nvPr/>
          </p:nvSpPr>
          <p:spPr bwMode="auto">
            <a:xfrm>
              <a:off x="3728011" y="1889125"/>
              <a:ext cx="116359" cy="105265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8CDA4A2D-BE56-A744-A784-873E63A4FE36}"/>
                </a:ext>
              </a:extLst>
            </p:cNvPr>
            <p:cNvSpPr/>
            <p:nvPr/>
          </p:nvSpPr>
          <p:spPr bwMode="auto">
            <a:xfrm>
              <a:off x="3884829" y="1941573"/>
              <a:ext cx="116359" cy="1000203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772F6E71-B616-ED46-85C3-BA602FA09B5E}"/>
                </a:ext>
              </a:extLst>
            </p:cNvPr>
            <p:cNvSpPr/>
            <p:nvPr/>
          </p:nvSpPr>
          <p:spPr bwMode="auto">
            <a:xfrm>
              <a:off x="4041647" y="1981663"/>
              <a:ext cx="116359" cy="960113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41D6A0A9-DD73-1946-B8D6-04C3C5875D46}"/>
                </a:ext>
              </a:extLst>
            </p:cNvPr>
            <p:cNvSpPr/>
            <p:nvPr/>
          </p:nvSpPr>
          <p:spPr bwMode="auto">
            <a:xfrm>
              <a:off x="4198465" y="1988861"/>
              <a:ext cx="116359" cy="95291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01B7D8D-931E-A540-A326-8683E6B184BE}"/>
                </a:ext>
              </a:extLst>
            </p:cNvPr>
            <p:cNvSpPr/>
            <p:nvPr/>
          </p:nvSpPr>
          <p:spPr bwMode="auto">
            <a:xfrm>
              <a:off x="4355283" y="2086555"/>
              <a:ext cx="116359" cy="85522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828E614-7000-404F-93E2-E3C27B69E477}"/>
                </a:ext>
              </a:extLst>
            </p:cNvPr>
            <p:cNvSpPr/>
            <p:nvPr/>
          </p:nvSpPr>
          <p:spPr bwMode="auto">
            <a:xfrm>
              <a:off x="4512101" y="2086556"/>
              <a:ext cx="116359" cy="85522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EE8C812-EF09-754D-8523-8370847FF674}"/>
                </a:ext>
              </a:extLst>
            </p:cNvPr>
            <p:cNvSpPr/>
            <p:nvPr/>
          </p:nvSpPr>
          <p:spPr bwMode="auto">
            <a:xfrm>
              <a:off x="4668919" y="2146301"/>
              <a:ext cx="116359" cy="795476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6B289B2F-7500-3448-B72C-264AEBC3040E}"/>
                </a:ext>
              </a:extLst>
            </p:cNvPr>
            <p:cNvSpPr/>
            <p:nvPr/>
          </p:nvSpPr>
          <p:spPr bwMode="auto">
            <a:xfrm>
              <a:off x="4825737" y="2173684"/>
              <a:ext cx="116359" cy="768092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E5929237-94B4-8349-9406-6FAFF86EA46C}"/>
                </a:ext>
              </a:extLst>
            </p:cNvPr>
            <p:cNvSpPr/>
            <p:nvPr/>
          </p:nvSpPr>
          <p:spPr bwMode="auto">
            <a:xfrm>
              <a:off x="4982555" y="2216515"/>
              <a:ext cx="116359" cy="72526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0696F3F5-22C3-8741-9782-05D27A0EA840}"/>
                </a:ext>
              </a:extLst>
            </p:cNvPr>
            <p:cNvSpPr/>
            <p:nvPr/>
          </p:nvSpPr>
          <p:spPr bwMode="auto">
            <a:xfrm>
              <a:off x="5139373" y="2216515"/>
              <a:ext cx="116359" cy="72526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EADCBCEA-FAC1-BD4F-B6BF-E82E1CF96ADD}"/>
                </a:ext>
              </a:extLst>
            </p:cNvPr>
            <p:cNvSpPr/>
            <p:nvPr/>
          </p:nvSpPr>
          <p:spPr bwMode="auto">
            <a:xfrm>
              <a:off x="5296191" y="2573265"/>
              <a:ext cx="116359" cy="36851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989C5BA-B747-8945-809D-03AC402B89FF}"/>
                </a:ext>
              </a:extLst>
            </p:cNvPr>
            <p:cNvSpPr/>
            <p:nvPr/>
          </p:nvSpPr>
          <p:spPr bwMode="auto">
            <a:xfrm>
              <a:off x="5453009" y="2579763"/>
              <a:ext cx="116359" cy="362013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48BD905A-27E1-5A4D-A8A7-D40E3D7D768E}"/>
                </a:ext>
              </a:extLst>
            </p:cNvPr>
            <p:cNvSpPr/>
            <p:nvPr/>
          </p:nvSpPr>
          <p:spPr bwMode="auto">
            <a:xfrm>
              <a:off x="7178007" y="2885748"/>
              <a:ext cx="116359" cy="56028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5E25F8D-307C-BC44-9FBF-D936F8D972ED}"/>
                </a:ext>
              </a:extLst>
            </p:cNvPr>
            <p:cNvSpPr/>
            <p:nvPr/>
          </p:nvSpPr>
          <p:spPr bwMode="auto">
            <a:xfrm>
              <a:off x="7021189" y="2885748"/>
              <a:ext cx="116359" cy="56028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C88C643-D898-8449-A49C-096D54320CFB}"/>
                </a:ext>
              </a:extLst>
            </p:cNvPr>
            <p:cNvSpPr/>
            <p:nvPr/>
          </p:nvSpPr>
          <p:spPr bwMode="auto">
            <a:xfrm>
              <a:off x="6864371" y="2885748"/>
              <a:ext cx="116359" cy="56028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B88FC285-A778-4A47-B190-18810006FAD2}"/>
                </a:ext>
              </a:extLst>
            </p:cNvPr>
            <p:cNvSpPr/>
            <p:nvPr/>
          </p:nvSpPr>
          <p:spPr bwMode="auto">
            <a:xfrm>
              <a:off x="6707553" y="2863601"/>
              <a:ext cx="116359" cy="7817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4FB34A0-91E2-6445-B6AC-BF0D706ED486}"/>
                </a:ext>
              </a:extLst>
            </p:cNvPr>
            <p:cNvSpPr/>
            <p:nvPr/>
          </p:nvSpPr>
          <p:spPr bwMode="auto">
            <a:xfrm>
              <a:off x="6550735" y="2833797"/>
              <a:ext cx="116359" cy="107979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D6ED4DB6-238D-B841-94D1-11F855312221}"/>
                </a:ext>
              </a:extLst>
            </p:cNvPr>
            <p:cNvSpPr/>
            <p:nvPr/>
          </p:nvSpPr>
          <p:spPr bwMode="auto">
            <a:xfrm>
              <a:off x="6393917" y="2744079"/>
              <a:ext cx="116359" cy="19769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B6CB9DD-307D-DE4F-A41E-D4D252EB68BE}"/>
                </a:ext>
              </a:extLst>
            </p:cNvPr>
            <p:cNvSpPr/>
            <p:nvPr/>
          </p:nvSpPr>
          <p:spPr bwMode="auto">
            <a:xfrm>
              <a:off x="6237099" y="2645361"/>
              <a:ext cx="116359" cy="29641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D7B384E-8A22-DB43-9D8B-273C1D41B020}"/>
                </a:ext>
              </a:extLst>
            </p:cNvPr>
            <p:cNvSpPr/>
            <p:nvPr/>
          </p:nvSpPr>
          <p:spPr bwMode="auto">
            <a:xfrm>
              <a:off x="6080281" y="2600436"/>
              <a:ext cx="116359" cy="34134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E6105CE1-C8E5-2B4E-BD67-A291E2DB78C0}"/>
                </a:ext>
              </a:extLst>
            </p:cNvPr>
            <p:cNvSpPr/>
            <p:nvPr/>
          </p:nvSpPr>
          <p:spPr bwMode="auto">
            <a:xfrm>
              <a:off x="5923463" y="2600436"/>
              <a:ext cx="116359" cy="34134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CE0B8341-55AE-9245-AC5C-CD10B54A5DCB}"/>
                </a:ext>
              </a:extLst>
            </p:cNvPr>
            <p:cNvSpPr/>
            <p:nvPr/>
          </p:nvSpPr>
          <p:spPr bwMode="auto">
            <a:xfrm>
              <a:off x="5766645" y="2582557"/>
              <a:ext cx="116359" cy="359219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A576D5C7-DFB8-6E41-BAB4-F6D69A010A49}"/>
                </a:ext>
              </a:extLst>
            </p:cNvPr>
            <p:cNvSpPr/>
            <p:nvPr/>
          </p:nvSpPr>
          <p:spPr bwMode="auto">
            <a:xfrm>
              <a:off x="5609827" y="2568104"/>
              <a:ext cx="116359" cy="373672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0680C859-E479-7D43-8805-3A3791F216BE}"/>
                </a:ext>
              </a:extLst>
            </p:cNvPr>
            <p:cNvSpPr/>
            <p:nvPr/>
          </p:nvSpPr>
          <p:spPr bwMode="auto">
            <a:xfrm>
              <a:off x="7334825" y="2943848"/>
              <a:ext cx="116359" cy="45719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FA45566-F15F-B443-A417-A82E40D25D4B}"/>
                </a:ext>
              </a:extLst>
            </p:cNvPr>
            <p:cNvSpPr/>
            <p:nvPr/>
          </p:nvSpPr>
          <p:spPr bwMode="auto">
            <a:xfrm>
              <a:off x="7491643" y="2943848"/>
              <a:ext cx="116359" cy="6911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A7EF5399-375A-D446-9438-58075E78FBF1}"/>
                </a:ext>
              </a:extLst>
            </p:cNvPr>
            <p:cNvSpPr/>
            <p:nvPr/>
          </p:nvSpPr>
          <p:spPr bwMode="auto">
            <a:xfrm>
              <a:off x="7648461" y="2943848"/>
              <a:ext cx="116359" cy="6911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94FE1561-3CC5-E64C-BDC4-FBC1C8A75B39}"/>
                </a:ext>
              </a:extLst>
            </p:cNvPr>
            <p:cNvSpPr/>
            <p:nvPr/>
          </p:nvSpPr>
          <p:spPr bwMode="auto">
            <a:xfrm>
              <a:off x="7805279" y="2943848"/>
              <a:ext cx="116359" cy="9114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2D724A7C-55B8-D346-A66F-5418D044C0B9}"/>
                </a:ext>
              </a:extLst>
            </p:cNvPr>
            <p:cNvSpPr/>
            <p:nvPr/>
          </p:nvSpPr>
          <p:spPr bwMode="auto">
            <a:xfrm>
              <a:off x="7962097" y="2943848"/>
              <a:ext cx="116359" cy="9114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7674E99-EE2D-804F-8486-B7A10D239B5E}"/>
                </a:ext>
              </a:extLst>
            </p:cNvPr>
            <p:cNvSpPr/>
            <p:nvPr/>
          </p:nvSpPr>
          <p:spPr bwMode="auto">
            <a:xfrm>
              <a:off x="8118915" y="2943848"/>
              <a:ext cx="116359" cy="113672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80DFC2E9-D504-BB41-9411-7D3185201DF5}"/>
                </a:ext>
              </a:extLst>
            </p:cNvPr>
            <p:cNvSpPr/>
            <p:nvPr/>
          </p:nvSpPr>
          <p:spPr bwMode="auto">
            <a:xfrm>
              <a:off x="8275733" y="2943848"/>
              <a:ext cx="116359" cy="177353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B5AEAA3-E0F2-7241-AD3F-C003C3A81DE2}"/>
                </a:ext>
              </a:extLst>
            </p:cNvPr>
            <p:cNvSpPr/>
            <p:nvPr/>
          </p:nvSpPr>
          <p:spPr bwMode="auto">
            <a:xfrm>
              <a:off x="8432551" y="2943848"/>
              <a:ext cx="116359" cy="207288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14663EEE-1FFD-3E47-AF04-45B3F36F215A}"/>
                </a:ext>
              </a:extLst>
            </p:cNvPr>
            <p:cNvSpPr/>
            <p:nvPr/>
          </p:nvSpPr>
          <p:spPr bwMode="auto">
            <a:xfrm>
              <a:off x="8589369" y="2943848"/>
              <a:ext cx="116359" cy="22696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89D0AA5E-1536-A640-9CA7-E97AFB40B2C1}"/>
                </a:ext>
              </a:extLst>
            </p:cNvPr>
            <p:cNvSpPr/>
            <p:nvPr/>
          </p:nvSpPr>
          <p:spPr bwMode="auto">
            <a:xfrm>
              <a:off x="8746187" y="2943848"/>
              <a:ext cx="116359" cy="22696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DC67395-924B-AF48-983A-3ED5FDE55D43}"/>
                </a:ext>
              </a:extLst>
            </p:cNvPr>
            <p:cNvSpPr/>
            <p:nvPr/>
          </p:nvSpPr>
          <p:spPr bwMode="auto">
            <a:xfrm>
              <a:off x="8903005" y="2943848"/>
              <a:ext cx="116359" cy="24264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D06B07E3-A8D8-D147-97E2-6A1C0E777CDF}"/>
                </a:ext>
              </a:extLst>
            </p:cNvPr>
            <p:cNvSpPr/>
            <p:nvPr/>
          </p:nvSpPr>
          <p:spPr bwMode="auto">
            <a:xfrm>
              <a:off x="9059823" y="2943848"/>
              <a:ext cx="116359" cy="266044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3CF4BBAA-6D7E-BC4A-9AAA-873F7488B095}"/>
                </a:ext>
              </a:extLst>
            </p:cNvPr>
            <p:cNvSpPr/>
            <p:nvPr/>
          </p:nvSpPr>
          <p:spPr bwMode="auto">
            <a:xfrm>
              <a:off x="9216641" y="2943848"/>
              <a:ext cx="116359" cy="32949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BD4A8D3-8B76-BC45-9F1F-CAF260F5339D}"/>
                </a:ext>
              </a:extLst>
            </p:cNvPr>
            <p:cNvSpPr/>
            <p:nvPr/>
          </p:nvSpPr>
          <p:spPr bwMode="auto">
            <a:xfrm>
              <a:off x="9373459" y="2943848"/>
              <a:ext cx="116359" cy="35912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816BE4E-1B8E-8343-A8F1-652DF8F408A2}"/>
                </a:ext>
              </a:extLst>
            </p:cNvPr>
            <p:cNvSpPr/>
            <p:nvPr/>
          </p:nvSpPr>
          <p:spPr bwMode="auto">
            <a:xfrm>
              <a:off x="9530277" y="2943848"/>
              <a:ext cx="116359" cy="485144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B047DDBA-EC7B-214A-BF0E-148B553992E6}"/>
                </a:ext>
              </a:extLst>
            </p:cNvPr>
            <p:cNvSpPr/>
            <p:nvPr/>
          </p:nvSpPr>
          <p:spPr bwMode="auto">
            <a:xfrm>
              <a:off x="9687095" y="2943848"/>
              <a:ext cx="116359" cy="523181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EBA1BB07-A7C5-8441-A8F8-C8EC7F591181}"/>
                </a:ext>
              </a:extLst>
            </p:cNvPr>
            <p:cNvSpPr/>
            <p:nvPr/>
          </p:nvSpPr>
          <p:spPr bwMode="auto">
            <a:xfrm>
              <a:off x="9843913" y="2943848"/>
              <a:ext cx="116359" cy="57185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DF60FD9B-DF97-C746-97A8-0CC2526B0B9C}"/>
                </a:ext>
              </a:extLst>
            </p:cNvPr>
            <p:cNvSpPr/>
            <p:nvPr/>
          </p:nvSpPr>
          <p:spPr bwMode="auto">
            <a:xfrm>
              <a:off x="10000731" y="2943848"/>
              <a:ext cx="116359" cy="611429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FD152C9-8232-3D4C-9067-6DC295AA1FD9}"/>
                </a:ext>
              </a:extLst>
            </p:cNvPr>
            <p:cNvSpPr/>
            <p:nvPr/>
          </p:nvSpPr>
          <p:spPr bwMode="auto">
            <a:xfrm>
              <a:off x="10157549" y="2943848"/>
              <a:ext cx="116359" cy="72526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CF63C25-0001-CC40-AA6F-C8CEAA9DB6ED}"/>
                </a:ext>
              </a:extLst>
            </p:cNvPr>
            <p:cNvSpPr/>
            <p:nvPr/>
          </p:nvSpPr>
          <p:spPr bwMode="auto">
            <a:xfrm>
              <a:off x="10314372" y="2943848"/>
              <a:ext cx="116359" cy="937323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5CD4A1B7-A9A4-4A38-A40C-25E424F3A722}"/>
              </a:ext>
            </a:extLst>
          </p:cNvPr>
          <p:cNvSpPr txBox="1"/>
          <p:nvPr/>
        </p:nvSpPr>
        <p:spPr>
          <a:xfrm>
            <a:off x="4889294" y="6156485"/>
            <a:ext cx="37818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Abida et al CCR 2020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C92790C-804F-4DF6-BEA5-E1F5F450B9FD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70A22B-D321-40D9-9B9E-31469FE454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941D557C-E838-498D-B44F-5A52EE9D8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" name="Text Box 15">
            <a:extLst>
              <a:ext uri="{FF2B5EF4-FFF2-40B4-BE49-F238E27FC236}">
                <a16:creationId xmlns:a16="http://schemas.microsoft.com/office/drawing/2014/main" id="{CD041031-6075-45CF-8ED9-29B295C75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217" y="6361756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da</a:t>
            </a:r>
            <a:r>
              <a:rPr lang="en-US" altLang="en-US" sz="1200" b="0" spc="-10" dirty="0">
                <a:solidFill>
                  <a:srgbClr val="4555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lin Cancer Res. 2020;26:2487.</a:t>
            </a:r>
            <a:endParaRPr kumimoji="0" lang="en-US" altLang="en-US" sz="1200" b="0" i="0" u="none" strike="noStrike" kern="1200" cap="none" spc="-1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73EAF3-C974-4549-83EC-04ED1941F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TON2: PSA Responses Among Patients With </a:t>
            </a:r>
            <a:br>
              <a:rPr lang="en-US" dirty="0"/>
            </a:br>
            <a:r>
              <a:rPr lang="en-US" i="1" dirty="0"/>
              <a:t>ATM</a:t>
            </a:r>
            <a:r>
              <a:rPr lang="en-US" dirty="0"/>
              <a:t> Alteration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F99597-632B-4948-849A-63FFE8391EF1}"/>
              </a:ext>
            </a:extLst>
          </p:cNvPr>
          <p:cNvSpPr/>
          <p:nvPr/>
        </p:nvSpPr>
        <p:spPr bwMode="auto">
          <a:xfrm>
            <a:off x="1447114" y="1553212"/>
            <a:ext cx="304699" cy="275588"/>
          </a:xfrm>
          <a:prstGeom prst="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F954564-9978-A54A-A1BA-FB6C669DA6C6}"/>
              </a:ext>
            </a:extLst>
          </p:cNvPr>
          <p:cNvGraphicFramePr>
            <a:graphicFrameLocks noGrp="1"/>
          </p:cNvGraphicFramePr>
          <p:nvPr/>
        </p:nvGraphicFramePr>
        <p:xfrm>
          <a:off x="1110835" y="4441851"/>
          <a:ext cx="8990979" cy="1828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4027">
                  <a:extLst>
                    <a:ext uri="{9D8B030D-6E8A-4147-A177-3AD203B41FA5}">
                      <a16:colId xmlns:a16="http://schemas.microsoft.com/office/drawing/2014/main" val="219594560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29894698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48741722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7633538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36987127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24141795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29345558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44110044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12515671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013344050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830964085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16614913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99711915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93449703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29432781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79843946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84828270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70117443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19704831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565063920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426238846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717428698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00686788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34826043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730061483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125154025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66204214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97539691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37370283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05046606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020449830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07534941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313954555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52683210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90132490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40476718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67914262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0034483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402306909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70285871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336553405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92045966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152485053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28860878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45095755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04511084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17579796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56009254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41860826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665754596"/>
                    </a:ext>
                  </a:extLst>
                </a:gridCol>
              </a:tblGrid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tient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338519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eatment duration (mo)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758975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iographic response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559379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st change in SLD (%)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728664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M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381655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IP1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000272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K1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43017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EK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840249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NCA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312081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BN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807201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LB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59015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1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99841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1B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427609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4L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957726"/>
                  </a:ext>
                </a:extLst>
              </a:tr>
              <a:tr h="118872">
                <a:tc>
                  <a:txBody>
                    <a:bodyPr/>
                    <a:lstStyle/>
                    <a:p>
                      <a:pPr algn="r"/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CA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92969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6D86BF0-A4FF-7E46-916A-FF91A7D34EE0}"/>
              </a:ext>
            </a:extLst>
          </p:cNvPr>
          <p:cNvSpPr txBox="1"/>
          <p:nvPr/>
        </p:nvSpPr>
        <p:spPr bwMode="auto">
          <a:xfrm rot="16200000">
            <a:off x="366308" y="2823339"/>
            <a:ext cx="27414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Change From Baseline (%)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A29136D-2B85-4F48-8E14-EB7E78BDE099}"/>
              </a:ext>
            </a:extLst>
          </p:cNvPr>
          <p:cNvGrpSpPr/>
          <p:nvPr/>
        </p:nvGrpSpPr>
        <p:grpSpPr>
          <a:xfrm>
            <a:off x="1758487" y="1546538"/>
            <a:ext cx="8539442" cy="2843407"/>
            <a:chOff x="2080023" y="1546538"/>
            <a:chExt cx="8539442" cy="284340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8563016-B891-CB45-A101-0AF6E438A71D}"/>
                </a:ext>
              </a:extLst>
            </p:cNvPr>
            <p:cNvSpPr txBox="1"/>
            <p:nvPr/>
          </p:nvSpPr>
          <p:spPr bwMode="auto">
            <a:xfrm>
              <a:off x="2080023" y="1546538"/>
              <a:ext cx="477968" cy="2843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0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9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8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7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6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5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4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3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1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2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3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4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5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6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7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8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90</a:t>
              </a:r>
            </a:p>
            <a:p>
              <a:pPr algn="r">
                <a:lnSpc>
                  <a:spcPct val="81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05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-100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EC271ED-3916-514F-8E9B-93769029BB95}"/>
                </a:ext>
              </a:extLst>
            </p:cNvPr>
            <p:cNvGrpSpPr/>
            <p:nvPr/>
          </p:nvGrpSpPr>
          <p:grpSpPr>
            <a:xfrm>
              <a:off x="2603036" y="1621891"/>
              <a:ext cx="8016429" cy="2741449"/>
              <a:chOff x="2603036" y="1621891"/>
              <a:chExt cx="8016429" cy="2741449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451E303-F6EF-3A48-A610-3E6A33058B02}"/>
                  </a:ext>
                </a:extLst>
              </p:cNvPr>
              <p:cNvSpPr/>
              <p:nvPr/>
            </p:nvSpPr>
            <p:spPr bwMode="auto">
              <a:xfrm>
                <a:off x="2609711" y="1621891"/>
                <a:ext cx="8003080" cy="2741449"/>
              </a:xfrm>
              <a:prstGeom prst="rect">
                <a:avLst/>
              </a:prstGeom>
              <a:noFill/>
              <a:ln w="222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ED66EC22-F0EB-6741-9718-5BFB9624AA2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09711" y="2945896"/>
                <a:ext cx="8003080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9EEB3A1-AF90-FE4B-A807-22DAED17AD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03036" y="2618848"/>
                <a:ext cx="80030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E95D145-B2E4-7A49-B667-D2F7AA3EAF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16385" y="3593318"/>
                <a:ext cx="80030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A408357C-B5A2-F343-96C7-EC2706688106}"/>
                </a:ext>
              </a:extLst>
            </p:cNvPr>
            <p:cNvGrpSpPr/>
            <p:nvPr/>
          </p:nvGrpSpPr>
          <p:grpSpPr>
            <a:xfrm>
              <a:off x="2533650" y="1654175"/>
              <a:ext cx="64008" cy="2587625"/>
              <a:chOff x="2533650" y="1654175"/>
              <a:chExt cx="64008" cy="2587625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C036431-B89B-724C-A6BE-FF530D3524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1654175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515FDCA-63E2-8D4A-ABA5-C495C6C02DC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1783556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472571C-84C8-6545-B3F3-E610AFE1C7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1912937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A4063CB-C9FF-114E-AA7C-7741D073C9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042318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069CCDB-7380-4A4A-866A-8193AC112F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171699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2C2E67F-48F9-C646-9B6E-AA1CE4D6FE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301080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881AAC3-1869-FB46-BDB2-A8D281D523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430461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592455D-C79A-FE45-9B45-CF56751E3A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689223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72B7D58-4A81-CD48-8FFA-C68124F8BE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818604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BE8937F-09E0-5548-951A-E228DC7911E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947985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8D06CB94-FFB7-FB48-85A7-AE75FEDE91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077366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129D0E6B-1CD1-9D4C-A8AC-C650EE7BC7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206747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D1473A5-DD1F-3448-BE96-54A4FB87E0E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336128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2D07AB9-959C-D049-B32A-A9B5E6B5057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465509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A653BCA8-2622-B344-B534-CA34558241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594890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8A1ADED0-F5D7-9548-AE1B-7ED68E7AD4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724271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53BDB04A-F509-3D45-AFB9-E2ACB7D243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983033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06C9811-6077-5542-9384-53B93ADF87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3853652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D59D9A8A-416B-D747-9E8E-F603462F22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4112414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3DBA09F3-4D0A-274B-91B6-EA1043D151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4241800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99BBA153-3A54-9642-BFCC-9B7D9786B3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533650" y="2559842"/>
                <a:ext cx="6400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CB0E43C-8D1D-3B43-A8C8-159CE2871B64}"/>
              </a:ext>
            </a:extLst>
          </p:cNvPr>
          <p:cNvGrpSpPr/>
          <p:nvPr/>
        </p:nvGrpSpPr>
        <p:grpSpPr>
          <a:xfrm>
            <a:off x="4210226" y="1979078"/>
            <a:ext cx="5883275" cy="2101850"/>
            <a:chOff x="4533900" y="1978025"/>
            <a:chExt cx="5883275" cy="210185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CF0B0E02-D2DA-1843-A6BA-0CDB4C47DDCF}"/>
                </a:ext>
              </a:extLst>
            </p:cNvPr>
            <p:cNvSpPr/>
            <p:nvPr/>
          </p:nvSpPr>
          <p:spPr bwMode="auto">
            <a:xfrm>
              <a:off x="4533900" y="197802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56818A7-0177-374C-AC53-F752E72E58D0}"/>
                </a:ext>
              </a:extLst>
            </p:cNvPr>
            <p:cNvSpPr/>
            <p:nvPr/>
          </p:nvSpPr>
          <p:spPr bwMode="auto">
            <a:xfrm>
              <a:off x="5311775" y="2451100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8A452E17-72ED-8A4C-91A8-C087BEB1511B}"/>
                </a:ext>
              </a:extLst>
            </p:cNvPr>
            <p:cNvSpPr/>
            <p:nvPr/>
          </p:nvSpPr>
          <p:spPr bwMode="auto">
            <a:xfrm>
              <a:off x="5629275" y="245427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624161B-C8EF-6044-82E2-49D49AB4A037}"/>
                </a:ext>
              </a:extLst>
            </p:cNvPr>
            <p:cNvSpPr/>
            <p:nvPr/>
          </p:nvSpPr>
          <p:spPr bwMode="auto">
            <a:xfrm>
              <a:off x="7038975" y="276542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E5DDC176-26AC-F945-9977-2C5D5E949A5F}"/>
                </a:ext>
              </a:extLst>
            </p:cNvPr>
            <p:cNvSpPr/>
            <p:nvPr/>
          </p:nvSpPr>
          <p:spPr bwMode="auto">
            <a:xfrm>
              <a:off x="7515225" y="302577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3141DA82-FE29-2944-BA86-D61C18B16864}"/>
                </a:ext>
              </a:extLst>
            </p:cNvPr>
            <p:cNvSpPr/>
            <p:nvPr/>
          </p:nvSpPr>
          <p:spPr bwMode="auto">
            <a:xfrm>
              <a:off x="7667625" y="3028950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00C14DD-8EDB-2441-9716-DCBC2FA30380}"/>
                </a:ext>
              </a:extLst>
            </p:cNvPr>
            <p:cNvSpPr/>
            <p:nvPr/>
          </p:nvSpPr>
          <p:spPr bwMode="auto">
            <a:xfrm>
              <a:off x="7823200" y="304482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9ADFDEE-8D5B-A243-B4CD-9998106AA762}"/>
                </a:ext>
              </a:extLst>
            </p:cNvPr>
            <p:cNvSpPr/>
            <p:nvPr/>
          </p:nvSpPr>
          <p:spPr bwMode="auto">
            <a:xfrm>
              <a:off x="8143875" y="3082925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4F42A1A8-FC2E-654E-84E7-C47114CB615C}"/>
                </a:ext>
              </a:extLst>
            </p:cNvPr>
            <p:cNvSpPr/>
            <p:nvPr/>
          </p:nvSpPr>
          <p:spPr bwMode="auto">
            <a:xfrm>
              <a:off x="8610600" y="3194050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E94EA587-FBC3-CE43-BA4D-EAEDAA9DF96A}"/>
                </a:ext>
              </a:extLst>
            </p:cNvPr>
            <p:cNvSpPr/>
            <p:nvPr/>
          </p:nvSpPr>
          <p:spPr bwMode="auto">
            <a:xfrm>
              <a:off x="8763000" y="3194050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32645D14-B229-8542-B073-57EB8EC326A5}"/>
                </a:ext>
              </a:extLst>
            </p:cNvPr>
            <p:cNvSpPr/>
            <p:nvPr/>
          </p:nvSpPr>
          <p:spPr bwMode="auto">
            <a:xfrm>
              <a:off x="9236075" y="3295650"/>
              <a:ext cx="85725" cy="85725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DF3CD0D6-1DF1-5541-93AC-EEF6375CB860}"/>
                </a:ext>
              </a:extLst>
            </p:cNvPr>
            <p:cNvGrpSpPr/>
            <p:nvPr/>
          </p:nvGrpSpPr>
          <p:grpSpPr>
            <a:xfrm>
              <a:off x="10172700" y="3685381"/>
              <a:ext cx="85725" cy="175419"/>
              <a:chOff x="10172700" y="3685381"/>
              <a:chExt cx="85725" cy="175419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CC56224A-7D86-A143-AFD3-CAFE26B5D745}"/>
                  </a:ext>
                </a:extLst>
              </p:cNvPr>
              <p:cNvSpPr/>
              <p:nvPr/>
            </p:nvSpPr>
            <p:spPr bwMode="auto">
              <a:xfrm>
                <a:off x="10172700" y="3775075"/>
                <a:ext cx="85725" cy="85725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B5F49CA3-BD6A-F743-8128-9BCBCDF82E0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183558" y="3685381"/>
                <a:ext cx="64008" cy="64008"/>
                <a:chOff x="6961251" y="1360877"/>
                <a:chExt cx="82296" cy="82296"/>
              </a:xfrm>
            </p:grpSpPr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1C22F517-0115-2345-9997-24B72A5DC91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961251" y="1402025"/>
                  <a:ext cx="82296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6B97154E-2439-3148-BF6D-03C4A03D323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6961251" y="1402025"/>
                  <a:ext cx="82296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14D59135-2018-8244-B88B-F0E4BFF0CDA7}"/>
                </a:ext>
              </a:extLst>
            </p:cNvPr>
            <p:cNvGrpSpPr/>
            <p:nvPr/>
          </p:nvGrpSpPr>
          <p:grpSpPr>
            <a:xfrm>
              <a:off x="10331450" y="3904456"/>
              <a:ext cx="85725" cy="175419"/>
              <a:chOff x="10172700" y="3685381"/>
              <a:chExt cx="85725" cy="175419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A9E708D4-C730-9746-81D4-1CF35594679C}"/>
                  </a:ext>
                </a:extLst>
              </p:cNvPr>
              <p:cNvSpPr/>
              <p:nvPr/>
            </p:nvSpPr>
            <p:spPr bwMode="auto">
              <a:xfrm>
                <a:off x="10172700" y="3775075"/>
                <a:ext cx="85725" cy="85725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4B31392E-1D9F-C345-BF70-0BF66A03EDE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183558" y="3685381"/>
                <a:ext cx="64008" cy="64008"/>
                <a:chOff x="6961251" y="1360877"/>
                <a:chExt cx="82296" cy="82296"/>
              </a:xfrm>
            </p:grpSpPr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4D0BF31C-1B0D-4A44-92AC-0D7DEC4EB8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961251" y="1402025"/>
                  <a:ext cx="82296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358687A1-8503-0E41-9547-012923DDC64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6961251" y="1402025"/>
                  <a:ext cx="82296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71C264E-F3FB-D349-A90D-D81CFB9546A5}"/>
              </a:ext>
            </a:extLst>
          </p:cNvPr>
          <p:cNvGrpSpPr/>
          <p:nvPr/>
        </p:nvGrpSpPr>
        <p:grpSpPr>
          <a:xfrm>
            <a:off x="7674741" y="1711085"/>
            <a:ext cx="2520310" cy="584775"/>
            <a:chOff x="7996277" y="1711085"/>
            <a:chExt cx="2520310" cy="58477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550AE07-74E1-0F44-9EA1-002A88F5145D}"/>
                </a:ext>
              </a:extLst>
            </p:cNvPr>
            <p:cNvSpPr txBox="1"/>
            <p:nvPr/>
          </p:nvSpPr>
          <p:spPr bwMode="auto">
            <a:xfrm>
              <a:off x="8136864" y="1711085"/>
              <a:ext cx="237972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= Confirmed PSA response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= Ongoing</a:t>
              </a: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6D4D8AA6-B3CC-EE41-B4D3-15D65B68D82C}"/>
                </a:ext>
              </a:extLst>
            </p:cNvPr>
            <p:cNvSpPr/>
            <p:nvPr/>
          </p:nvSpPr>
          <p:spPr bwMode="auto">
            <a:xfrm>
              <a:off x="7996277" y="2045437"/>
              <a:ext cx="164357" cy="164357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61B30F4-BD45-0A47-B698-9DCD255C32A0}"/>
                </a:ext>
              </a:extLst>
            </p:cNvPr>
            <p:cNvGrpSpPr/>
            <p:nvPr/>
          </p:nvGrpSpPr>
          <p:grpSpPr>
            <a:xfrm>
              <a:off x="8013835" y="1808252"/>
              <a:ext cx="137160" cy="137160"/>
              <a:chOff x="7524490" y="1200877"/>
              <a:chExt cx="173411" cy="173411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D479ADB-4FB1-3A4F-82FE-CBC7F7D3D3F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611196" y="1200877"/>
                <a:ext cx="0" cy="173411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FDF6504C-257D-884B-8518-B29CD4A338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16200000">
                <a:off x="7611196" y="1200877"/>
                <a:ext cx="0" cy="173411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6E90F591-B836-42D7-931F-5E372F466E20}"/>
              </a:ext>
            </a:extLst>
          </p:cNvPr>
          <p:cNvGrpSpPr/>
          <p:nvPr/>
        </p:nvGrpSpPr>
        <p:grpSpPr>
          <a:xfrm>
            <a:off x="10294702" y="2132285"/>
            <a:ext cx="1883053" cy="2108269"/>
            <a:chOff x="10185374" y="2527439"/>
            <a:chExt cx="1883053" cy="2108269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4B8A2919-4941-49D6-8BE4-BFABFE467D27}"/>
                </a:ext>
              </a:extLst>
            </p:cNvPr>
            <p:cNvSpPr txBox="1"/>
            <p:nvPr/>
          </p:nvSpPr>
          <p:spPr bwMode="auto">
            <a:xfrm>
              <a:off x="10185374" y="2527439"/>
              <a:ext cx="1883053" cy="2108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Measurable disease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endParaRPr lang="en-US" sz="1400" b="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Germline status: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Germline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Somat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Unknown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endParaRPr lang="en-US" sz="1400" b="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Zygosity: 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B, biallel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M, monoallel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U, unknown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E9C738EE-8E32-4168-9552-DDD65014A160}"/>
                </a:ext>
              </a:extLst>
            </p:cNvPr>
            <p:cNvSpPr/>
            <p:nvPr/>
          </p:nvSpPr>
          <p:spPr bwMode="auto">
            <a:xfrm>
              <a:off x="10278286" y="2585802"/>
              <a:ext cx="147442" cy="14744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AED6C391-719E-4FB7-8641-A1986FB235CD}"/>
                </a:ext>
              </a:extLst>
            </p:cNvPr>
            <p:cNvSpPr/>
            <p:nvPr/>
          </p:nvSpPr>
          <p:spPr bwMode="auto">
            <a:xfrm>
              <a:off x="10278286" y="3119752"/>
              <a:ext cx="147442" cy="14744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93F52126-A35C-4FC8-ACD1-D0BDC3D87A5F}"/>
                </a:ext>
              </a:extLst>
            </p:cNvPr>
            <p:cNvSpPr/>
            <p:nvPr/>
          </p:nvSpPr>
          <p:spPr bwMode="auto">
            <a:xfrm>
              <a:off x="10278286" y="3309973"/>
              <a:ext cx="147442" cy="14744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59061B84-1897-4587-9374-FF89433C2BAC}"/>
                </a:ext>
              </a:extLst>
            </p:cNvPr>
            <p:cNvSpPr/>
            <p:nvPr/>
          </p:nvSpPr>
          <p:spPr bwMode="auto">
            <a:xfrm>
              <a:off x="10278286" y="3500194"/>
              <a:ext cx="147442" cy="147442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990071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le 76">
            <a:extLst>
              <a:ext uri="{FF2B5EF4-FFF2-40B4-BE49-F238E27FC236}">
                <a16:creationId xmlns:a16="http://schemas.microsoft.com/office/drawing/2014/main" id="{EF73DAB7-B20A-1D4F-BCD7-6FCBA24EC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RITON2: </a:t>
            </a:r>
            <a:r>
              <a:rPr lang="en-US" dirty="0">
                <a:cs typeface="Calibri" panose="020F0502020204030204" pitchFamily="34" charset="0"/>
              </a:rPr>
              <a:t>Tumor Respons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 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BRCA1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BRCA2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Cohort by Independent Revi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EC51C1-3F0A-472E-9A51-77183F72C399}"/>
              </a:ext>
            </a:extLst>
          </p:cNvPr>
          <p:cNvSpPr txBox="1"/>
          <p:nvPr/>
        </p:nvSpPr>
        <p:spPr bwMode="auto">
          <a:xfrm>
            <a:off x="2234927" y="5547825"/>
            <a:ext cx="4558940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mline/somatic status         Germline	Somat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E1B61A-5DDD-46BF-867E-3E7CAE616717}"/>
              </a:ext>
            </a:extLst>
          </p:cNvPr>
          <p:cNvSpPr/>
          <p:nvPr/>
        </p:nvSpPr>
        <p:spPr bwMode="auto">
          <a:xfrm>
            <a:off x="4567902" y="5644770"/>
            <a:ext cx="134754" cy="13475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C6D7D45-AE14-4529-ABF9-400DD1627936}"/>
              </a:ext>
            </a:extLst>
          </p:cNvPr>
          <p:cNvSpPr/>
          <p:nvPr/>
        </p:nvSpPr>
        <p:spPr bwMode="auto">
          <a:xfrm>
            <a:off x="5800194" y="5644770"/>
            <a:ext cx="134754" cy="13475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8235DC0-4533-4AF6-8050-214F6A63E3F9}"/>
              </a:ext>
            </a:extLst>
          </p:cNvPr>
          <p:cNvGrpSpPr>
            <a:grpSpLocks/>
          </p:cNvGrpSpPr>
          <p:nvPr/>
        </p:nvGrpSpPr>
        <p:grpSpPr bwMode="auto">
          <a:xfrm>
            <a:off x="9389205" y="6215925"/>
            <a:ext cx="2486964" cy="447558"/>
            <a:chOff x="9527309" y="3551529"/>
            <a:chExt cx="2488502" cy="44832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A92FD58-E49D-464D-B64A-1C9C947656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6B5B068D-DB78-4423-B708-F7420CCE8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Wingdings" panose="05000000000000000000" pitchFamily="2" charset="2"/>
                <a:buChar char="§"/>
                <a:defRPr sz="2800">
                  <a:solidFill>
                    <a:schemeClr val="bg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600">
                  <a:solidFill>
                    <a:schemeClr val="bg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400">
                  <a:solidFill>
                    <a:schemeClr val="bg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200">
                  <a:solidFill>
                    <a:schemeClr val="bg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6094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charset="0"/>
                  <a:cs typeface="Calibri" panose="020F050202020403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 charset="0"/>
                  <a:cs typeface="Calibri" panose="020F050202020403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4F3AE07-8ACF-4493-8096-7DFB860B2F40}"/>
              </a:ext>
            </a:extLst>
          </p:cNvPr>
          <p:cNvSpPr txBox="1"/>
          <p:nvPr/>
        </p:nvSpPr>
        <p:spPr bwMode="auto">
          <a:xfrm>
            <a:off x="7176421" y="1639843"/>
            <a:ext cx="3312573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= Confirmed radiographic response</a:t>
            </a:r>
            <a:b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 = Ongo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10698F-F830-4D46-B924-0A3F10AB7B5C}"/>
              </a:ext>
            </a:extLst>
          </p:cNvPr>
          <p:cNvSpPr txBox="1"/>
          <p:nvPr/>
        </p:nvSpPr>
        <p:spPr bwMode="auto">
          <a:xfrm>
            <a:off x="1444131" y="5776204"/>
            <a:ext cx="847658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CA1</a:t>
            </a:r>
            <a:b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CA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FBFCAC-CBDC-4363-A281-A47E04C0712B}"/>
              </a:ext>
            </a:extLst>
          </p:cNvPr>
          <p:cNvSpPr txBox="1"/>
          <p:nvPr/>
        </p:nvSpPr>
        <p:spPr bwMode="auto">
          <a:xfrm rot="16200000">
            <a:off x="-398918" y="3343542"/>
            <a:ext cx="37767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ge From Baseline (%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7E3A961-4B02-46A0-974A-9956465A8A4E}"/>
              </a:ext>
            </a:extLst>
          </p:cNvPr>
          <p:cNvCxnSpPr/>
          <p:nvPr/>
        </p:nvCxnSpPr>
        <p:spPr bwMode="auto">
          <a:xfrm flipV="1">
            <a:off x="2225596" y="1639843"/>
            <a:ext cx="0" cy="377673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86BE1C-A7FA-4413-A847-34ABA652B345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1649174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196C20C-A418-4AEA-B795-041A132C3005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2023643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D52E92-5AFE-474A-9033-B1C54547AED0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2398112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37BCC1D-D07B-457B-9915-E3FFFB4A5F6D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2772581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5DFB323-E223-430B-9BAD-EE64EF4F4281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3147050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F5B92CC-0659-4165-B9B3-645663304FFD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3521519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215B17-D619-43E0-B9D4-AA96A0245B09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3895988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FDB33A9-209B-4B47-912C-55605629B245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4270457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E77B902-5C22-4440-AEF0-10151AEF273F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4644926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28233D5-06D1-44DC-A876-F67732C04053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5019395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707B8A-2E17-443A-8569-A9F460E43581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5372" y="5393860"/>
            <a:ext cx="6400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CCE7BF5-4871-4196-A458-D0C3353C95D6}"/>
              </a:ext>
            </a:extLst>
          </p:cNvPr>
          <p:cNvSpPr txBox="1"/>
          <p:nvPr/>
        </p:nvSpPr>
        <p:spPr bwMode="auto">
          <a:xfrm>
            <a:off x="1635647" y="1485365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EAD069-8C9D-44F5-B67C-4F155D0E2EA9}"/>
              </a:ext>
            </a:extLst>
          </p:cNvPr>
          <p:cNvSpPr txBox="1"/>
          <p:nvPr/>
        </p:nvSpPr>
        <p:spPr bwMode="auto">
          <a:xfrm>
            <a:off x="1635647" y="1858958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15FBED-4304-4BDF-BFEE-590D8E851C5F}"/>
              </a:ext>
            </a:extLst>
          </p:cNvPr>
          <p:cNvSpPr txBox="1"/>
          <p:nvPr/>
        </p:nvSpPr>
        <p:spPr bwMode="auto">
          <a:xfrm>
            <a:off x="1635647" y="2232551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43706BB-CC36-4D05-B155-1353CCACE266}"/>
              </a:ext>
            </a:extLst>
          </p:cNvPr>
          <p:cNvSpPr txBox="1"/>
          <p:nvPr/>
        </p:nvSpPr>
        <p:spPr bwMode="auto">
          <a:xfrm>
            <a:off x="1635647" y="2606144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2FF8C6-72A6-403C-AFBA-BEC629AB8851}"/>
              </a:ext>
            </a:extLst>
          </p:cNvPr>
          <p:cNvSpPr txBox="1"/>
          <p:nvPr/>
        </p:nvSpPr>
        <p:spPr bwMode="auto">
          <a:xfrm>
            <a:off x="1635647" y="2979737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47992BD-EE8A-4144-AFCC-21931956A8A0}"/>
              </a:ext>
            </a:extLst>
          </p:cNvPr>
          <p:cNvSpPr txBox="1"/>
          <p:nvPr/>
        </p:nvSpPr>
        <p:spPr bwMode="auto">
          <a:xfrm>
            <a:off x="1635647" y="3353330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AC08633-7453-4DB6-81A9-87ED794AEFB9}"/>
              </a:ext>
            </a:extLst>
          </p:cNvPr>
          <p:cNvSpPr txBox="1"/>
          <p:nvPr/>
        </p:nvSpPr>
        <p:spPr bwMode="auto">
          <a:xfrm>
            <a:off x="1635647" y="3726923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2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43FFD-D02F-4DD6-AEDD-5287772F61F1}"/>
              </a:ext>
            </a:extLst>
          </p:cNvPr>
          <p:cNvSpPr txBox="1"/>
          <p:nvPr/>
        </p:nvSpPr>
        <p:spPr bwMode="auto">
          <a:xfrm>
            <a:off x="1635647" y="4100516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4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B071AC4-569E-4AB9-940C-CBC191BBE6F3}"/>
              </a:ext>
            </a:extLst>
          </p:cNvPr>
          <p:cNvSpPr txBox="1"/>
          <p:nvPr/>
        </p:nvSpPr>
        <p:spPr bwMode="auto">
          <a:xfrm>
            <a:off x="1635647" y="4474109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6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69C52E0-148C-429D-9C17-D2F20321685C}"/>
              </a:ext>
            </a:extLst>
          </p:cNvPr>
          <p:cNvSpPr txBox="1"/>
          <p:nvPr/>
        </p:nvSpPr>
        <p:spPr bwMode="auto">
          <a:xfrm>
            <a:off x="1635647" y="4847702"/>
            <a:ext cx="5691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8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E19A920-477B-4214-ADAB-AC08C0B1214D}"/>
              </a:ext>
            </a:extLst>
          </p:cNvPr>
          <p:cNvSpPr txBox="1"/>
          <p:nvPr/>
        </p:nvSpPr>
        <p:spPr bwMode="auto">
          <a:xfrm>
            <a:off x="1442839" y="5221299"/>
            <a:ext cx="762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100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6F22D01-EBC1-46C7-9B39-3083E92B75CB}"/>
              </a:ext>
            </a:extLst>
          </p:cNvPr>
          <p:cNvSpPr txBox="1"/>
          <p:nvPr/>
        </p:nvSpPr>
        <p:spPr bwMode="auto">
          <a:xfrm>
            <a:off x="9944372" y="5396634"/>
            <a:ext cx="3993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AB574C5-C129-4467-ACC1-0FCD599F1E3F}"/>
              </a:ext>
            </a:extLst>
          </p:cNvPr>
          <p:cNvSpPr txBox="1"/>
          <p:nvPr/>
        </p:nvSpPr>
        <p:spPr bwMode="auto">
          <a:xfrm>
            <a:off x="9940403" y="5284769"/>
            <a:ext cx="3993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3A17AD8-32B9-4898-A224-84B816AE7C15}"/>
              </a:ext>
            </a:extLst>
          </p:cNvPr>
          <p:cNvSpPr txBox="1"/>
          <p:nvPr/>
        </p:nvSpPr>
        <p:spPr bwMode="auto">
          <a:xfrm>
            <a:off x="9819108" y="4988238"/>
            <a:ext cx="3993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E9C0078C-7A8C-4483-B3B6-D02768094160}"/>
              </a:ext>
            </a:extLst>
          </p:cNvPr>
          <p:cNvGrpSpPr/>
          <p:nvPr/>
        </p:nvGrpSpPr>
        <p:grpSpPr>
          <a:xfrm>
            <a:off x="3360848" y="3502614"/>
            <a:ext cx="7248233" cy="2264629"/>
            <a:chOff x="3360848" y="3591102"/>
            <a:chExt cx="7248233" cy="2264629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8FC394B-BC86-409E-B26F-851FA2530752}"/>
                </a:ext>
              </a:extLst>
            </p:cNvPr>
            <p:cNvSpPr txBox="1"/>
            <p:nvPr/>
          </p:nvSpPr>
          <p:spPr bwMode="auto">
            <a:xfrm>
              <a:off x="3360848" y="359110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8B5819E-F8A5-48ED-A2CC-4519AD1BAF6C}"/>
                </a:ext>
              </a:extLst>
            </p:cNvPr>
            <p:cNvSpPr txBox="1"/>
            <p:nvPr/>
          </p:nvSpPr>
          <p:spPr bwMode="auto">
            <a:xfrm>
              <a:off x="6733629" y="451823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6950CD6-2BD8-47F2-9128-3E836688E748}"/>
                </a:ext>
              </a:extLst>
            </p:cNvPr>
            <p:cNvSpPr txBox="1"/>
            <p:nvPr/>
          </p:nvSpPr>
          <p:spPr bwMode="auto">
            <a:xfrm>
              <a:off x="6324600" y="442904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9974A36-E771-4001-BD4C-04132D79C5C6}"/>
                </a:ext>
              </a:extLst>
            </p:cNvPr>
            <p:cNvSpPr txBox="1"/>
            <p:nvPr/>
          </p:nvSpPr>
          <p:spPr bwMode="auto">
            <a:xfrm>
              <a:off x="6178641" y="4365446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D7DD628-0024-4C8C-85A5-4C15C907E974}"/>
                </a:ext>
              </a:extLst>
            </p:cNvPr>
            <p:cNvSpPr txBox="1"/>
            <p:nvPr/>
          </p:nvSpPr>
          <p:spPr bwMode="auto">
            <a:xfrm>
              <a:off x="4178960" y="3829528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22F499E-D31F-4BAB-9C9E-5FD4B4E3839F}"/>
                </a:ext>
              </a:extLst>
            </p:cNvPr>
            <p:cNvSpPr txBox="1"/>
            <p:nvPr/>
          </p:nvSpPr>
          <p:spPr bwMode="auto">
            <a:xfrm>
              <a:off x="4322353" y="389445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6238DC0-8419-4105-AD5A-75DB7AAC1AC3}"/>
                </a:ext>
              </a:extLst>
            </p:cNvPr>
            <p:cNvSpPr txBox="1"/>
            <p:nvPr/>
          </p:nvSpPr>
          <p:spPr bwMode="auto">
            <a:xfrm>
              <a:off x="5378230" y="415191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B9FE429-B180-4BB2-AD92-140F97ADFE51}"/>
                </a:ext>
              </a:extLst>
            </p:cNvPr>
            <p:cNvSpPr txBox="1"/>
            <p:nvPr/>
          </p:nvSpPr>
          <p:spPr bwMode="auto">
            <a:xfrm>
              <a:off x="8602558" y="490649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01AF05-82CA-4ED3-BB99-4B22A57551DD}"/>
                </a:ext>
              </a:extLst>
            </p:cNvPr>
            <p:cNvSpPr txBox="1"/>
            <p:nvPr/>
          </p:nvSpPr>
          <p:spPr bwMode="auto">
            <a:xfrm>
              <a:off x="8196707" y="486060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B765DC5-7F05-4013-A056-432FC802E5F4}"/>
                </a:ext>
              </a:extLst>
            </p:cNvPr>
            <p:cNvSpPr txBox="1"/>
            <p:nvPr/>
          </p:nvSpPr>
          <p:spPr bwMode="auto">
            <a:xfrm>
              <a:off x="8066910" y="486060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76BE74A-FA33-47E2-88B0-EE85C5619062}"/>
                </a:ext>
              </a:extLst>
            </p:cNvPr>
            <p:cNvSpPr txBox="1"/>
            <p:nvPr/>
          </p:nvSpPr>
          <p:spPr bwMode="auto">
            <a:xfrm>
              <a:off x="7256462" y="460142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AC02784-6B01-4068-8628-CE1FB7DDCEE8}"/>
                </a:ext>
              </a:extLst>
            </p:cNvPr>
            <p:cNvSpPr txBox="1"/>
            <p:nvPr/>
          </p:nvSpPr>
          <p:spPr bwMode="auto">
            <a:xfrm>
              <a:off x="8875755" y="4936190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D41AD99-B105-4DC5-843F-3BC3D21F69ED}"/>
                </a:ext>
              </a:extLst>
            </p:cNvPr>
            <p:cNvSpPr txBox="1"/>
            <p:nvPr/>
          </p:nvSpPr>
          <p:spPr bwMode="auto">
            <a:xfrm>
              <a:off x="9001942" y="494276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D759C1E-6E0E-436C-BDD9-8B82B5E04A80}"/>
                </a:ext>
              </a:extLst>
            </p:cNvPr>
            <p:cNvSpPr txBox="1"/>
            <p:nvPr/>
          </p:nvSpPr>
          <p:spPr bwMode="auto">
            <a:xfrm>
              <a:off x="9259487" y="5007967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1F186BE9-A778-4DB8-A484-F424D0BD90EC}"/>
                </a:ext>
              </a:extLst>
            </p:cNvPr>
            <p:cNvSpPr txBox="1"/>
            <p:nvPr/>
          </p:nvSpPr>
          <p:spPr bwMode="auto">
            <a:xfrm>
              <a:off x="10085676" y="5486399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3A3BC67-78C3-4CA0-91CD-23004B34F336}"/>
                </a:ext>
              </a:extLst>
            </p:cNvPr>
            <p:cNvSpPr txBox="1"/>
            <p:nvPr/>
          </p:nvSpPr>
          <p:spPr bwMode="auto">
            <a:xfrm>
              <a:off x="5786750" y="4235701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1EE293B-B086-4A7D-8DD4-182BFE0B7D92}"/>
                </a:ext>
              </a:extLst>
            </p:cNvPr>
            <p:cNvSpPr txBox="1"/>
            <p:nvPr/>
          </p:nvSpPr>
          <p:spPr bwMode="auto">
            <a:xfrm>
              <a:off x="6192768" y="425806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60A3634-6D70-4D20-89FE-109D7E7E0433}"/>
                </a:ext>
              </a:extLst>
            </p:cNvPr>
            <p:cNvSpPr txBox="1"/>
            <p:nvPr/>
          </p:nvSpPr>
          <p:spPr bwMode="auto">
            <a:xfrm>
              <a:off x="6054331" y="425113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2660727-2B49-45C1-9C6D-CD160C508481}"/>
                </a:ext>
              </a:extLst>
            </p:cNvPr>
            <p:cNvSpPr txBox="1"/>
            <p:nvPr/>
          </p:nvSpPr>
          <p:spPr bwMode="auto">
            <a:xfrm>
              <a:off x="10080810" y="5382588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BB38FB3-F76B-4914-8B14-76BB70FB903B}"/>
                </a:ext>
              </a:extLst>
            </p:cNvPr>
            <p:cNvSpPr txBox="1"/>
            <p:nvPr/>
          </p:nvSpPr>
          <p:spPr bwMode="auto">
            <a:xfrm>
              <a:off x="10209697" y="5382150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D2D0A62-840C-40A8-B39D-4EEF1824AF3C}"/>
                </a:ext>
              </a:extLst>
            </p:cNvPr>
            <p:cNvSpPr txBox="1"/>
            <p:nvPr/>
          </p:nvSpPr>
          <p:spPr bwMode="auto">
            <a:xfrm>
              <a:off x="6326273" y="4297321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5BDFA11-94FA-4AD0-89DA-9A2F49372230}"/>
                </a:ext>
              </a:extLst>
            </p:cNvPr>
            <p:cNvSpPr txBox="1"/>
            <p:nvPr/>
          </p:nvSpPr>
          <p:spPr bwMode="auto">
            <a:xfrm>
              <a:off x="6459777" y="4336579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70544144-8EC9-4A1B-897F-F3C150F5ADE4}"/>
                </a:ext>
              </a:extLst>
            </p:cNvPr>
            <p:cNvSpPr txBox="1"/>
            <p:nvPr/>
          </p:nvSpPr>
          <p:spPr bwMode="auto">
            <a:xfrm>
              <a:off x="9546600" y="495110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C7A6158-641F-40DD-B02D-E75D2215F48B}"/>
                </a:ext>
              </a:extLst>
            </p:cNvPr>
            <p:cNvSpPr txBox="1"/>
            <p:nvPr/>
          </p:nvSpPr>
          <p:spPr bwMode="auto">
            <a:xfrm>
              <a:off x="9678701" y="5051671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F8FDE41-C1E7-4040-8534-E197CAF47C2C}"/>
                </a:ext>
              </a:extLst>
            </p:cNvPr>
            <p:cNvSpPr txBox="1"/>
            <p:nvPr/>
          </p:nvSpPr>
          <p:spPr bwMode="auto">
            <a:xfrm>
              <a:off x="6589336" y="4380884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4EE9E26-9088-4435-BC66-B0806D1AEC8E}"/>
                </a:ext>
              </a:extLst>
            </p:cNvPr>
            <p:cNvSpPr txBox="1"/>
            <p:nvPr/>
          </p:nvSpPr>
          <p:spPr bwMode="auto">
            <a:xfrm>
              <a:off x="6732614" y="4397830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C6C1E98-DEE4-4FDF-ABEC-0EA75D1A08A7}"/>
                </a:ext>
              </a:extLst>
            </p:cNvPr>
            <p:cNvSpPr txBox="1"/>
            <p:nvPr/>
          </p:nvSpPr>
          <p:spPr bwMode="auto">
            <a:xfrm>
              <a:off x="6865001" y="4435801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5CF05262-DE5B-405B-B8E5-86D853BC90C2}"/>
                </a:ext>
              </a:extLst>
            </p:cNvPr>
            <p:cNvSpPr txBox="1"/>
            <p:nvPr/>
          </p:nvSpPr>
          <p:spPr bwMode="auto">
            <a:xfrm>
              <a:off x="7120092" y="447819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2BAD5D6-C926-4838-BD58-88D0584E9895}"/>
                </a:ext>
              </a:extLst>
            </p:cNvPr>
            <p:cNvSpPr txBox="1"/>
            <p:nvPr/>
          </p:nvSpPr>
          <p:spPr bwMode="auto">
            <a:xfrm>
              <a:off x="7263215" y="449741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A2D6279-FDDF-4DA3-A01C-280F7EABDD71}"/>
                </a:ext>
              </a:extLst>
            </p:cNvPr>
            <p:cNvSpPr txBox="1"/>
            <p:nvPr/>
          </p:nvSpPr>
          <p:spPr bwMode="auto">
            <a:xfrm>
              <a:off x="7667526" y="4642056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6C964F3-4E14-4B45-8290-7579082565FB}"/>
                </a:ext>
              </a:extLst>
            </p:cNvPr>
            <p:cNvSpPr txBox="1"/>
            <p:nvPr/>
          </p:nvSpPr>
          <p:spPr bwMode="auto">
            <a:xfrm>
              <a:off x="7399814" y="462064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D3A8F7F-1B4A-4941-9BA5-799D7B9AE162}"/>
                </a:ext>
              </a:extLst>
            </p:cNvPr>
            <p:cNvSpPr txBox="1"/>
            <p:nvPr/>
          </p:nvSpPr>
          <p:spPr bwMode="auto">
            <a:xfrm>
              <a:off x="7532397" y="464290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3ABFB71-355E-4107-AB79-E89829DC4544}"/>
                </a:ext>
              </a:extLst>
            </p:cNvPr>
            <p:cNvSpPr txBox="1"/>
            <p:nvPr/>
          </p:nvSpPr>
          <p:spPr bwMode="auto">
            <a:xfrm>
              <a:off x="8065701" y="4749063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93BC0FD9-9572-4C4D-B074-D3A0519EE128}"/>
                </a:ext>
              </a:extLst>
            </p:cNvPr>
            <p:cNvSpPr txBox="1"/>
            <p:nvPr/>
          </p:nvSpPr>
          <p:spPr bwMode="auto">
            <a:xfrm>
              <a:off x="8199941" y="4743739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FD5221CD-1E90-4A18-84F4-FB7188957509}"/>
                </a:ext>
              </a:extLst>
            </p:cNvPr>
            <p:cNvSpPr txBox="1"/>
            <p:nvPr/>
          </p:nvSpPr>
          <p:spPr bwMode="auto">
            <a:xfrm>
              <a:off x="8338898" y="478256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90CE7F08-4CAF-43FC-869F-913D2F1E4B8C}"/>
                </a:ext>
              </a:extLst>
            </p:cNvPr>
            <p:cNvSpPr txBox="1"/>
            <p:nvPr/>
          </p:nvSpPr>
          <p:spPr bwMode="auto">
            <a:xfrm>
              <a:off x="8605791" y="4804420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4A725580-22DA-4F86-B0C9-117F7DE475F5}"/>
                </a:ext>
              </a:extLst>
            </p:cNvPr>
            <p:cNvSpPr txBox="1"/>
            <p:nvPr/>
          </p:nvSpPr>
          <p:spPr bwMode="auto">
            <a:xfrm>
              <a:off x="8877239" y="4831222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2ECB6A94-688D-442A-8291-D63E3642337F}"/>
                </a:ext>
              </a:extLst>
            </p:cNvPr>
            <p:cNvSpPr txBox="1"/>
            <p:nvPr/>
          </p:nvSpPr>
          <p:spPr bwMode="auto">
            <a:xfrm>
              <a:off x="9006659" y="4834508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FA17C3D9-575E-48CA-BC56-F6178B5C127B}"/>
                </a:ext>
              </a:extLst>
            </p:cNvPr>
            <p:cNvSpPr txBox="1"/>
            <p:nvPr/>
          </p:nvSpPr>
          <p:spPr bwMode="auto">
            <a:xfrm>
              <a:off x="9144717" y="4858589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51904B0C-F181-4850-A6D8-8AE6F6B42F6B}"/>
                </a:ext>
              </a:extLst>
            </p:cNvPr>
            <p:cNvSpPr txBox="1"/>
            <p:nvPr/>
          </p:nvSpPr>
          <p:spPr bwMode="auto">
            <a:xfrm>
              <a:off x="9283442" y="4906495"/>
              <a:ext cx="3993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800" b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F8776C2-CE1E-4119-AAAE-E29468CCBBD6}"/>
              </a:ext>
            </a:extLst>
          </p:cNvPr>
          <p:cNvSpPr/>
          <p:nvPr/>
        </p:nvSpPr>
        <p:spPr bwMode="auto">
          <a:xfrm>
            <a:off x="2294099" y="2796646"/>
            <a:ext cx="118872" cy="732172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9C736DE5-BA30-48AC-9061-8198A35DD61D}"/>
              </a:ext>
            </a:extLst>
          </p:cNvPr>
          <p:cNvSpPr/>
          <p:nvPr/>
        </p:nvSpPr>
        <p:spPr bwMode="auto">
          <a:xfrm>
            <a:off x="2428232" y="3050000"/>
            <a:ext cx="118872" cy="47881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2C2D0C05-DF59-45C6-A388-F7BD5591E896}"/>
              </a:ext>
            </a:extLst>
          </p:cNvPr>
          <p:cNvSpPr/>
          <p:nvPr/>
        </p:nvSpPr>
        <p:spPr bwMode="auto">
          <a:xfrm>
            <a:off x="2562365" y="3180611"/>
            <a:ext cx="118872" cy="3357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3322094-7DCC-4D5E-93E7-D4FE90B085C2}"/>
              </a:ext>
            </a:extLst>
          </p:cNvPr>
          <p:cNvSpPr/>
          <p:nvPr/>
        </p:nvSpPr>
        <p:spPr bwMode="auto">
          <a:xfrm>
            <a:off x="2696498" y="3240510"/>
            <a:ext cx="118872" cy="278782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9E2700AC-4EFE-4541-8FF4-1DF2AE88BE20}"/>
              </a:ext>
            </a:extLst>
          </p:cNvPr>
          <p:cNvSpPr/>
          <p:nvPr/>
        </p:nvSpPr>
        <p:spPr bwMode="auto">
          <a:xfrm>
            <a:off x="2830631" y="3340512"/>
            <a:ext cx="118872" cy="18830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9EDA4BC0-EF43-4CED-BA22-C1CBD2EFC403}"/>
              </a:ext>
            </a:extLst>
          </p:cNvPr>
          <p:cNvSpPr/>
          <p:nvPr/>
        </p:nvSpPr>
        <p:spPr bwMode="auto">
          <a:xfrm>
            <a:off x="2964764" y="3349068"/>
            <a:ext cx="118872" cy="17974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D4D2F889-1FA1-46B9-BE90-59C516DB1775}"/>
              </a:ext>
            </a:extLst>
          </p:cNvPr>
          <p:cNvSpPr/>
          <p:nvPr/>
        </p:nvSpPr>
        <p:spPr bwMode="auto">
          <a:xfrm>
            <a:off x="3098897" y="3467198"/>
            <a:ext cx="118872" cy="6161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E9FC1F0-0368-4AAD-A74C-40035FBF6B62}"/>
              </a:ext>
            </a:extLst>
          </p:cNvPr>
          <p:cNvSpPr/>
          <p:nvPr/>
        </p:nvSpPr>
        <p:spPr bwMode="auto">
          <a:xfrm>
            <a:off x="3233032" y="3502150"/>
            <a:ext cx="118872" cy="1828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386E1544-571B-4210-9396-6524BB6AB846}"/>
              </a:ext>
            </a:extLst>
          </p:cNvPr>
          <p:cNvSpPr/>
          <p:nvPr/>
        </p:nvSpPr>
        <p:spPr bwMode="auto">
          <a:xfrm>
            <a:off x="3367697" y="3527460"/>
            <a:ext cx="118872" cy="4571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7892711A-018C-45E1-9C18-32E5A0C4E840}"/>
              </a:ext>
            </a:extLst>
          </p:cNvPr>
          <p:cNvSpPr/>
          <p:nvPr/>
        </p:nvSpPr>
        <p:spPr bwMode="auto">
          <a:xfrm>
            <a:off x="3502054" y="3527461"/>
            <a:ext cx="118872" cy="7173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23041655-29BB-4644-955C-0FB557F0CB28}"/>
              </a:ext>
            </a:extLst>
          </p:cNvPr>
          <p:cNvSpPr/>
          <p:nvPr/>
        </p:nvSpPr>
        <p:spPr bwMode="auto">
          <a:xfrm>
            <a:off x="3636411" y="3527460"/>
            <a:ext cx="118872" cy="17974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5F19AFD6-7D4B-4EB6-87E9-AA6279A53E05}"/>
              </a:ext>
            </a:extLst>
          </p:cNvPr>
          <p:cNvSpPr/>
          <p:nvPr/>
        </p:nvSpPr>
        <p:spPr bwMode="auto">
          <a:xfrm>
            <a:off x="3770768" y="3527461"/>
            <a:ext cx="118872" cy="17974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6D560FA4-B14F-4F6D-B3F1-2593B4FC7120}"/>
              </a:ext>
            </a:extLst>
          </p:cNvPr>
          <p:cNvSpPr/>
          <p:nvPr/>
        </p:nvSpPr>
        <p:spPr bwMode="auto">
          <a:xfrm>
            <a:off x="3905125" y="3527460"/>
            <a:ext cx="118872" cy="276832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73CCE04-3B9B-4BB8-B9F5-A4F795819602}"/>
              </a:ext>
            </a:extLst>
          </p:cNvPr>
          <p:cNvSpPr/>
          <p:nvPr/>
        </p:nvSpPr>
        <p:spPr bwMode="auto">
          <a:xfrm>
            <a:off x="4039482" y="3527460"/>
            <a:ext cx="118872" cy="29605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E540C2D-25CC-4A12-B454-7E223995FA25}"/>
              </a:ext>
            </a:extLst>
          </p:cNvPr>
          <p:cNvSpPr/>
          <p:nvPr/>
        </p:nvSpPr>
        <p:spPr bwMode="auto">
          <a:xfrm>
            <a:off x="4173839" y="3527460"/>
            <a:ext cx="118872" cy="338444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A5D6AC1-E92A-43F7-884D-22D331E84BE5}"/>
              </a:ext>
            </a:extLst>
          </p:cNvPr>
          <p:cNvSpPr/>
          <p:nvPr/>
        </p:nvSpPr>
        <p:spPr bwMode="auto">
          <a:xfrm>
            <a:off x="4308196" y="3527460"/>
            <a:ext cx="118872" cy="338442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DCC279D7-811B-40A7-A498-9F3DB8E0B018}"/>
              </a:ext>
            </a:extLst>
          </p:cNvPr>
          <p:cNvSpPr/>
          <p:nvPr/>
        </p:nvSpPr>
        <p:spPr bwMode="auto">
          <a:xfrm>
            <a:off x="4442553" y="3527460"/>
            <a:ext cx="118872" cy="36852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83A8BC1-9A5D-4FC0-83C9-203377932143}"/>
              </a:ext>
            </a:extLst>
          </p:cNvPr>
          <p:cNvSpPr/>
          <p:nvPr/>
        </p:nvSpPr>
        <p:spPr bwMode="auto">
          <a:xfrm>
            <a:off x="4576910" y="3527460"/>
            <a:ext cx="118872" cy="43289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B21A316D-83D6-429B-B645-9F5682A32074}"/>
              </a:ext>
            </a:extLst>
          </p:cNvPr>
          <p:cNvSpPr/>
          <p:nvPr/>
        </p:nvSpPr>
        <p:spPr bwMode="auto">
          <a:xfrm>
            <a:off x="4711267" y="3527460"/>
            <a:ext cx="118872" cy="485714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886DBD63-7872-4C88-A689-1935111B4D65}"/>
              </a:ext>
            </a:extLst>
          </p:cNvPr>
          <p:cNvSpPr/>
          <p:nvPr/>
        </p:nvSpPr>
        <p:spPr bwMode="auto">
          <a:xfrm>
            <a:off x="4845624" y="3527460"/>
            <a:ext cx="118872" cy="49816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CDE84FD7-58D7-4470-B549-A0BC8BFC377D}"/>
              </a:ext>
            </a:extLst>
          </p:cNvPr>
          <p:cNvSpPr/>
          <p:nvPr/>
        </p:nvSpPr>
        <p:spPr bwMode="auto">
          <a:xfrm>
            <a:off x="4979981" y="3527460"/>
            <a:ext cx="118872" cy="53854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BE9EBE01-7625-4020-8378-C507DB485F9B}"/>
              </a:ext>
            </a:extLst>
          </p:cNvPr>
          <p:cNvSpPr/>
          <p:nvPr/>
        </p:nvSpPr>
        <p:spPr bwMode="auto">
          <a:xfrm>
            <a:off x="5114338" y="3527460"/>
            <a:ext cx="118872" cy="582912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4E2489B-26FE-4693-AE6C-B6BEF1D8B468}"/>
              </a:ext>
            </a:extLst>
          </p:cNvPr>
          <p:cNvSpPr/>
          <p:nvPr/>
        </p:nvSpPr>
        <p:spPr bwMode="auto">
          <a:xfrm>
            <a:off x="5248695" y="3536986"/>
            <a:ext cx="118872" cy="61975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A6B8290-070D-4961-BDD5-AA3073914F6A}"/>
              </a:ext>
            </a:extLst>
          </p:cNvPr>
          <p:cNvSpPr/>
          <p:nvPr/>
        </p:nvSpPr>
        <p:spPr bwMode="auto">
          <a:xfrm>
            <a:off x="5383052" y="3527460"/>
            <a:ext cx="118872" cy="64211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B0E7A486-FE73-4342-BB8B-0CA1EA5C7079}"/>
              </a:ext>
            </a:extLst>
          </p:cNvPr>
          <p:cNvSpPr/>
          <p:nvPr/>
        </p:nvSpPr>
        <p:spPr bwMode="auto">
          <a:xfrm>
            <a:off x="5517409" y="3527460"/>
            <a:ext cx="118872" cy="64211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15609786-E294-4106-B283-B7934CD289DD}"/>
              </a:ext>
            </a:extLst>
          </p:cNvPr>
          <p:cNvSpPr/>
          <p:nvPr/>
        </p:nvSpPr>
        <p:spPr bwMode="auto">
          <a:xfrm>
            <a:off x="5651766" y="3541749"/>
            <a:ext cx="118872" cy="68137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3E67FFCC-D8FE-4058-B0BB-FDA7B2F17128}"/>
              </a:ext>
            </a:extLst>
          </p:cNvPr>
          <p:cNvSpPr/>
          <p:nvPr/>
        </p:nvSpPr>
        <p:spPr bwMode="auto">
          <a:xfrm>
            <a:off x="5786123" y="3527460"/>
            <a:ext cx="118872" cy="69565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50EFBFB2-51DF-469C-B16D-330073D50DF2}"/>
              </a:ext>
            </a:extLst>
          </p:cNvPr>
          <p:cNvSpPr/>
          <p:nvPr/>
        </p:nvSpPr>
        <p:spPr bwMode="auto">
          <a:xfrm>
            <a:off x="5920480" y="3527460"/>
            <a:ext cx="118872" cy="74299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72C3C430-6B9D-4C18-8131-FF38CF04F493}"/>
              </a:ext>
            </a:extLst>
          </p:cNvPr>
          <p:cNvSpPr/>
          <p:nvPr/>
        </p:nvSpPr>
        <p:spPr bwMode="auto">
          <a:xfrm>
            <a:off x="6054837" y="3527460"/>
            <a:ext cx="118872" cy="76083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F3F5B737-F981-4DA0-8DCF-2253E0004C83}"/>
              </a:ext>
            </a:extLst>
          </p:cNvPr>
          <p:cNvSpPr/>
          <p:nvPr/>
        </p:nvSpPr>
        <p:spPr bwMode="auto">
          <a:xfrm>
            <a:off x="6189194" y="3527460"/>
            <a:ext cx="118872" cy="760834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1CF34B84-244E-4701-A9B0-1DB7DC2E4282}"/>
              </a:ext>
            </a:extLst>
          </p:cNvPr>
          <p:cNvSpPr/>
          <p:nvPr/>
        </p:nvSpPr>
        <p:spPr bwMode="auto">
          <a:xfrm>
            <a:off x="6323551" y="3527460"/>
            <a:ext cx="118872" cy="78188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9C0435E-8D43-493E-B5E4-A70DB7EA2614}"/>
              </a:ext>
            </a:extLst>
          </p:cNvPr>
          <p:cNvSpPr/>
          <p:nvPr/>
        </p:nvSpPr>
        <p:spPr bwMode="auto">
          <a:xfrm>
            <a:off x="6457908" y="3527460"/>
            <a:ext cx="118872" cy="80616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BAAFE84F-10FA-4258-8E89-AA9B966406BC}"/>
              </a:ext>
            </a:extLst>
          </p:cNvPr>
          <p:cNvSpPr/>
          <p:nvPr/>
        </p:nvSpPr>
        <p:spPr bwMode="auto">
          <a:xfrm>
            <a:off x="6592265" y="3546512"/>
            <a:ext cx="118872" cy="81984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52704427-825B-4D3F-8DC2-D2F8F75CE2ED}"/>
              </a:ext>
            </a:extLst>
          </p:cNvPr>
          <p:cNvSpPr/>
          <p:nvPr/>
        </p:nvSpPr>
        <p:spPr bwMode="auto">
          <a:xfrm>
            <a:off x="6726622" y="3527460"/>
            <a:ext cx="118872" cy="90228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11B0DE7D-44B6-43C6-8F70-3FC64B0C1F28}"/>
              </a:ext>
            </a:extLst>
          </p:cNvPr>
          <p:cNvSpPr/>
          <p:nvPr/>
        </p:nvSpPr>
        <p:spPr bwMode="auto">
          <a:xfrm>
            <a:off x="6860979" y="3536986"/>
            <a:ext cx="118872" cy="90227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F8998A23-1604-448A-8B0C-6EB9071A086D}"/>
              </a:ext>
            </a:extLst>
          </p:cNvPr>
          <p:cNvSpPr/>
          <p:nvPr/>
        </p:nvSpPr>
        <p:spPr bwMode="auto">
          <a:xfrm>
            <a:off x="6995336" y="3527460"/>
            <a:ext cx="118872" cy="94238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20A97F33-3B74-45B8-AE39-586CA4322CED}"/>
              </a:ext>
            </a:extLst>
          </p:cNvPr>
          <p:cNvSpPr/>
          <p:nvPr/>
        </p:nvSpPr>
        <p:spPr bwMode="auto">
          <a:xfrm>
            <a:off x="7129693" y="3527460"/>
            <a:ext cx="118872" cy="98547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71FC7BD8-5AF8-44A5-8649-60E07B37AEE0}"/>
              </a:ext>
            </a:extLst>
          </p:cNvPr>
          <p:cNvSpPr/>
          <p:nvPr/>
        </p:nvSpPr>
        <p:spPr bwMode="auto">
          <a:xfrm>
            <a:off x="7264050" y="3527460"/>
            <a:ext cx="118872" cy="100079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7ABBDAEB-8B1D-4578-9C8D-691CD50878FE}"/>
              </a:ext>
            </a:extLst>
          </p:cNvPr>
          <p:cNvSpPr/>
          <p:nvPr/>
        </p:nvSpPr>
        <p:spPr bwMode="auto">
          <a:xfrm>
            <a:off x="7398407" y="3527460"/>
            <a:ext cx="118872" cy="102002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71D0EB7D-F6A0-49A9-9195-0B69402C4AD9}"/>
              </a:ext>
            </a:extLst>
          </p:cNvPr>
          <p:cNvSpPr/>
          <p:nvPr/>
        </p:nvSpPr>
        <p:spPr bwMode="auto">
          <a:xfrm>
            <a:off x="7532764" y="3527460"/>
            <a:ext cx="118872" cy="114324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60A7EDFD-A35E-408B-BEA7-C260D2DC047B}"/>
              </a:ext>
            </a:extLst>
          </p:cNvPr>
          <p:cNvSpPr/>
          <p:nvPr/>
        </p:nvSpPr>
        <p:spPr bwMode="auto">
          <a:xfrm>
            <a:off x="7667121" y="3527460"/>
            <a:ext cx="118872" cy="115121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9D39938D-DB14-497E-B5FD-E81B3BA3543A}"/>
              </a:ext>
            </a:extLst>
          </p:cNvPr>
          <p:cNvSpPr/>
          <p:nvPr/>
        </p:nvSpPr>
        <p:spPr bwMode="auto">
          <a:xfrm>
            <a:off x="7801478" y="3527460"/>
            <a:ext cx="118872" cy="1166616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3821A918-5B03-4203-BD0B-D2565A071948}"/>
              </a:ext>
            </a:extLst>
          </p:cNvPr>
          <p:cNvSpPr/>
          <p:nvPr/>
        </p:nvSpPr>
        <p:spPr bwMode="auto">
          <a:xfrm>
            <a:off x="7935835" y="3527460"/>
            <a:ext cx="118872" cy="118918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208265F-6ADF-4628-A672-5E1CA387A8D4}"/>
              </a:ext>
            </a:extLst>
          </p:cNvPr>
          <p:cNvSpPr/>
          <p:nvPr/>
        </p:nvSpPr>
        <p:spPr bwMode="auto">
          <a:xfrm>
            <a:off x="8070192" y="3527460"/>
            <a:ext cx="118872" cy="124264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EFA223E8-92A7-4375-AA44-29F69B35012C}"/>
              </a:ext>
            </a:extLst>
          </p:cNvPr>
          <p:cNvSpPr/>
          <p:nvPr/>
        </p:nvSpPr>
        <p:spPr bwMode="auto">
          <a:xfrm>
            <a:off x="10354244" y="3527460"/>
            <a:ext cx="118872" cy="18891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9BA23BF0-E494-430F-ABC3-7C4EF2F05A6C}"/>
              </a:ext>
            </a:extLst>
          </p:cNvPr>
          <p:cNvSpPr/>
          <p:nvPr/>
        </p:nvSpPr>
        <p:spPr bwMode="auto">
          <a:xfrm>
            <a:off x="8204549" y="3527460"/>
            <a:ext cx="118872" cy="127161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F98D87B3-3D1A-49DD-84E6-DB3AD9F07E5F}"/>
              </a:ext>
            </a:extLst>
          </p:cNvPr>
          <p:cNvSpPr/>
          <p:nvPr/>
        </p:nvSpPr>
        <p:spPr bwMode="auto">
          <a:xfrm>
            <a:off x="8338906" y="3527460"/>
            <a:ext cx="118872" cy="127161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C39AE9DF-2448-4B5F-BB08-4CBA72161E51}"/>
              </a:ext>
            </a:extLst>
          </p:cNvPr>
          <p:cNvSpPr/>
          <p:nvPr/>
        </p:nvSpPr>
        <p:spPr bwMode="auto">
          <a:xfrm>
            <a:off x="8607620" y="3527460"/>
            <a:ext cx="118872" cy="130959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96227AA-1EFE-4A41-B7A6-FA670B1E24F2}"/>
              </a:ext>
            </a:extLst>
          </p:cNvPr>
          <p:cNvSpPr/>
          <p:nvPr/>
        </p:nvSpPr>
        <p:spPr bwMode="auto">
          <a:xfrm>
            <a:off x="8741977" y="3527460"/>
            <a:ext cx="118872" cy="132681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1E918A37-FE9F-4CA7-9D4B-0DE276FAFC3D}"/>
              </a:ext>
            </a:extLst>
          </p:cNvPr>
          <p:cNvSpPr/>
          <p:nvPr/>
        </p:nvSpPr>
        <p:spPr bwMode="auto">
          <a:xfrm>
            <a:off x="8876334" y="3527460"/>
            <a:ext cx="118872" cy="133515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E3C39FF8-F260-47CF-9FA2-6129423BBFE7}"/>
              </a:ext>
            </a:extLst>
          </p:cNvPr>
          <p:cNvSpPr/>
          <p:nvPr/>
        </p:nvSpPr>
        <p:spPr bwMode="auto">
          <a:xfrm>
            <a:off x="9010691" y="3527460"/>
            <a:ext cx="118872" cy="135480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DE2998AB-B484-4635-A2DC-C78EC599B3F1}"/>
              </a:ext>
            </a:extLst>
          </p:cNvPr>
          <p:cNvSpPr/>
          <p:nvPr/>
        </p:nvSpPr>
        <p:spPr bwMode="auto">
          <a:xfrm>
            <a:off x="9145048" y="3527460"/>
            <a:ext cx="118872" cy="1354804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BA79E7D-1DDE-4D23-9B9E-1155465BFE9F}"/>
              </a:ext>
            </a:extLst>
          </p:cNvPr>
          <p:cNvSpPr/>
          <p:nvPr/>
        </p:nvSpPr>
        <p:spPr bwMode="auto">
          <a:xfrm>
            <a:off x="8473263" y="3546512"/>
            <a:ext cx="118872" cy="129054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2C79207E-F597-444E-B971-1C1980E13D61}"/>
              </a:ext>
            </a:extLst>
          </p:cNvPr>
          <p:cNvSpPr/>
          <p:nvPr/>
        </p:nvSpPr>
        <p:spPr bwMode="auto">
          <a:xfrm>
            <a:off x="9279405" y="3527460"/>
            <a:ext cx="118872" cy="138544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8FDC8933-463B-4477-9C49-3426AA0B229C}"/>
              </a:ext>
            </a:extLst>
          </p:cNvPr>
          <p:cNvSpPr/>
          <p:nvPr/>
        </p:nvSpPr>
        <p:spPr bwMode="auto">
          <a:xfrm>
            <a:off x="9413762" y="3522695"/>
            <a:ext cx="118872" cy="1435721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5C764CF9-2E62-41D1-8DFA-9205C284ABC9}"/>
              </a:ext>
            </a:extLst>
          </p:cNvPr>
          <p:cNvSpPr/>
          <p:nvPr/>
        </p:nvSpPr>
        <p:spPr bwMode="auto">
          <a:xfrm>
            <a:off x="9548119" y="3527460"/>
            <a:ext cx="118872" cy="1460777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58038BB1-B11C-4F2A-A6D2-6FB087FA4406}"/>
              </a:ext>
            </a:extLst>
          </p:cNvPr>
          <p:cNvSpPr/>
          <p:nvPr/>
        </p:nvSpPr>
        <p:spPr bwMode="auto">
          <a:xfrm>
            <a:off x="9682476" y="3527460"/>
            <a:ext cx="118872" cy="146076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CE3CB59F-9D2E-4A8B-A296-0BF370663B4E}"/>
              </a:ext>
            </a:extLst>
          </p:cNvPr>
          <p:cNvSpPr/>
          <p:nvPr/>
        </p:nvSpPr>
        <p:spPr bwMode="auto">
          <a:xfrm>
            <a:off x="9816833" y="3541749"/>
            <a:ext cx="118872" cy="15578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B1279DF-D3BE-41B2-AD0D-3B9A7C8465C0}"/>
              </a:ext>
            </a:extLst>
          </p:cNvPr>
          <p:cNvSpPr/>
          <p:nvPr/>
        </p:nvSpPr>
        <p:spPr bwMode="auto">
          <a:xfrm>
            <a:off x="9951190" y="3527460"/>
            <a:ext cx="118872" cy="1611054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95F9186-23B1-4F95-972A-AD18C33161F8}"/>
              </a:ext>
            </a:extLst>
          </p:cNvPr>
          <p:cNvSpPr/>
          <p:nvPr/>
        </p:nvSpPr>
        <p:spPr bwMode="auto">
          <a:xfrm>
            <a:off x="10085547" y="3527460"/>
            <a:ext cx="118872" cy="1889109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94C3C947-B673-4E34-9D3C-A015C873B799}"/>
              </a:ext>
            </a:extLst>
          </p:cNvPr>
          <p:cNvSpPr/>
          <p:nvPr/>
        </p:nvSpPr>
        <p:spPr bwMode="auto">
          <a:xfrm>
            <a:off x="10219904" y="3527460"/>
            <a:ext cx="118872" cy="188910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60" name="Group 459">
            <a:extLst>
              <a:ext uri="{FF2B5EF4-FFF2-40B4-BE49-F238E27FC236}">
                <a16:creationId xmlns:a16="http://schemas.microsoft.com/office/drawing/2014/main" id="{19085402-A002-429C-A808-2CC6A0F0989B}"/>
              </a:ext>
            </a:extLst>
          </p:cNvPr>
          <p:cNvGrpSpPr/>
          <p:nvPr/>
        </p:nvGrpSpPr>
        <p:grpSpPr>
          <a:xfrm>
            <a:off x="2234927" y="3147852"/>
            <a:ext cx="8299334" cy="958757"/>
            <a:chOff x="2234927" y="3236340"/>
            <a:chExt cx="8299334" cy="958757"/>
          </a:xfrm>
        </p:grpSpPr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2C3D860D-A71B-4D86-B381-27730F9B6ED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39433" y="3236340"/>
              <a:ext cx="8294828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0F30910A-0795-487A-8F05-2082385C52E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34927" y="3616696"/>
              <a:ext cx="8299334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586146A-3D95-4811-9892-51068AB687E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39433" y="4195097"/>
              <a:ext cx="8294828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2" name="Rectangle 271">
            <a:extLst>
              <a:ext uri="{FF2B5EF4-FFF2-40B4-BE49-F238E27FC236}">
                <a16:creationId xmlns:a16="http://schemas.microsoft.com/office/drawing/2014/main" id="{5FFE7DA3-1504-4377-977F-74DDD28087A9}"/>
              </a:ext>
            </a:extLst>
          </p:cNvPr>
          <p:cNvSpPr/>
          <p:nvPr/>
        </p:nvSpPr>
        <p:spPr bwMode="auto">
          <a:xfrm>
            <a:off x="229585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268BE9F9-D13B-4542-B43F-2AF93F61E0F2}"/>
              </a:ext>
            </a:extLst>
          </p:cNvPr>
          <p:cNvSpPr/>
          <p:nvPr/>
        </p:nvSpPr>
        <p:spPr bwMode="auto">
          <a:xfrm>
            <a:off x="229585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6A9BAFCC-98AC-4E0B-9D2A-3A174D727BBF}"/>
              </a:ext>
            </a:extLst>
          </p:cNvPr>
          <p:cNvSpPr/>
          <p:nvPr/>
        </p:nvSpPr>
        <p:spPr bwMode="auto">
          <a:xfrm>
            <a:off x="2430169" y="5885351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64E258A4-BD0C-4592-BCB9-0B31A6DBA889}"/>
              </a:ext>
            </a:extLst>
          </p:cNvPr>
          <p:cNvSpPr/>
          <p:nvPr/>
        </p:nvSpPr>
        <p:spPr bwMode="auto">
          <a:xfrm>
            <a:off x="2430169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E3C7645F-3F43-4194-AAAB-8DFF97B2C0A8}"/>
              </a:ext>
            </a:extLst>
          </p:cNvPr>
          <p:cNvSpPr/>
          <p:nvPr/>
        </p:nvSpPr>
        <p:spPr bwMode="auto">
          <a:xfrm>
            <a:off x="256448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53AE85C6-2855-4AF4-8170-A5F8F7D33595}"/>
              </a:ext>
            </a:extLst>
          </p:cNvPr>
          <p:cNvSpPr/>
          <p:nvPr/>
        </p:nvSpPr>
        <p:spPr bwMode="auto">
          <a:xfrm>
            <a:off x="256448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D7C13F0D-B388-4160-89C3-A074BFB582E6}"/>
              </a:ext>
            </a:extLst>
          </p:cNvPr>
          <p:cNvSpPr/>
          <p:nvPr/>
        </p:nvSpPr>
        <p:spPr bwMode="auto">
          <a:xfrm>
            <a:off x="2698797" y="5885351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988FD7E2-B00B-4E5B-B259-67D58A35F224}"/>
              </a:ext>
            </a:extLst>
          </p:cNvPr>
          <p:cNvSpPr/>
          <p:nvPr/>
        </p:nvSpPr>
        <p:spPr bwMode="auto">
          <a:xfrm>
            <a:off x="2698797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E6727638-92F8-44C7-A31D-431352A82EB6}"/>
              </a:ext>
            </a:extLst>
          </p:cNvPr>
          <p:cNvSpPr/>
          <p:nvPr/>
        </p:nvSpPr>
        <p:spPr bwMode="auto">
          <a:xfrm>
            <a:off x="283311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00E36F4C-E366-4601-B76A-68E732BC9306}"/>
              </a:ext>
            </a:extLst>
          </p:cNvPr>
          <p:cNvSpPr/>
          <p:nvPr/>
        </p:nvSpPr>
        <p:spPr bwMode="auto">
          <a:xfrm>
            <a:off x="283311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F35B420E-9716-4B88-9219-19816FA7DA53}"/>
              </a:ext>
            </a:extLst>
          </p:cNvPr>
          <p:cNvSpPr/>
          <p:nvPr/>
        </p:nvSpPr>
        <p:spPr bwMode="auto">
          <a:xfrm>
            <a:off x="2967425" y="5885351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14FA275D-105E-4C42-8B85-2E3B7F0E87CC}"/>
              </a:ext>
            </a:extLst>
          </p:cNvPr>
          <p:cNvSpPr/>
          <p:nvPr/>
        </p:nvSpPr>
        <p:spPr bwMode="auto">
          <a:xfrm>
            <a:off x="2967425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24707D26-6A9E-4FA7-9654-662C1D794FE3}"/>
              </a:ext>
            </a:extLst>
          </p:cNvPr>
          <p:cNvSpPr/>
          <p:nvPr/>
        </p:nvSpPr>
        <p:spPr bwMode="auto">
          <a:xfrm>
            <a:off x="310173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3E25767A-95D5-4324-ABA5-EDA26F0C070A}"/>
              </a:ext>
            </a:extLst>
          </p:cNvPr>
          <p:cNvSpPr/>
          <p:nvPr/>
        </p:nvSpPr>
        <p:spPr bwMode="auto">
          <a:xfrm>
            <a:off x="3101739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9080CBF7-1136-4993-9044-AC844142A31D}"/>
              </a:ext>
            </a:extLst>
          </p:cNvPr>
          <p:cNvSpPr/>
          <p:nvPr/>
        </p:nvSpPr>
        <p:spPr bwMode="auto">
          <a:xfrm>
            <a:off x="323605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FF12A870-381E-499F-A88D-C839C96C39E8}"/>
              </a:ext>
            </a:extLst>
          </p:cNvPr>
          <p:cNvSpPr/>
          <p:nvPr/>
        </p:nvSpPr>
        <p:spPr bwMode="auto">
          <a:xfrm>
            <a:off x="323605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254BEDE5-E131-428A-AA1A-91C330E15869}"/>
              </a:ext>
            </a:extLst>
          </p:cNvPr>
          <p:cNvSpPr/>
          <p:nvPr/>
        </p:nvSpPr>
        <p:spPr bwMode="auto">
          <a:xfrm>
            <a:off x="337036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751992B8-B318-492B-9495-3FFA5F1617E0}"/>
              </a:ext>
            </a:extLst>
          </p:cNvPr>
          <p:cNvSpPr/>
          <p:nvPr/>
        </p:nvSpPr>
        <p:spPr bwMode="auto">
          <a:xfrm>
            <a:off x="3370367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BB6D178D-96CE-4FD8-BF2D-B6CD12187C01}"/>
              </a:ext>
            </a:extLst>
          </p:cNvPr>
          <p:cNvSpPr/>
          <p:nvPr/>
        </p:nvSpPr>
        <p:spPr bwMode="auto">
          <a:xfrm>
            <a:off x="350468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9089AAD0-0764-407E-AE5A-0CCB6E232D91}"/>
              </a:ext>
            </a:extLst>
          </p:cNvPr>
          <p:cNvSpPr/>
          <p:nvPr/>
        </p:nvSpPr>
        <p:spPr bwMode="auto">
          <a:xfrm>
            <a:off x="350468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F4CE11A6-2135-4E0F-9E05-DE4567E40041}"/>
              </a:ext>
            </a:extLst>
          </p:cNvPr>
          <p:cNvSpPr/>
          <p:nvPr/>
        </p:nvSpPr>
        <p:spPr bwMode="auto">
          <a:xfrm>
            <a:off x="3638995" y="5885351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8FB5A338-24D6-43CA-97C7-84933EAB4126}"/>
              </a:ext>
            </a:extLst>
          </p:cNvPr>
          <p:cNvSpPr/>
          <p:nvPr/>
        </p:nvSpPr>
        <p:spPr bwMode="auto">
          <a:xfrm>
            <a:off x="3638995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D2500DC2-9C2F-4B83-9AB9-BC9919D913F0}"/>
              </a:ext>
            </a:extLst>
          </p:cNvPr>
          <p:cNvSpPr/>
          <p:nvPr/>
        </p:nvSpPr>
        <p:spPr bwMode="auto">
          <a:xfrm>
            <a:off x="3773309" y="5885351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A467E9FA-4BAA-42AE-92E9-6F7800E1B46F}"/>
              </a:ext>
            </a:extLst>
          </p:cNvPr>
          <p:cNvSpPr/>
          <p:nvPr/>
        </p:nvSpPr>
        <p:spPr bwMode="auto">
          <a:xfrm>
            <a:off x="3773309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EF21C399-5959-4DFF-8827-84F088449789}"/>
              </a:ext>
            </a:extLst>
          </p:cNvPr>
          <p:cNvSpPr/>
          <p:nvPr/>
        </p:nvSpPr>
        <p:spPr bwMode="auto">
          <a:xfrm>
            <a:off x="390762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2B400A4F-2B3B-484B-AA10-DAAEBD6DEBF7}"/>
              </a:ext>
            </a:extLst>
          </p:cNvPr>
          <p:cNvSpPr/>
          <p:nvPr/>
        </p:nvSpPr>
        <p:spPr bwMode="auto">
          <a:xfrm>
            <a:off x="390762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E3990889-4714-4F64-8C8C-8B287B82C396}"/>
              </a:ext>
            </a:extLst>
          </p:cNvPr>
          <p:cNvSpPr/>
          <p:nvPr/>
        </p:nvSpPr>
        <p:spPr bwMode="auto">
          <a:xfrm>
            <a:off x="404193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2AE80F0B-3A69-492D-8EAC-7789859809CA}"/>
              </a:ext>
            </a:extLst>
          </p:cNvPr>
          <p:cNvSpPr/>
          <p:nvPr/>
        </p:nvSpPr>
        <p:spPr bwMode="auto">
          <a:xfrm>
            <a:off x="4041937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ADBB11AC-E0F8-47A2-B518-48A978BA7C58}"/>
              </a:ext>
            </a:extLst>
          </p:cNvPr>
          <p:cNvSpPr/>
          <p:nvPr/>
        </p:nvSpPr>
        <p:spPr bwMode="auto">
          <a:xfrm>
            <a:off x="417625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11AD797C-3372-40D9-8B93-104FB7BF665C}"/>
              </a:ext>
            </a:extLst>
          </p:cNvPr>
          <p:cNvSpPr/>
          <p:nvPr/>
        </p:nvSpPr>
        <p:spPr bwMode="auto">
          <a:xfrm>
            <a:off x="417625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3BF24839-4BCE-4E95-BDCB-B4BC7B92B76E}"/>
              </a:ext>
            </a:extLst>
          </p:cNvPr>
          <p:cNvSpPr/>
          <p:nvPr/>
        </p:nvSpPr>
        <p:spPr bwMode="auto">
          <a:xfrm>
            <a:off x="431056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B5CAB48C-998C-4986-AA94-653B91E5C138}"/>
              </a:ext>
            </a:extLst>
          </p:cNvPr>
          <p:cNvSpPr/>
          <p:nvPr/>
        </p:nvSpPr>
        <p:spPr bwMode="auto">
          <a:xfrm>
            <a:off x="4310565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639C7BA2-3A86-4764-9682-0D1E54C96E4F}"/>
              </a:ext>
            </a:extLst>
          </p:cNvPr>
          <p:cNvSpPr/>
          <p:nvPr/>
        </p:nvSpPr>
        <p:spPr bwMode="auto">
          <a:xfrm>
            <a:off x="444487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923AEA8C-94E4-4228-BF8B-0D67F35B9CE9}"/>
              </a:ext>
            </a:extLst>
          </p:cNvPr>
          <p:cNvSpPr/>
          <p:nvPr/>
        </p:nvSpPr>
        <p:spPr bwMode="auto">
          <a:xfrm>
            <a:off x="4444879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246533D8-1C6C-40F4-9C53-330105815871}"/>
              </a:ext>
            </a:extLst>
          </p:cNvPr>
          <p:cNvSpPr/>
          <p:nvPr/>
        </p:nvSpPr>
        <p:spPr bwMode="auto">
          <a:xfrm>
            <a:off x="4579193" y="5885351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E54669EE-9F31-4AB2-B9CF-C8C68DDD2BB2}"/>
              </a:ext>
            </a:extLst>
          </p:cNvPr>
          <p:cNvSpPr/>
          <p:nvPr/>
        </p:nvSpPr>
        <p:spPr bwMode="auto">
          <a:xfrm>
            <a:off x="4579193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27CACE8-BFE7-4E60-A56B-1127FE17F669}"/>
              </a:ext>
            </a:extLst>
          </p:cNvPr>
          <p:cNvSpPr/>
          <p:nvPr/>
        </p:nvSpPr>
        <p:spPr bwMode="auto">
          <a:xfrm>
            <a:off x="471350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4E1DDE31-9290-45A9-95CB-2EED19E9A4EA}"/>
              </a:ext>
            </a:extLst>
          </p:cNvPr>
          <p:cNvSpPr/>
          <p:nvPr/>
        </p:nvSpPr>
        <p:spPr bwMode="auto">
          <a:xfrm>
            <a:off x="4713507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724C8D7A-5D0C-4CB7-AB4A-F06E03DDFC51}"/>
              </a:ext>
            </a:extLst>
          </p:cNvPr>
          <p:cNvSpPr/>
          <p:nvPr/>
        </p:nvSpPr>
        <p:spPr bwMode="auto">
          <a:xfrm>
            <a:off x="484782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64A19FDA-6A41-40DB-88D6-19571FD13E9A}"/>
              </a:ext>
            </a:extLst>
          </p:cNvPr>
          <p:cNvSpPr/>
          <p:nvPr/>
        </p:nvSpPr>
        <p:spPr bwMode="auto">
          <a:xfrm>
            <a:off x="484782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1C8F2FB9-1ACA-44D4-8A61-59CAB3FA2AA9}"/>
              </a:ext>
            </a:extLst>
          </p:cNvPr>
          <p:cNvSpPr/>
          <p:nvPr/>
        </p:nvSpPr>
        <p:spPr bwMode="auto">
          <a:xfrm>
            <a:off x="498213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95A0D617-74D4-44D5-A01B-4675EAD05C38}"/>
              </a:ext>
            </a:extLst>
          </p:cNvPr>
          <p:cNvSpPr/>
          <p:nvPr/>
        </p:nvSpPr>
        <p:spPr bwMode="auto">
          <a:xfrm>
            <a:off x="4982135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917E9067-3367-482B-81C3-835044EC6BA5}"/>
              </a:ext>
            </a:extLst>
          </p:cNvPr>
          <p:cNvSpPr/>
          <p:nvPr/>
        </p:nvSpPr>
        <p:spPr bwMode="auto">
          <a:xfrm>
            <a:off x="511644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F4AFB5AC-8B55-42F0-8E6C-D84426516BBD}"/>
              </a:ext>
            </a:extLst>
          </p:cNvPr>
          <p:cNvSpPr/>
          <p:nvPr/>
        </p:nvSpPr>
        <p:spPr bwMode="auto">
          <a:xfrm>
            <a:off x="5116449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521B5F1D-0944-45DE-A4DB-D77971CF3CDE}"/>
              </a:ext>
            </a:extLst>
          </p:cNvPr>
          <p:cNvSpPr/>
          <p:nvPr/>
        </p:nvSpPr>
        <p:spPr bwMode="auto">
          <a:xfrm>
            <a:off x="525076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403AB057-A66B-4BB1-8400-8990D4142D09}"/>
              </a:ext>
            </a:extLst>
          </p:cNvPr>
          <p:cNvSpPr/>
          <p:nvPr/>
        </p:nvSpPr>
        <p:spPr bwMode="auto">
          <a:xfrm>
            <a:off x="5250763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4E95E02E-6687-43F4-9C59-0702E28AAAFC}"/>
              </a:ext>
            </a:extLst>
          </p:cNvPr>
          <p:cNvSpPr/>
          <p:nvPr/>
        </p:nvSpPr>
        <p:spPr bwMode="auto">
          <a:xfrm>
            <a:off x="538507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774FC3B8-64DA-458C-B1DB-B9D55ACCD855}"/>
              </a:ext>
            </a:extLst>
          </p:cNvPr>
          <p:cNvSpPr/>
          <p:nvPr/>
        </p:nvSpPr>
        <p:spPr bwMode="auto">
          <a:xfrm>
            <a:off x="538507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C294EEF9-F370-409A-8D24-9F2AB026E0FB}"/>
              </a:ext>
            </a:extLst>
          </p:cNvPr>
          <p:cNvSpPr/>
          <p:nvPr/>
        </p:nvSpPr>
        <p:spPr bwMode="auto">
          <a:xfrm>
            <a:off x="551939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FE959AF4-D809-400D-9632-3C4CBD0C0D99}"/>
              </a:ext>
            </a:extLst>
          </p:cNvPr>
          <p:cNvSpPr/>
          <p:nvPr/>
        </p:nvSpPr>
        <p:spPr bwMode="auto">
          <a:xfrm>
            <a:off x="551939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FA4F1E39-3F24-499E-9B6E-CA4917E1427A}"/>
              </a:ext>
            </a:extLst>
          </p:cNvPr>
          <p:cNvSpPr/>
          <p:nvPr/>
        </p:nvSpPr>
        <p:spPr bwMode="auto">
          <a:xfrm>
            <a:off x="565370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1523A110-8566-4A7D-931E-06C13947BCAB}"/>
              </a:ext>
            </a:extLst>
          </p:cNvPr>
          <p:cNvSpPr/>
          <p:nvPr/>
        </p:nvSpPr>
        <p:spPr bwMode="auto">
          <a:xfrm>
            <a:off x="565370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D2922948-33E5-41A0-B5EC-017E4B8ADF03}"/>
              </a:ext>
            </a:extLst>
          </p:cNvPr>
          <p:cNvSpPr/>
          <p:nvPr/>
        </p:nvSpPr>
        <p:spPr bwMode="auto">
          <a:xfrm>
            <a:off x="578801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40035F89-861A-4090-8F59-4FF57AC3318B}"/>
              </a:ext>
            </a:extLst>
          </p:cNvPr>
          <p:cNvSpPr/>
          <p:nvPr/>
        </p:nvSpPr>
        <p:spPr bwMode="auto">
          <a:xfrm>
            <a:off x="5788019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42F6B3C5-2C4C-4F9F-A2E9-DAA658F89B61}"/>
              </a:ext>
            </a:extLst>
          </p:cNvPr>
          <p:cNvSpPr/>
          <p:nvPr/>
        </p:nvSpPr>
        <p:spPr bwMode="auto">
          <a:xfrm>
            <a:off x="592233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871661F3-B670-425B-A704-2EDD61EA18FA}"/>
              </a:ext>
            </a:extLst>
          </p:cNvPr>
          <p:cNvSpPr/>
          <p:nvPr/>
        </p:nvSpPr>
        <p:spPr bwMode="auto">
          <a:xfrm>
            <a:off x="592233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7F10911E-8B0B-4D73-BD82-4E210D559580}"/>
              </a:ext>
            </a:extLst>
          </p:cNvPr>
          <p:cNvSpPr/>
          <p:nvPr/>
        </p:nvSpPr>
        <p:spPr bwMode="auto">
          <a:xfrm>
            <a:off x="605664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7BB79B3E-15ED-466C-8386-086AC50190BE}"/>
              </a:ext>
            </a:extLst>
          </p:cNvPr>
          <p:cNvSpPr/>
          <p:nvPr/>
        </p:nvSpPr>
        <p:spPr bwMode="auto">
          <a:xfrm>
            <a:off x="605664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CA590370-469D-480E-9162-CBC9690D5C9D}"/>
              </a:ext>
            </a:extLst>
          </p:cNvPr>
          <p:cNvSpPr/>
          <p:nvPr/>
        </p:nvSpPr>
        <p:spPr bwMode="auto">
          <a:xfrm>
            <a:off x="6190961" y="5885351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19F70511-B431-4D2F-9DDF-6646778B1E9F}"/>
              </a:ext>
            </a:extLst>
          </p:cNvPr>
          <p:cNvSpPr/>
          <p:nvPr/>
        </p:nvSpPr>
        <p:spPr bwMode="auto">
          <a:xfrm>
            <a:off x="6190961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741FC248-EDE1-4DCF-89BC-148CF38E0A9A}"/>
              </a:ext>
            </a:extLst>
          </p:cNvPr>
          <p:cNvSpPr/>
          <p:nvPr/>
        </p:nvSpPr>
        <p:spPr bwMode="auto">
          <a:xfrm>
            <a:off x="632527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F9D866A4-C190-4D92-AD7B-1345E2B537EE}"/>
              </a:ext>
            </a:extLst>
          </p:cNvPr>
          <p:cNvSpPr/>
          <p:nvPr/>
        </p:nvSpPr>
        <p:spPr bwMode="auto">
          <a:xfrm>
            <a:off x="632527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7D1F834A-2B70-4D1C-AD1D-DD2BB2CD23BF}"/>
              </a:ext>
            </a:extLst>
          </p:cNvPr>
          <p:cNvSpPr/>
          <p:nvPr/>
        </p:nvSpPr>
        <p:spPr bwMode="auto">
          <a:xfrm>
            <a:off x="645958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390D8B48-EE1F-44BB-A91E-FC43752B1412}"/>
              </a:ext>
            </a:extLst>
          </p:cNvPr>
          <p:cNvSpPr/>
          <p:nvPr/>
        </p:nvSpPr>
        <p:spPr bwMode="auto">
          <a:xfrm>
            <a:off x="6459589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4" name="Rectangle 373">
            <a:extLst>
              <a:ext uri="{FF2B5EF4-FFF2-40B4-BE49-F238E27FC236}">
                <a16:creationId xmlns:a16="http://schemas.microsoft.com/office/drawing/2014/main" id="{9632C41E-1BDA-4869-AD83-34EBD8D78A68}"/>
              </a:ext>
            </a:extLst>
          </p:cNvPr>
          <p:cNvSpPr/>
          <p:nvPr/>
        </p:nvSpPr>
        <p:spPr bwMode="auto">
          <a:xfrm>
            <a:off x="659390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C116AD2F-3AAA-4DDA-9096-2F708D496D39}"/>
              </a:ext>
            </a:extLst>
          </p:cNvPr>
          <p:cNvSpPr/>
          <p:nvPr/>
        </p:nvSpPr>
        <p:spPr bwMode="auto">
          <a:xfrm>
            <a:off x="6593903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4B6AD9DA-ABF9-4420-8001-3305D92997C5}"/>
              </a:ext>
            </a:extLst>
          </p:cNvPr>
          <p:cNvSpPr/>
          <p:nvPr/>
        </p:nvSpPr>
        <p:spPr bwMode="auto">
          <a:xfrm>
            <a:off x="672821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C76C2247-ECF6-4617-BF59-BE85C57C4072}"/>
              </a:ext>
            </a:extLst>
          </p:cNvPr>
          <p:cNvSpPr/>
          <p:nvPr/>
        </p:nvSpPr>
        <p:spPr bwMode="auto">
          <a:xfrm>
            <a:off x="672821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E877BE16-C7DA-4C3A-9A95-9723B74CFA2E}"/>
              </a:ext>
            </a:extLst>
          </p:cNvPr>
          <p:cNvSpPr/>
          <p:nvPr/>
        </p:nvSpPr>
        <p:spPr bwMode="auto">
          <a:xfrm>
            <a:off x="686253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9EC2CF1A-5A79-4D1D-B87A-84C5CD453C99}"/>
              </a:ext>
            </a:extLst>
          </p:cNvPr>
          <p:cNvSpPr/>
          <p:nvPr/>
        </p:nvSpPr>
        <p:spPr bwMode="auto">
          <a:xfrm>
            <a:off x="686253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ABB4216B-7598-4244-8EC8-587BD551CBED}"/>
              </a:ext>
            </a:extLst>
          </p:cNvPr>
          <p:cNvSpPr/>
          <p:nvPr/>
        </p:nvSpPr>
        <p:spPr bwMode="auto">
          <a:xfrm>
            <a:off x="699684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0BB83D02-9131-4B10-9D30-24CC0A3CE06F}"/>
              </a:ext>
            </a:extLst>
          </p:cNvPr>
          <p:cNvSpPr/>
          <p:nvPr/>
        </p:nvSpPr>
        <p:spPr bwMode="auto">
          <a:xfrm>
            <a:off x="699684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E281ACA1-6689-4270-92A8-B14840C5B2E7}"/>
              </a:ext>
            </a:extLst>
          </p:cNvPr>
          <p:cNvSpPr/>
          <p:nvPr/>
        </p:nvSpPr>
        <p:spPr bwMode="auto">
          <a:xfrm>
            <a:off x="713115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6D98AC59-8A3F-4E37-AAD5-48BD7A3B65CB}"/>
              </a:ext>
            </a:extLst>
          </p:cNvPr>
          <p:cNvSpPr/>
          <p:nvPr/>
        </p:nvSpPr>
        <p:spPr bwMode="auto">
          <a:xfrm>
            <a:off x="7131159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FD8F90ED-4D72-4968-931D-B476C0969451}"/>
              </a:ext>
            </a:extLst>
          </p:cNvPr>
          <p:cNvSpPr/>
          <p:nvPr/>
        </p:nvSpPr>
        <p:spPr bwMode="auto">
          <a:xfrm>
            <a:off x="726547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7525401D-B110-4449-BFDF-CABCDF72A7DE}"/>
              </a:ext>
            </a:extLst>
          </p:cNvPr>
          <p:cNvSpPr/>
          <p:nvPr/>
        </p:nvSpPr>
        <p:spPr bwMode="auto">
          <a:xfrm>
            <a:off x="7265473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A7AE109E-CD6B-4E7B-914E-6A1A083EE75A}"/>
              </a:ext>
            </a:extLst>
          </p:cNvPr>
          <p:cNvSpPr/>
          <p:nvPr/>
        </p:nvSpPr>
        <p:spPr bwMode="auto">
          <a:xfrm>
            <a:off x="739978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14419D6D-270D-42E5-8AF7-74844908DCA1}"/>
              </a:ext>
            </a:extLst>
          </p:cNvPr>
          <p:cNvSpPr/>
          <p:nvPr/>
        </p:nvSpPr>
        <p:spPr bwMode="auto">
          <a:xfrm>
            <a:off x="739978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824C2305-FD66-405E-B8C6-0818076817DE}"/>
              </a:ext>
            </a:extLst>
          </p:cNvPr>
          <p:cNvSpPr/>
          <p:nvPr/>
        </p:nvSpPr>
        <p:spPr bwMode="auto">
          <a:xfrm>
            <a:off x="753410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F5D71986-7B14-4CB6-9951-7FDD97ED59A0}"/>
              </a:ext>
            </a:extLst>
          </p:cNvPr>
          <p:cNvSpPr/>
          <p:nvPr/>
        </p:nvSpPr>
        <p:spPr bwMode="auto">
          <a:xfrm>
            <a:off x="7534101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2585D436-0EB8-41E8-8E07-F4160922E2D7}"/>
              </a:ext>
            </a:extLst>
          </p:cNvPr>
          <p:cNvSpPr/>
          <p:nvPr/>
        </p:nvSpPr>
        <p:spPr bwMode="auto">
          <a:xfrm>
            <a:off x="766841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FDD38219-32FC-43C9-9919-4D7C189EAD44}"/>
              </a:ext>
            </a:extLst>
          </p:cNvPr>
          <p:cNvSpPr/>
          <p:nvPr/>
        </p:nvSpPr>
        <p:spPr bwMode="auto">
          <a:xfrm>
            <a:off x="766841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1A7A465E-EA51-4014-8BEB-E75CFC5792C4}"/>
              </a:ext>
            </a:extLst>
          </p:cNvPr>
          <p:cNvSpPr/>
          <p:nvPr/>
        </p:nvSpPr>
        <p:spPr bwMode="auto">
          <a:xfrm>
            <a:off x="780272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C76BBA36-77CB-454F-ABFE-A219A22AB272}"/>
              </a:ext>
            </a:extLst>
          </p:cNvPr>
          <p:cNvSpPr/>
          <p:nvPr/>
        </p:nvSpPr>
        <p:spPr bwMode="auto">
          <a:xfrm>
            <a:off x="7802729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FCCE01A2-F432-4064-BB47-02F631DE13BB}"/>
              </a:ext>
            </a:extLst>
          </p:cNvPr>
          <p:cNvSpPr/>
          <p:nvPr/>
        </p:nvSpPr>
        <p:spPr bwMode="auto">
          <a:xfrm>
            <a:off x="793704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52AA869A-414C-4A4D-AE9D-368E00D174FF}"/>
              </a:ext>
            </a:extLst>
          </p:cNvPr>
          <p:cNvSpPr/>
          <p:nvPr/>
        </p:nvSpPr>
        <p:spPr bwMode="auto">
          <a:xfrm>
            <a:off x="7937043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4B7FD1F6-032F-4EAC-9236-AA1E9115D04D}"/>
              </a:ext>
            </a:extLst>
          </p:cNvPr>
          <p:cNvSpPr/>
          <p:nvPr/>
        </p:nvSpPr>
        <p:spPr bwMode="auto">
          <a:xfrm>
            <a:off x="807135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C132A7DD-B7B5-4F04-B5C1-27439480143F}"/>
              </a:ext>
            </a:extLst>
          </p:cNvPr>
          <p:cNvSpPr/>
          <p:nvPr/>
        </p:nvSpPr>
        <p:spPr bwMode="auto">
          <a:xfrm>
            <a:off x="807135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116C14A2-215D-42F7-9A5A-90DA46585470}"/>
              </a:ext>
            </a:extLst>
          </p:cNvPr>
          <p:cNvSpPr/>
          <p:nvPr/>
        </p:nvSpPr>
        <p:spPr bwMode="auto">
          <a:xfrm>
            <a:off x="820567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A23FFA42-1DA2-43C7-8CAA-5D1A5F8141B5}"/>
              </a:ext>
            </a:extLst>
          </p:cNvPr>
          <p:cNvSpPr/>
          <p:nvPr/>
        </p:nvSpPr>
        <p:spPr bwMode="auto">
          <a:xfrm>
            <a:off x="820567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2456DEC2-EEBB-4E17-9D75-3E39CCF5A553}"/>
              </a:ext>
            </a:extLst>
          </p:cNvPr>
          <p:cNvSpPr/>
          <p:nvPr/>
        </p:nvSpPr>
        <p:spPr bwMode="auto">
          <a:xfrm>
            <a:off x="833998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34B3A5B3-181A-484D-BF72-436F990B76BA}"/>
              </a:ext>
            </a:extLst>
          </p:cNvPr>
          <p:cNvSpPr/>
          <p:nvPr/>
        </p:nvSpPr>
        <p:spPr bwMode="auto">
          <a:xfrm>
            <a:off x="833998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CD703D27-7F94-4468-86D1-3CE41ABE10D7}"/>
              </a:ext>
            </a:extLst>
          </p:cNvPr>
          <p:cNvSpPr/>
          <p:nvPr/>
        </p:nvSpPr>
        <p:spPr bwMode="auto">
          <a:xfrm>
            <a:off x="847429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909F5AFF-E2DF-4E68-99CE-29C8ACCD293C}"/>
              </a:ext>
            </a:extLst>
          </p:cNvPr>
          <p:cNvSpPr/>
          <p:nvPr/>
        </p:nvSpPr>
        <p:spPr bwMode="auto">
          <a:xfrm>
            <a:off x="8474299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AC829601-0F1A-4039-A56F-24D80C94136D}"/>
              </a:ext>
            </a:extLst>
          </p:cNvPr>
          <p:cNvSpPr/>
          <p:nvPr/>
        </p:nvSpPr>
        <p:spPr bwMode="auto">
          <a:xfrm>
            <a:off x="860861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75DD764F-A6E1-4346-AD80-A345BFB7F96A}"/>
              </a:ext>
            </a:extLst>
          </p:cNvPr>
          <p:cNvSpPr/>
          <p:nvPr/>
        </p:nvSpPr>
        <p:spPr bwMode="auto">
          <a:xfrm>
            <a:off x="860861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8EF1EF7E-5355-4488-BF03-531DC3A8FE75}"/>
              </a:ext>
            </a:extLst>
          </p:cNvPr>
          <p:cNvSpPr/>
          <p:nvPr/>
        </p:nvSpPr>
        <p:spPr bwMode="auto">
          <a:xfrm>
            <a:off x="874292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7D160EBC-6C84-4466-AC9F-3C92573F3545}"/>
              </a:ext>
            </a:extLst>
          </p:cNvPr>
          <p:cNvSpPr/>
          <p:nvPr/>
        </p:nvSpPr>
        <p:spPr bwMode="auto">
          <a:xfrm>
            <a:off x="8742927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962BFD41-5290-4E37-8E26-0B86D7217F13}"/>
              </a:ext>
            </a:extLst>
          </p:cNvPr>
          <p:cNvSpPr/>
          <p:nvPr/>
        </p:nvSpPr>
        <p:spPr bwMode="auto">
          <a:xfrm>
            <a:off x="887724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08FF70AE-E32C-4E9C-860D-850668D76C4D}"/>
              </a:ext>
            </a:extLst>
          </p:cNvPr>
          <p:cNvSpPr/>
          <p:nvPr/>
        </p:nvSpPr>
        <p:spPr bwMode="auto">
          <a:xfrm>
            <a:off x="887724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9AEDC6C6-D72C-4F14-8A9E-33375E66389E}"/>
              </a:ext>
            </a:extLst>
          </p:cNvPr>
          <p:cNvSpPr/>
          <p:nvPr/>
        </p:nvSpPr>
        <p:spPr bwMode="auto">
          <a:xfrm>
            <a:off x="901155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D3016C1E-BF96-4E8E-A125-8BC551D5A2F6}"/>
              </a:ext>
            </a:extLst>
          </p:cNvPr>
          <p:cNvSpPr/>
          <p:nvPr/>
        </p:nvSpPr>
        <p:spPr bwMode="auto">
          <a:xfrm>
            <a:off x="901155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C2D269D0-8786-4A85-BADB-CF339CC7EFCE}"/>
              </a:ext>
            </a:extLst>
          </p:cNvPr>
          <p:cNvSpPr/>
          <p:nvPr/>
        </p:nvSpPr>
        <p:spPr bwMode="auto">
          <a:xfrm>
            <a:off x="9145869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525FE7B7-47F4-4D2F-BEDA-D0DCE0493CFA}"/>
              </a:ext>
            </a:extLst>
          </p:cNvPr>
          <p:cNvSpPr/>
          <p:nvPr/>
        </p:nvSpPr>
        <p:spPr bwMode="auto">
          <a:xfrm>
            <a:off x="9145869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D9429753-D1B7-44C8-ACF0-520160566D9C}"/>
              </a:ext>
            </a:extLst>
          </p:cNvPr>
          <p:cNvSpPr/>
          <p:nvPr/>
        </p:nvSpPr>
        <p:spPr bwMode="auto">
          <a:xfrm>
            <a:off x="928018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A0AE87E9-7C56-434D-AA22-857868DC3552}"/>
              </a:ext>
            </a:extLst>
          </p:cNvPr>
          <p:cNvSpPr/>
          <p:nvPr/>
        </p:nvSpPr>
        <p:spPr bwMode="auto">
          <a:xfrm>
            <a:off x="928018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85C9CE57-1BB5-43C2-A405-77B794F0F49E}"/>
              </a:ext>
            </a:extLst>
          </p:cNvPr>
          <p:cNvSpPr/>
          <p:nvPr/>
        </p:nvSpPr>
        <p:spPr bwMode="auto">
          <a:xfrm>
            <a:off x="941449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EDEDC649-4473-4311-BD5B-D83AF4719399}"/>
              </a:ext>
            </a:extLst>
          </p:cNvPr>
          <p:cNvSpPr/>
          <p:nvPr/>
        </p:nvSpPr>
        <p:spPr bwMode="auto">
          <a:xfrm>
            <a:off x="9414497" y="6030882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363FFF95-F80F-40F7-97DE-F71E3AF4A619}"/>
              </a:ext>
            </a:extLst>
          </p:cNvPr>
          <p:cNvSpPr/>
          <p:nvPr/>
        </p:nvSpPr>
        <p:spPr bwMode="auto">
          <a:xfrm>
            <a:off x="954881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035C817B-77DA-430E-918D-BAD5CF0F6ED1}"/>
              </a:ext>
            </a:extLst>
          </p:cNvPr>
          <p:cNvSpPr/>
          <p:nvPr/>
        </p:nvSpPr>
        <p:spPr bwMode="auto">
          <a:xfrm>
            <a:off x="954881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13D9639A-7D24-4DA4-A25D-21046F380EC9}"/>
              </a:ext>
            </a:extLst>
          </p:cNvPr>
          <p:cNvSpPr/>
          <p:nvPr/>
        </p:nvSpPr>
        <p:spPr bwMode="auto">
          <a:xfrm>
            <a:off x="9683125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2D63634C-724F-4288-824E-A2DDACA9E004}"/>
              </a:ext>
            </a:extLst>
          </p:cNvPr>
          <p:cNvSpPr/>
          <p:nvPr/>
        </p:nvSpPr>
        <p:spPr bwMode="auto">
          <a:xfrm>
            <a:off x="9683125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59A0E41B-3BA3-42B5-AB41-3F231A658EDD}"/>
              </a:ext>
            </a:extLst>
          </p:cNvPr>
          <p:cNvSpPr/>
          <p:nvPr/>
        </p:nvSpPr>
        <p:spPr bwMode="auto">
          <a:xfrm>
            <a:off x="9817439" y="5885351"/>
            <a:ext cx="128016" cy="146304"/>
          </a:xfrm>
          <a:prstGeom prst="rect">
            <a:avLst/>
          </a:prstGeom>
          <a:solidFill>
            <a:schemeClr val="accent6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F0AD2CB5-05B9-46C8-A109-F7BC3224A6EA}"/>
              </a:ext>
            </a:extLst>
          </p:cNvPr>
          <p:cNvSpPr/>
          <p:nvPr/>
        </p:nvSpPr>
        <p:spPr bwMode="auto">
          <a:xfrm>
            <a:off x="9817439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CE7BD159-74B6-42C9-856A-F118DD2E29AB}"/>
              </a:ext>
            </a:extLst>
          </p:cNvPr>
          <p:cNvSpPr/>
          <p:nvPr/>
        </p:nvSpPr>
        <p:spPr bwMode="auto">
          <a:xfrm>
            <a:off x="9951753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1C513F6F-4F80-4E79-A801-0D3FB42DF6C6}"/>
              </a:ext>
            </a:extLst>
          </p:cNvPr>
          <p:cNvSpPr/>
          <p:nvPr/>
        </p:nvSpPr>
        <p:spPr bwMode="auto">
          <a:xfrm>
            <a:off x="9951753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F5ED6480-BB57-40EF-931E-908DD9EFA156}"/>
              </a:ext>
            </a:extLst>
          </p:cNvPr>
          <p:cNvSpPr/>
          <p:nvPr/>
        </p:nvSpPr>
        <p:spPr bwMode="auto">
          <a:xfrm>
            <a:off x="10086067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C3611E9A-8133-481C-8DE4-473290FAE1D1}"/>
              </a:ext>
            </a:extLst>
          </p:cNvPr>
          <p:cNvSpPr/>
          <p:nvPr/>
        </p:nvSpPr>
        <p:spPr bwMode="auto">
          <a:xfrm>
            <a:off x="10086067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7CEB1525-825C-4439-BDD4-0A7D447AD8B4}"/>
              </a:ext>
            </a:extLst>
          </p:cNvPr>
          <p:cNvSpPr/>
          <p:nvPr/>
        </p:nvSpPr>
        <p:spPr bwMode="auto">
          <a:xfrm>
            <a:off x="10220381" y="5885351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749620ED-5FBA-4405-B5A0-B3EEB14D0A05}"/>
              </a:ext>
            </a:extLst>
          </p:cNvPr>
          <p:cNvSpPr/>
          <p:nvPr/>
        </p:nvSpPr>
        <p:spPr bwMode="auto">
          <a:xfrm>
            <a:off x="10220381" y="6030882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897F9867-BC40-4433-A4D2-E116682969EE}"/>
              </a:ext>
            </a:extLst>
          </p:cNvPr>
          <p:cNvSpPr/>
          <p:nvPr/>
        </p:nvSpPr>
        <p:spPr bwMode="auto">
          <a:xfrm>
            <a:off x="10354680" y="5885351"/>
            <a:ext cx="128016" cy="146304"/>
          </a:xfrm>
          <a:prstGeom prst="rect">
            <a:avLst/>
          </a:prstGeom>
          <a:solidFill>
            <a:schemeClr val="accent4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C54165A3-1AA9-45B6-95A3-DCC77E4F3510}"/>
              </a:ext>
            </a:extLst>
          </p:cNvPr>
          <p:cNvSpPr/>
          <p:nvPr/>
        </p:nvSpPr>
        <p:spPr bwMode="auto">
          <a:xfrm>
            <a:off x="10354680" y="6030882"/>
            <a:ext cx="128016" cy="146304"/>
          </a:xfrm>
          <a:prstGeom prst="rect">
            <a:avLst/>
          </a:prstGeom>
          <a:solidFill>
            <a:schemeClr val="tx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CB4B8F-DA38-4A6E-A4CE-734FCE1C2FFF}"/>
              </a:ext>
            </a:extLst>
          </p:cNvPr>
          <p:cNvSpPr txBox="1"/>
          <p:nvPr/>
        </p:nvSpPr>
        <p:spPr bwMode="auto">
          <a:xfrm>
            <a:off x="2381779" y="4465734"/>
            <a:ext cx="373489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  <a:t>Confirmed ORR: 44% (95% CI: </a:t>
            </a:r>
            <a:b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  <a:t>31%-57%) in patients with </a:t>
            </a:r>
            <a:r>
              <a:rPr lang="en-US" b="0" i="1" dirty="0">
                <a:solidFill>
                  <a:schemeClr val="bg1"/>
                </a:solidFill>
                <a:latin typeface="Calibri" panose="020F0502020204030204" pitchFamily="34" charset="0"/>
              </a:rPr>
              <a:t>BRCA1/2</a:t>
            </a:r>
            <a: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  <a:t> mutations (n = 62 by RECIST)</a:t>
            </a:r>
          </a:p>
        </p:txBody>
      </p:sp>
      <p:sp>
        <p:nvSpPr>
          <p:cNvPr id="268" name="Text Box 15">
            <a:extLst>
              <a:ext uri="{FF2B5EF4-FFF2-40B4-BE49-F238E27FC236}">
                <a16:creationId xmlns:a16="http://schemas.microsoft.com/office/drawing/2014/main" id="{C2682122-848C-4F84-AA2A-BC667200B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217" y="6361756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da. JCO. 2020;38:3763.</a:t>
            </a:r>
          </a:p>
        </p:txBody>
      </p:sp>
    </p:spTree>
    <p:extLst>
      <p:ext uri="{BB962C8B-B14F-4D97-AF65-F5344CB8AC3E}">
        <p14:creationId xmlns:p14="http://schemas.microsoft.com/office/powerpoint/2010/main" val="23221920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41C8CCD4-37B2-4A1A-BC07-E33A86D18790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578CEB6-B621-414A-8227-CC018A12C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Rectangle 8">
              <a:extLst>
                <a:ext uri="{FF2B5EF4-FFF2-40B4-BE49-F238E27FC236}">
                  <a16:creationId xmlns:a16="http://schemas.microsoft.com/office/drawing/2014/main" id="{CC44CBFA-7690-4485-A06E-494897674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0" name="Title 49">
            <a:extLst>
              <a:ext uri="{FF2B5EF4-FFF2-40B4-BE49-F238E27FC236}">
                <a16:creationId xmlns:a16="http://schemas.microsoft.com/office/drawing/2014/main" id="{081C9CD4-BEC5-488A-A0C5-EDB462BCC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hase III PROfound: rPFS by BICR in </a:t>
            </a:r>
            <a:r>
              <a:rPr lang="en-GB" i="1" dirty="0"/>
              <a:t>B</a:t>
            </a:r>
            <a:r>
              <a:rPr lang="en-GB" b="1" i="1" dirty="0"/>
              <a:t>oth </a:t>
            </a:r>
            <a:r>
              <a:rPr lang="en-GB" dirty="0"/>
              <a:t>C</a:t>
            </a:r>
            <a:r>
              <a:rPr lang="en-GB" b="1" dirty="0"/>
              <a:t>ohorts (A+B)</a:t>
            </a:r>
            <a:endParaRPr lang="en-US" dirty="0"/>
          </a:p>
        </p:txBody>
      </p:sp>
      <p:sp>
        <p:nvSpPr>
          <p:cNvPr id="197" name="Text Box 15">
            <a:extLst>
              <a:ext uri="{FF2B5EF4-FFF2-40B4-BE49-F238E27FC236}">
                <a16:creationId xmlns:a16="http://schemas.microsoft.com/office/drawing/2014/main" id="{19FBCC42-35E1-46ED-BAFD-419E24D0E4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583" y="6371992"/>
            <a:ext cx="2724296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 Bono. NEJM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ff-scala-sans-pro"/>
                <a:ea typeface="+mn-ea"/>
                <a:cs typeface="Calibri" panose="020F0502020204030204" pitchFamily="34" charset="0"/>
              </a:rPr>
              <a:t>2020;382:2091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71659E4-32D0-4127-922C-E20881A5C4A0}"/>
              </a:ext>
            </a:extLst>
          </p:cNvPr>
          <p:cNvGraphicFramePr>
            <a:graphicFrameLocks noGrp="1"/>
          </p:cNvGraphicFramePr>
          <p:nvPr/>
        </p:nvGraphicFramePr>
        <p:xfrm>
          <a:off x="7319589" y="1799182"/>
          <a:ext cx="4392446" cy="1252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918">
                  <a:extLst>
                    <a:ext uri="{9D8B030D-6E8A-4147-A177-3AD203B41FA5}">
                      <a16:colId xmlns:a16="http://schemas.microsoft.com/office/drawing/2014/main" val="1053462530"/>
                    </a:ext>
                  </a:extLst>
                </a:gridCol>
                <a:gridCol w="1383264">
                  <a:extLst>
                    <a:ext uri="{9D8B030D-6E8A-4147-A177-3AD203B41FA5}">
                      <a16:colId xmlns:a16="http://schemas.microsoft.com/office/drawing/2014/main" val="3660482051"/>
                    </a:ext>
                  </a:extLst>
                </a:gridCol>
                <a:gridCol w="1383264">
                  <a:extLst>
                    <a:ext uri="{9D8B030D-6E8A-4147-A177-3AD203B41FA5}">
                      <a16:colId xmlns:a16="http://schemas.microsoft.com/office/drawing/2014/main" val="2979136250"/>
                    </a:ext>
                  </a:extLst>
                </a:gridCol>
              </a:tblGrid>
              <a:tr h="58053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parib</a:t>
                      </a:r>
                      <a:br>
                        <a:rPr lang="en-US" sz="1600" b="1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256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 Therapy</a:t>
                      </a:r>
                      <a:br>
                        <a:rPr lang="en-US" sz="1600" b="1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131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88654"/>
                  </a:ext>
                </a:extLst>
              </a:tr>
              <a:tr h="33609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OS, mo </a:t>
                      </a:r>
                    </a:p>
                  </a:txBody>
                  <a:tcPr marL="45720" marR="4572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8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5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425376"/>
                  </a:ext>
                </a:extLst>
              </a:tr>
              <a:tr h="33609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(95% CI)</a:t>
                      </a:r>
                    </a:p>
                  </a:txBody>
                  <a:tcPr marL="45720" marR="45720" anchor="ctr"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9 (0.38-0.63; </a:t>
                      </a:r>
                      <a:r>
                        <a:rPr lang="en-US" sz="16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 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.001)</a:t>
                      </a:r>
                    </a:p>
                  </a:txBody>
                  <a:tcPr marL="45720" marR="4572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486527"/>
                  </a:ext>
                </a:extLst>
              </a:tr>
            </a:tbl>
          </a:graphicData>
        </a:graphic>
      </p:graphicFrame>
      <p:grpSp>
        <p:nvGrpSpPr>
          <p:cNvPr id="265" name="Group 264">
            <a:extLst>
              <a:ext uri="{FF2B5EF4-FFF2-40B4-BE49-F238E27FC236}">
                <a16:creationId xmlns:a16="http://schemas.microsoft.com/office/drawing/2014/main" id="{842BDF34-224C-BB43-9F0F-6595DBD0D93D}"/>
              </a:ext>
            </a:extLst>
          </p:cNvPr>
          <p:cNvGrpSpPr/>
          <p:nvPr/>
        </p:nvGrpSpPr>
        <p:grpSpPr>
          <a:xfrm>
            <a:off x="1895911" y="1718256"/>
            <a:ext cx="7544459" cy="4195196"/>
            <a:chOff x="1895911" y="1718256"/>
            <a:chExt cx="7544459" cy="419519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1FD9000A-E620-FD4A-88EC-F2217E9BF86A}"/>
                </a:ext>
              </a:extLst>
            </p:cNvPr>
            <p:cNvGrpSpPr/>
            <p:nvPr/>
          </p:nvGrpSpPr>
          <p:grpSpPr>
            <a:xfrm>
              <a:off x="1895911" y="5266719"/>
              <a:ext cx="7476689" cy="646733"/>
              <a:chOff x="1925058" y="5173582"/>
              <a:chExt cx="7413316" cy="646733"/>
            </a:xfrm>
          </p:grpSpPr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47FE7ED2-EA01-104F-A608-239EC6266015}"/>
                  </a:ext>
                </a:extLst>
              </p:cNvPr>
              <p:cNvSpPr txBox="1"/>
              <p:nvPr/>
            </p:nvSpPr>
            <p:spPr bwMode="auto">
              <a:xfrm>
                <a:off x="1925058" y="5173582"/>
                <a:ext cx="1305992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atients</a:t>
                </a:r>
                <a: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t Risk, n</a:t>
                </a:r>
                <a:b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laparib</a:t>
                </a:r>
                <a:b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dirty="0">
                    <a:solidFill>
                      <a:schemeClr val="accent3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R Therapy</a:t>
                </a:r>
                <a:endParaRPr lang="en-US" sz="1200" b="1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93459F42-43CD-0949-AF94-885CCA8195CE}"/>
                  </a:ext>
                </a:extLst>
              </p:cNvPr>
              <p:cNvSpPr txBox="1"/>
              <p:nvPr/>
            </p:nvSpPr>
            <p:spPr bwMode="auto">
              <a:xfrm>
                <a:off x="3138119" y="5358650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56</a:t>
                </a:r>
              </a:p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3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634908B3-DD7B-7642-9E4B-3E74472E5F2A}"/>
                  </a:ext>
                </a:extLst>
              </p:cNvPr>
              <p:cNvSpPr txBox="1"/>
              <p:nvPr/>
            </p:nvSpPr>
            <p:spPr bwMode="auto">
              <a:xfrm>
                <a:off x="3402496" y="5358650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39</a:t>
                </a:r>
              </a:p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312291D0-CD15-4D4E-9F61-D9B482129DD9}"/>
                  </a:ext>
                </a:extLst>
              </p:cNvPr>
              <p:cNvSpPr txBox="1"/>
              <p:nvPr/>
            </p:nvSpPr>
            <p:spPr bwMode="auto">
              <a:xfrm>
                <a:off x="3661885" y="5358649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8</a:t>
                </a:r>
              </a:p>
              <a:p>
                <a:pPr algn="ctr"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9DACFAB6-6E2D-5740-914B-B2ADD68F05AD}"/>
                  </a:ext>
                </a:extLst>
              </p:cNvPr>
              <p:cNvSpPr txBox="1"/>
              <p:nvPr/>
            </p:nvSpPr>
            <p:spPr bwMode="auto">
              <a:xfrm>
                <a:off x="3936709" y="5358649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7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7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5F846980-FC28-6A4E-B4F0-AFF211287E31}"/>
                  </a:ext>
                </a:extLst>
              </p:cNvPr>
              <p:cNvSpPr txBox="1"/>
              <p:nvPr/>
            </p:nvSpPr>
            <p:spPr bwMode="auto">
              <a:xfrm>
                <a:off x="4223013" y="5358649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45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8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A9CD2639-8832-1F41-AD52-233831FCDDAD}"/>
                  </a:ext>
                </a:extLst>
              </p:cNvPr>
              <p:cNvSpPr txBox="1"/>
              <p:nvPr/>
            </p:nvSpPr>
            <p:spPr bwMode="auto">
              <a:xfrm>
                <a:off x="4519736" y="5358649"/>
                <a:ext cx="41674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4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5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43F80962-61BD-3944-BB6B-17A408C2D834}"/>
                  </a:ext>
                </a:extLst>
              </p:cNvPr>
              <p:cNvSpPr txBox="1"/>
              <p:nvPr/>
            </p:nvSpPr>
            <p:spPr bwMode="auto">
              <a:xfrm>
                <a:off x="4817389" y="5358649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6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14DA2076-9853-9C4B-AFA0-88EFFFDC94BB}"/>
                  </a:ext>
                </a:extLst>
              </p:cNvPr>
              <p:cNvSpPr txBox="1"/>
              <p:nvPr/>
            </p:nvSpPr>
            <p:spPr bwMode="auto">
              <a:xfrm>
                <a:off x="5082016" y="5358649"/>
                <a:ext cx="420307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9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981CBB12-1975-3242-851C-52046590B211}"/>
                  </a:ext>
                </a:extLst>
              </p:cNvPr>
              <p:cNvSpPr txBox="1"/>
              <p:nvPr/>
            </p:nvSpPr>
            <p:spPr bwMode="auto">
              <a:xfrm>
                <a:off x="5414324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7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9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212A307F-561E-0D4D-998E-6F682A8E914A}"/>
                  </a:ext>
                </a:extLst>
              </p:cNvPr>
              <p:cNvSpPr txBox="1"/>
              <p:nvPr/>
            </p:nvSpPr>
            <p:spPr bwMode="auto">
              <a:xfrm>
                <a:off x="5703835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8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FF8179E1-34F3-4544-83D6-E5873229769A}"/>
                  </a:ext>
                </a:extLst>
              </p:cNvPr>
              <p:cNvSpPr txBox="1"/>
              <p:nvPr/>
            </p:nvSpPr>
            <p:spPr bwMode="auto">
              <a:xfrm>
                <a:off x="5967913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8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637281E3-7B10-1245-86AF-3355BCA5574D}"/>
                  </a:ext>
                </a:extLst>
              </p:cNvPr>
              <p:cNvSpPr txBox="1"/>
              <p:nvPr/>
            </p:nvSpPr>
            <p:spPr bwMode="auto">
              <a:xfrm>
                <a:off x="6249579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15BDC99B-F943-5345-87F4-1AEF7A5D5745}"/>
                  </a:ext>
                </a:extLst>
              </p:cNvPr>
              <p:cNvSpPr txBox="1"/>
              <p:nvPr/>
            </p:nvSpPr>
            <p:spPr bwMode="auto">
              <a:xfrm>
                <a:off x="6531655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672721AC-B19D-7142-8223-6010AF584C03}"/>
                  </a:ext>
                </a:extLst>
              </p:cNvPr>
              <p:cNvSpPr txBox="1"/>
              <p:nvPr/>
            </p:nvSpPr>
            <p:spPr bwMode="auto">
              <a:xfrm>
                <a:off x="6804444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8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65E5C7A1-C927-4A4F-B8BF-E060AE4C2381}"/>
                  </a:ext>
                </a:extLst>
              </p:cNvPr>
              <p:cNvSpPr txBox="1"/>
              <p:nvPr/>
            </p:nvSpPr>
            <p:spPr bwMode="auto">
              <a:xfrm>
                <a:off x="7086519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939DA627-F1C0-DC4A-9D68-9B5F5847659E}"/>
                  </a:ext>
                </a:extLst>
              </p:cNvPr>
              <p:cNvSpPr txBox="1"/>
              <p:nvPr/>
            </p:nvSpPr>
            <p:spPr bwMode="auto">
              <a:xfrm>
                <a:off x="7359309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ACEC7C08-0BC1-C048-B23D-D32BFF07CC3F}"/>
                  </a:ext>
                </a:extLst>
              </p:cNvPr>
              <p:cNvSpPr txBox="1"/>
              <p:nvPr/>
            </p:nvSpPr>
            <p:spPr bwMode="auto">
              <a:xfrm>
                <a:off x="7632099" y="5358649"/>
                <a:ext cx="34176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1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EF16C01D-9980-024E-A6CF-3B3D6ADE99A8}"/>
                  </a:ext>
                </a:extLst>
              </p:cNvPr>
              <p:cNvSpPr txBox="1"/>
              <p:nvPr/>
            </p:nvSpPr>
            <p:spPr bwMode="auto">
              <a:xfrm>
                <a:off x="7948552" y="5358649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744306C5-321E-BF41-B1FA-4A591A329EA8}"/>
                  </a:ext>
                </a:extLst>
              </p:cNvPr>
              <p:cNvSpPr txBox="1"/>
              <p:nvPr/>
            </p:nvSpPr>
            <p:spPr bwMode="auto">
              <a:xfrm>
                <a:off x="8240146" y="5358649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34EE718F-902E-734C-9977-0C60BBBC9005}"/>
                  </a:ext>
                </a:extLst>
              </p:cNvPr>
              <p:cNvSpPr txBox="1"/>
              <p:nvPr/>
            </p:nvSpPr>
            <p:spPr bwMode="auto">
              <a:xfrm>
                <a:off x="8518939" y="5358649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FD4C7C86-B7A8-BE46-8232-BCDC5DFD69AC}"/>
                  </a:ext>
                </a:extLst>
              </p:cNvPr>
              <p:cNvSpPr txBox="1"/>
              <p:nvPr/>
            </p:nvSpPr>
            <p:spPr bwMode="auto">
              <a:xfrm>
                <a:off x="8799751" y="5358649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F8A8E05-AC4E-6445-A400-CF251DB322B3}"/>
                  </a:ext>
                </a:extLst>
              </p:cNvPr>
              <p:cNvSpPr txBox="1"/>
              <p:nvPr/>
            </p:nvSpPr>
            <p:spPr bwMode="auto">
              <a:xfrm>
                <a:off x="9075160" y="5358649"/>
                <a:ext cx="26321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US" sz="1200" b="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1D19F56-B73C-E442-8B01-90BBF4796159}"/>
                </a:ext>
              </a:extLst>
            </p:cNvPr>
            <p:cNvSpPr txBox="1"/>
            <p:nvPr/>
          </p:nvSpPr>
          <p:spPr bwMode="auto">
            <a:xfrm rot="16200000">
              <a:off x="982434" y="3117300"/>
              <a:ext cx="301165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Probability of Imaging-Based PF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AB86B68-65B3-8742-A481-0F7011E33CC1}"/>
                </a:ext>
              </a:extLst>
            </p:cNvPr>
            <p:cNvSpPr txBox="1"/>
            <p:nvPr/>
          </p:nvSpPr>
          <p:spPr bwMode="auto">
            <a:xfrm>
              <a:off x="4757229" y="5075454"/>
              <a:ext cx="283176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Mo Since Randomiz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492536F-FAE1-F346-B506-87F991B87203}"/>
                </a:ext>
              </a:extLst>
            </p:cNvPr>
            <p:cNvSpPr txBox="1"/>
            <p:nvPr/>
          </p:nvSpPr>
          <p:spPr bwMode="auto">
            <a:xfrm>
              <a:off x="3153244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F24568A-29A9-4E45-B97B-F3E0672A36B6}"/>
                </a:ext>
              </a:extLst>
            </p:cNvPr>
            <p:cNvSpPr txBox="1"/>
            <p:nvPr/>
          </p:nvSpPr>
          <p:spPr bwMode="auto">
            <a:xfrm>
              <a:off x="3440118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8C03E7E-5BD1-044D-AC25-BC561C505DD4}"/>
                </a:ext>
              </a:extLst>
            </p:cNvPr>
            <p:cNvSpPr txBox="1"/>
            <p:nvPr/>
          </p:nvSpPr>
          <p:spPr bwMode="auto">
            <a:xfrm>
              <a:off x="3724055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F8802D2-20F5-C344-BC41-D25B458A5DEB}"/>
                </a:ext>
              </a:extLst>
            </p:cNvPr>
            <p:cNvSpPr txBox="1"/>
            <p:nvPr/>
          </p:nvSpPr>
          <p:spPr bwMode="auto">
            <a:xfrm>
              <a:off x="3999180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3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8AF4A4-1710-BB49-B44F-5113ABC8CCC4}"/>
                </a:ext>
              </a:extLst>
            </p:cNvPr>
            <p:cNvSpPr txBox="1"/>
            <p:nvPr/>
          </p:nvSpPr>
          <p:spPr bwMode="auto">
            <a:xfrm>
              <a:off x="4283117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4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9101546-A78B-2840-B6AF-1BC276B29F6E}"/>
                </a:ext>
              </a:extLst>
            </p:cNvPr>
            <p:cNvSpPr txBox="1"/>
            <p:nvPr/>
          </p:nvSpPr>
          <p:spPr bwMode="auto">
            <a:xfrm>
              <a:off x="4569992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5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4D141-417A-FB4B-8820-99C9C85C937A}"/>
                </a:ext>
              </a:extLst>
            </p:cNvPr>
            <p:cNvSpPr txBox="1"/>
            <p:nvPr/>
          </p:nvSpPr>
          <p:spPr bwMode="auto">
            <a:xfrm>
              <a:off x="4850992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6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78774F7-B05D-664A-8CA3-0F82C74548AF}"/>
                </a:ext>
              </a:extLst>
            </p:cNvPr>
            <p:cNvSpPr txBox="1"/>
            <p:nvPr/>
          </p:nvSpPr>
          <p:spPr bwMode="auto">
            <a:xfrm>
              <a:off x="5129054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7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AC96514-A42A-2F4C-A715-52FC816579AD}"/>
                </a:ext>
              </a:extLst>
            </p:cNvPr>
            <p:cNvSpPr txBox="1"/>
            <p:nvPr/>
          </p:nvSpPr>
          <p:spPr bwMode="auto">
            <a:xfrm>
              <a:off x="5407117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8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3D5D5E1-7106-5D41-8387-AF9A6FEE3A57}"/>
                </a:ext>
              </a:extLst>
            </p:cNvPr>
            <p:cNvSpPr txBox="1"/>
            <p:nvPr/>
          </p:nvSpPr>
          <p:spPr bwMode="auto">
            <a:xfrm>
              <a:off x="5705741" y="4798027"/>
              <a:ext cx="306457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9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C09ADCE-1D0A-C046-ACB5-5492E8D539D0}"/>
                </a:ext>
              </a:extLst>
            </p:cNvPr>
            <p:cNvSpPr txBox="1"/>
            <p:nvPr/>
          </p:nvSpPr>
          <p:spPr bwMode="auto">
            <a:xfrm>
              <a:off x="5927994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0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C982FCD-9BAE-6245-89E5-FD8585258FBE}"/>
                </a:ext>
              </a:extLst>
            </p:cNvPr>
            <p:cNvSpPr txBox="1"/>
            <p:nvPr/>
          </p:nvSpPr>
          <p:spPr bwMode="auto">
            <a:xfrm>
              <a:off x="6214870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ACCB3CC-3DE0-D442-9DDA-1E8E8088476F}"/>
                </a:ext>
              </a:extLst>
            </p:cNvPr>
            <p:cNvSpPr txBox="1"/>
            <p:nvPr/>
          </p:nvSpPr>
          <p:spPr bwMode="auto">
            <a:xfrm>
              <a:off x="6502722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CF7132C-EE5F-0343-9332-51682F349A33}"/>
                </a:ext>
              </a:extLst>
            </p:cNvPr>
            <p:cNvSpPr txBox="1"/>
            <p:nvPr/>
          </p:nvSpPr>
          <p:spPr bwMode="auto">
            <a:xfrm>
              <a:off x="6786659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3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BC3010A-0E1E-1F4F-8F10-AC912BB50146}"/>
                </a:ext>
              </a:extLst>
            </p:cNvPr>
            <p:cNvSpPr txBox="1"/>
            <p:nvPr/>
          </p:nvSpPr>
          <p:spPr bwMode="auto">
            <a:xfrm>
              <a:off x="7052973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4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31C74A5-A300-4347-A741-87A895A85D7E}"/>
                </a:ext>
              </a:extLst>
            </p:cNvPr>
            <p:cNvSpPr txBox="1"/>
            <p:nvPr/>
          </p:nvSpPr>
          <p:spPr bwMode="auto">
            <a:xfrm>
              <a:off x="7351596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5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068DD73-DD0D-0548-BD7F-71E21A9782CF}"/>
                </a:ext>
              </a:extLst>
            </p:cNvPr>
            <p:cNvSpPr txBox="1"/>
            <p:nvPr/>
          </p:nvSpPr>
          <p:spPr bwMode="auto">
            <a:xfrm>
              <a:off x="7626722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6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D3A53F5-35DD-014D-AD94-CFABAD4E90D5}"/>
                </a:ext>
              </a:extLst>
            </p:cNvPr>
            <p:cNvSpPr txBox="1"/>
            <p:nvPr/>
          </p:nvSpPr>
          <p:spPr bwMode="auto">
            <a:xfrm>
              <a:off x="7910659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7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741D444-32F2-934D-8183-A9F9764F3F9D}"/>
                </a:ext>
              </a:extLst>
            </p:cNvPr>
            <p:cNvSpPr txBox="1"/>
            <p:nvPr/>
          </p:nvSpPr>
          <p:spPr bwMode="auto">
            <a:xfrm>
              <a:off x="8203408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8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598261C-E085-0947-8465-3AFDF774DFAB}"/>
                </a:ext>
              </a:extLst>
            </p:cNvPr>
            <p:cNvSpPr txBox="1"/>
            <p:nvPr/>
          </p:nvSpPr>
          <p:spPr bwMode="auto">
            <a:xfrm>
              <a:off x="8478534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19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1E27A4D-3F0F-1A48-BB10-8C7BE9A75C6B}"/>
                </a:ext>
              </a:extLst>
            </p:cNvPr>
            <p:cNvSpPr txBox="1"/>
            <p:nvPr/>
          </p:nvSpPr>
          <p:spPr bwMode="auto">
            <a:xfrm>
              <a:off x="8762471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B3BAD0A-1FC4-D042-8BDE-D101AB69908F}"/>
                </a:ext>
              </a:extLst>
            </p:cNvPr>
            <p:cNvSpPr txBox="1"/>
            <p:nvPr/>
          </p:nvSpPr>
          <p:spPr bwMode="auto">
            <a:xfrm>
              <a:off x="9049345" y="4798027"/>
              <a:ext cx="391025" cy="294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21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46E58FC6-9813-4E4F-835E-EE23F353F573}"/>
                </a:ext>
              </a:extLst>
            </p:cNvPr>
            <p:cNvSpPr txBox="1"/>
            <p:nvPr/>
          </p:nvSpPr>
          <p:spPr bwMode="auto">
            <a:xfrm>
              <a:off x="4300300" y="2347131"/>
              <a:ext cx="1366463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Value at 6 mo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8A74EB19-C9E0-4F49-94C1-1101FC69E768}"/>
                </a:ext>
              </a:extLst>
            </p:cNvPr>
            <p:cNvSpPr txBox="1"/>
            <p:nvPr/>
          </p:nvSpPr>
          <p:spPr bwMode="auto">
            <a:xfrm>
              <a:off x="6058678" y="3327013"/>
              <a:ext cx="123852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Value 12 mo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1938A99-E9A9-C240-9864-33267169858B}"/>
                </a:ext>
              </a:extLst>
            </p:cNvPr>
            <p:cNvSpPr txBox="1"/>
            <p:nvPr/>
          </p:nvSpPr>
          <p:spPr bwMode="auto">
            <a:xfrm>
              <a:off x="4947852" y="3031482"/>
              <a:ext cx="55590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50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DCFC1C9-C49D-BC47-963B-059D64AAC211}"/>
                </a:ext>
              </a:extLst>
            </p:cNvPr>
            <p:cNvSpPr txBox="1"/>
            <p:nvPr/>
          </p:nvSpPr>
          <p:spPr bwMode="auto">
            <a:xfrm>
              <a:off x="6676302" y="3810135"/>
              <a:ext cx="50138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22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FF2533BF-C961-B24F-9D55-1C5D8EA57974}"/>
                </a:ext>
              </a:extLst>
            </p:cNvPr>
            <p:cNvSpPr txBox="1"/>
            <p:nvPr/>
          </p:nvSpPr>
          <p:spPr bwMode="auto">
            <a:xfrm>
              <a:off x="6210418" y="4396260"/>
              <a:ext cx="51649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13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B8A0D479-0365-194B-A2DA-AD845949492F}"/>
                </a:ext>
              </a:extLst>
            </p:cNvPr>
            <p:cNvSpPr txBox="1"/>
            <p:nvPr/>
          </p:nvSpPr>
          <p:spPr bwMode="auto">
            <a:xfrm>
              <a:off x="4514507" y="4149848"/>
              <a:ext cx="51649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0.24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B3BEA02-DC65-A34E-B174-ADDFC668A0A5}"/>
                </a:ext>
              </a:extLst>
            </p:cNvPr>
            <p:cNvSpPr txBox="1"/>
            <p:nvPr/>
          </p:nvSpPr>
          <p:spPr bwMode="auto">
            <a:xfrm>
              <a:off x="7363336" y="4027925"/>
              <a:ext cx="98692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dirty="0">
                  <a:solidFill>
                    <a:schemeClr val="accent1"/>
                  </a:solidFill>
                  <a:latin typeface="Calibri" panose="020F0502020204030204" pitchFamily="34" charset="0"/>
                </a:rPr>
                <a:t>Olaparib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8D7565E-456E-6841-99A8-04AC1889C962}"/>
                </a:ext>
              </a:extLst>
            </p:cNvPr>
            <p:cNvSpPr txBox="1"/>
            <p:nvPr/>
          </p:nvSpPr>
          <p:spPr bwMode="auto">
            <a:xfrm>
              <a:off x="6741029" y="4496128"/>
              <a:ext cx="106917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400" dirty="0">
                  <a:solidFill>
                    <a:schemeClr val="accent3"/>
                  </a:solidFill>
                  <a:latin typeface="Calibri" panose="020F0502020204030204" pitchFamily="34" charset="0"/>
                </a:rPr>
                <a:t>AR Therapy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DED85CA-30BF-DE43-98D6-47E5D23E4549}"/>
                </a:ext>
              </a:extLst>
            </p:cNvPr>
            <p:cNvGrpSpPr/>
            <p:nvPr/>
          </p:nvGrpSpPr>
          <p:grpSpPr>
            <a:xfrm>
              <a:off x="2616578" y="1718256"/>
              <a:ext cx="623682" cy="3207034"/>
              <a:chOff x="2633512" y="1718256"/>
              <a:chExt cx="623682" cy="3207034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D21DAFD-D917-6C4B-A62F-73D6F51C8751}"/>
                  </a:ext>
                </a:extLst>
              </p:cNvPr>
              <p:cNvSpPr txBox="1"/>
              <p:nvPr/>
            </p:nvSpPr>
            <p:spPr bwMode="auto">
              <a:xfrm>
                <a:off x="2666799" y="1718256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1.00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D049209-2D95-A443-BB48-8FD1D745F587}"/>
                  </a:ext>
                </a:extLst>
              </p:cNvPr>
              <p:cNvSpPr txBox="1"/>
              <p:nvPr/>
            </p:nvSpPr>
            <p:spPr bwMode="auto">
              <a:xfrm>
                <a:off x="2633512" y="2298108"/>
                <a:ext cx="62368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80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05BDD4C-8D4E-1748-8C38-833C79BEBB61}"/>
                  </a:ext>
                </a:extLst>
              </p:cNvPr>
              <p:cNvSpPr txBox="1"/>
              <p:nvPr/>
            </p:nvSpPr>
            <p:spPr bwMode="auto">
              <a:xfrm>
                <a:off x="2633512" y="2877960"/>
                <a:ext cx="62368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60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8F4CBC9-6020-9E4F-B3E4-00BD96CD6CF0}"/>
                  </a:ext>
                </a:extLst>
              </p:cNvPr>
              <p:cNvSpPr txBox="1"/>
              <p:nvPr/>
            </p:nvSpPr>
            <p:spPr bwMode="auto">
              <a:xfrm>
                <a:off x="2633512" y="3457812"/>
                <a:ext cx="62368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40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0521439-3A7F-A941-81A6-13A9317A3FC4}"/>
                  </a:ext>
                </a:extLst>
              </p:cNvPr>
              <p:cNvSpPr txBox="1"/>
              <p:nvPr/>
            </p:nvSpPr>
            <p:spPr bwMode="auto">
              <a:xfrm>
                <a:off x="2633512" y="4037664"/>
                <a:ext cx="62368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20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67474A1-3EA5-C144-9BE2-A5D5B8EF3C33}"/>
                  </a:ext>
                </a:extLst>
              </p:cNvPr>
              <p:cNvSpPr txBox="1"/>
              <p:nvPr/>
            </p:nvSpPr>
            <p:spPr bwMode="auto">
              <a:xfrm>
                <a:off x="2950737" y="4617513"/>
                <a:ext cx="306457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</a:t>
                </a: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4E12548D-AB0B-A24F-9989-C3089B8C2BD8}"/>
                  </a:ext>
                </a:extLst>
              </p:cNvPr>
              <p:cNvSpPr txBox="1"/>
              <p:nvPr/>
            </p:nvSpPr>
            <p:spPr bwMode="auto">
              <a:xfrm>
                <a:off x="2666799" y="2008182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90</a:t>
                </a: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302E9699-F197-584C-896B-FA1C40BB4D49}"/>
                  </a:ext>
                </a:extLst>
              </p:cNvPr>
              <p:cNvSpPr txBox="1"/>
              <p:nvPr/>
            </p:nvSpPr>
            <p:spPr bwMode="auto">
              <a:xfrm>
                <a:off x="2666799" y="2588034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70</a:t>
                </a: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D188F024-AF68-BA48-B746-76CBBC246EBC}"/>
                  </a:ext>
                </a:extLst>
              </p:cNvPr>
              <p:cNvSpPr txBox="1"/>
              <p:nvPr/>
            </p:nvSpPr>
            <p:spPr bwMode="auto">
              <a:xfrm>
                <a:off x="2666799" y="3167886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50</a:t>
                </a: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645F236C-2767-5E4E-91CE-213EE3B7CFB8}"/>
                  </a:ext>
                </a:extLst>
              </p:cNvPr>
              <p:cNvSpPr txBox="1"/>
              <p:nvPr/>
            </p:nvSpPr>
            <p:spPr bwMode="auto">
              <a:xfrm>
                <a:off x="2666799" y="3747738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30</a:t>
                </a: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67B67C8C-9EDA-E642-9DB4-DCA5386FE078}"/>
                  </a:ext>
                </a:extLst>
              </p:cNvPr>
              <p:cNvSpPr txBox="1"/>
              <p:nvPr/>
            </p:nvSpPr>
            <p:spPr bwMode="auto">
              <a:xfrm>
                <a:off x="2666799" y="4327590"/>
                <a:ext cx="5903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4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.10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2A0686A-9D28-BC40-AEA9-94C976CAA08C}"/>
                </a:ext>
              </a:extLst>
            </p:cNvPr>
            <p:cNvGrpSpPr/>
            <p:nvPr/>
          </p:nvGrpSpPr>
          <p:grpSpPr>
            <a:xfrm>
              <a:off x="3205135" y="1877931"/>
              <a:ext cx="6019537" cy="2963184"/>
              <a:chOff x="3205135" y="1877931"/>
              <a:chExt cx="6019537" cy="2963184"/>
            </a:xfrm>
          </p:grpSpPr>
          <p:sp>
            <p:nvSpPr>
              <p:cNvPr id="19" name="Freeform: Shape 2">
                <a:extLst>
                  <a:ext uri="{FF2B5EF4-FFF2-40B4-BE49-F238E27FC236}">
                    <a16:creationId xmlns:a16="http://schemas.microsoft.com/office/drawing/2014/main" id="{3B588E21-B8CC-B840-B853-7439FF2EAA2D}"/>
                  </a:ext>
                </a:extLst>
              </p:cNvPr>
              <p:cNvSpPr/>
              <p:nvPr/>
            </p:nvSpPr>
            <p:spPr bwMode="auto">
              <a:xfrm>
                <a:off x="3286983" y="1877931"/>
                <a:ext cx="5925366" cy="2890114"/>
              </a:xfrm>
              <a:custGeom>
                <a:avLst/>
                <a:gdLst>
                  <a:gd name="connsiteX0" fmla="*/ 0 w 6587916"/>
                  <a:gd name="connsiteY0" fmla="*/ 0 h 3022110"/>
                  <a:gd name="connsiteX1" fmla="*/ 0 w 6587916"/>
                  <a:gd name="connsiteY1" fmla="*/ 3022110 h 3022110"/>
                  <a:gd name="connsiteX2" fmla="*/ 6587916 w 6587916"/>
                  <a:gd name="connsiteY2" fmla="*/ 3022110 h 3022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87916" h="3022110">
                    <a:moveTo>
                      <a:pt x="0" y="0"/>
                    </a:moveTo>
                    <a:lnTo>
                      <a:pt x="0" y="3022110"/>
                    </a:lnTo>
                    <a:lnTo>
                      <a:pt x="6587916" y="3022110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35B6A17F-163A-074C-B98A-BD0EFABCB6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205135" y="4769085"/>
                <a:ext cx="85181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D78C96B4-F488-8843-8F67-A0C2BD759255}"/>
                  </a:ext>
                </a:extLst>
              </p:cNvPr>
              <p:cNvGrpSpPr/>
              <p:nvPr/>
            </p:nvGrpSpPr>
            <p:grpSpPr>
              <a:xfrm>
                <a:off x="3286017" y="4754844"/>
                <a:ext cx="5938655" cy="86271"/>
                <a:chOff x="2823328" y="4843678"/>
                <a:chExt cx="6602690" cy="65987"/>
              </a:xfrm>
            </p:grpSpPr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7A85E138-B17D-B14D-8A7B-78B48CCC3BC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82332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5" name="Straight Connector 124">
                  <a:extLst>
                    <a:ext uri="{FF2B5EF4-FFF2-40B4-BE49-F238E27FC236}">
                      <a16:creationId xmlns:a16="http://schemas.microsoft.com/office/drawing/2014/main" id="{5EF3A1AD-30D2-D34F-BA97-6A3C628C8FB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37742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9481BBA0-4518-8648-8223-E9F6701FC84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452156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00E826FA-392E-E442-84D1-741AD83A7EE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766570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373A0C5F-FA7C-BD44-B692-8B713EA146D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080984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CECB036F-64DF-F445-B55E-3E6BDD328F3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39539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7C09D696-AAAB-0C42-AFEE-987E493B692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709812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48F7D83C-7386-7D48-9213-8C15A904146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024226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BEFB4980-8FEB-FC42-8782-6A838E703E3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338640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6EF2E915-0704-E54B-8511-35F15EEDE3B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653054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C7B993F5-C4C2-1848-9CA3-52922F1ACB4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96746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5A1D24A5-9268-E143-B408-F662A2961DE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281882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9A8272DE-F40B-2840-B863-F109155A349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596296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4F346327-D179-CD44-B9E4-3577A6821BC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910710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BD937637-C2A3-2641-AC7E-CFDE8C2FC97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225124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4E506540-7894-734B-83D9-684E43316D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53953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0" name="Straight Connector 139">
                  <a:extLst>
                    <a:ext uri="{FF2B5EF4-FFF2-40B4-BE49-F238E27FC236}">
                      <a16:creationId xmlns:a16="http://schemas.microsoft.com/office/drawing/2014/main" id="{B7858039-DB79-BD4C-B394-294B90F25F6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853952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CCE2FF9C-5CAB-F348-8249-EFEE152AFD7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168366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1760ADE4-01F4-294E-9564-CE762049B5A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482780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8301C685-F154-7D4A-808A-C816090B252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97194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E254298E-CDA1-AE48-B7D0-CD9A9003B46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11160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B85DE9BC-C0F3-3D44-8902-896EA8A4BD7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26018" y="4843678"/>
                  <a:ext cx="0" cy="6598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55E2A4E6-8465-1F42-B3E8-07F2172F732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81766" y="2690392"/>
                <a:ext cx="0" cy="2096005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2308B708-4FC7-4E4E-8A28-FD5578CB64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676809" y="3611700"/>
                <a:ext cx="0" cy="1180707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E2678DC9-E125-754D-AD40-E520CB7A19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3272869" y="3327507"/>
                <a:ext cx="5935860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7EF72F2E-54AD-624B-B91E-28C630D33D96}"/>
                  </a:ext>
                </a:extLst>
              </p:cNvPr>
              <p:cNvGrpSpPr/>
              <p:nvPr/>
            </p:nvGrpSpPr>
            <p:grpSpPr>
              <a:xfrm>
                <a:off x="3205135" y="1879197"/>
                <a:ext cx="85181" cy="2606954"/>
                <a:chOff x="3205135" y="1879197"/>
                <a:chExt cx="85181" cy="2606954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9EF5BFFE-C454-9B4A-A2E9-9D95331AE29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1879197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68D40DC-1862-7B4E-8DC4-A0652214168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3037845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1B1752F7-39F3-2D45-B7E9-4296E938DFC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3617169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E7357871-3822-8C4A-9BA0-AE22B5C0DA7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3906831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111606FF-D4F5-0A40-BEC6-170144C3E1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4196493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30EEE250-1A1F-CE4D-9CC6-28CA5B67AA8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2168859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5" name="Straight Connector 174">
                  <a:extLst>
                    <a:ext uri="{FF2B5EF4-FFF2-40B4-BE49-F238E27FC236}">
                      <a16:creationId xmlns:a16="http://schemas.microsoft.com/office/drawing/2014/main" id="{CC3F4B43-0654-F54B-8229-D30A6CB2A41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2458521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6" name="Straight Connector 175">
                  <a:extLst>
                    <a:ext uri="{FF2B5EF4-FFF2-40B4-BE49-F238E27FC236}">
                      <a16:creationId xmlns:a16="http://schemas.microsoft.com/office/drawing/2014/main" id="{211AD438-C5D1-C443-91E3-63255A15B9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2748183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7" name="Straight Connector 176">
                  <a:extLst>
                    <a:ext uri="{FF2B5EF4-FFF2-40B4-BE49-F238E27FC236}">
                      <a16:creationId xmlns:a16="http://schemas.microsoft.com/office/drawing/2014/main" id="{CBB3AD77-8A96-E948-996C-F2D66B6AB53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4486151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8" name="Straight Connector 177">
                  <a:extLst>
                    <a:ext uri="{FF2B5EF4-FFF2-40B4-BE49-F238E27FC236}">
                      <a16:creationId xmlns:a16="http://schemas.microsoft.com/office/drawing/2014/main" id="{4B426EE9-85BF-D94F-99A2-A3D85C82E2E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5135" y="3327507"/>
                  <a:ext cx="851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826ECC3E-FA32-F544-AF4A-63B9FA74D186}"/>
                </a:ext>
              </a:extLst>
            </p:cNvPr>
            <p:cNvGrpSpPr/>
            <p:nvPr/>
          </p:nvGrpSpPr>
          <p:grpSpPr>
            <a:xfrm>
              <a:off x="3271955" y="1859098"/>
              <a:ext cx="5222992" cy="2669172"/>
              <a:chOff x="3271955" y="1846778"/>
              <a:chExt cx="5222992" cy="266917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805C9C66-511F-8045-A890-1069EBF7CAF3}"/>
                  </a:ext>
                </a:extLst>
              </p:cNvPr>
              <p:cNvGrpSpPr/>
              <p:nvPr/>
            </p:nvGrpSpPr>
            <p:grpSpPr>
              <a:xfrm>
                <a:off x="3271955" y="1846778"/>
                <a:ext cx="5222992" cy="2669172"/>
                <a:chOff x="3273589" y="1858462"/>
                <a:chExt cx="5222992" cy="2669172"/>
              </a:xfrm>
            </p:grpSpPr>
            <p:sp>
              <p:nvSpPr>
                <p:cNvPr id="180" name="Oval 179">
                  <a:extLst>
                    <a:ext uri="{FF2B5EF4-FFF2-40B4-BE49-F238E27FC236}">
                      <a16:creationId xmlns:a16="http://schemas.microsoft.com/office/drawing/2014/main" id="{E45F7010-A72A-D544-981C-6F48E0E4C9A8}"/>
                    </a:ext>
                  </a:extLst>
                </p:cNvPr>
                <p:cNvSpPr/>
                <p:nvPr/>
              </p:nvSpPr>
              <p:spPr bwMode="auto">
                <a:xfrm>
                  <a:off x="3273589" y="185846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1" name="Oval 180">
                  <a:extLst>
                    <a:ext uri="{FF2B5EF4-FFF2-40B4-BE49-F238E27FC236}">
                      <a16:creationId xmlns:a16="http://schemas.microsoft.com/office/drawing/2014/main" id="{D5B11FD2-DBFF-F847-8938-992C28161B95}"/>
                    </a:ext>
                  </a:extLst>
                </p:cNvPr>
                <p:cNvSpPr/>
                <p:nvPr/>
              </p:nvSpPr>
              <p:spPr bwMode="auto">
                <a:xfrm>
                  <a:off x="3657764" y="20394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2" name="Oval 181">
                  <a:extLst>
                    <a:ext uri="{FF2B5EF4-FFF2-40B4-BE49-F238E27FC236}">
                      <a16:creationId xmlns:a16="http://schemas.microsoft.com/office/drawing/2014/main" id="{E3C06E32-9205-4142-9FE0-89F0553C0F49}"/>
                    </a:ext>
                  </a:extLst>
                </p:cNvPr>
                <p:cNvSpPr/>
                <p:nvPr/>
              </p:nvSpPr>
              <p:spPr bwMode="auto">
                <a:xfrm>
                  <a:off x="3708564" y="26236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3" name="Oval 182">
                  <a:extLst>
                    <a:ext uri="{FF2B5EF4-FFF2-40B4-BE49-F238E27FC236}">
                      <a16:creationId xmlns:a16="http://schemas.microsoft.com/office/drawing/2014/main" id="{ECCB3939-CFD3-0540-8F7B-AD9312B2A1A6}"/>
                    </a:ext>
                  </a:extLst>
                </p:cNvPr>
                <p:cNvSpPr/>
                <p:nvPr/>
              </p:nvSpPr>
              <p:spPr bwMode="auto">
                <a:xfrm>
                  <a:off x="3746664" y="26776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5" name="Oval 184">
                  <a:extLst>
                    <a:ext uri="{FF2B5EF4-FFF2-40B4-BE49-F238E27FC236}">
                      <a16:creationId xmlns:a16="http://schemas.microsoft.com/office/drawing/2014/main" id="{8BF10709-94F4-0944-AC80-2C4D89CD4999}"/>
                    </a:ext>
                  </a:extLst>
                </p:cNvPr>
                <p:cNvSpPr/>
                <p:nvPr/>
              </p:nvSpPr>
              <p:spPr bwMode="auto">
                <a:xfrm>
                  <a:off x="3753014" y="28522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6" name="Oval 185">
                  <a:extLst>
                    <a:ext uri="{FF2B5EF4-FFF2-40B4-BE49-F238E27FC236}">
                      <a16:creationId xmlns:a16="http://schemas.microsoft.com/office/drawing/2014/main" id="{0632DB21-010B-1540-A96C-3DA32A4924DB}"/>
                    </a:ext>
                  </a:extLst>
                </p:cNvPr>
                <p:cNvSpPr/>
                <p:nvPr/>
              </p:nvSpPr>
              <p:spPr bwMode="auto">
                <a:xfrm>
                  <a:off x="3889539" y="30554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7" name="Oval 186">
                  <a:extLst>
                    <a:ext uri="{FF2B5EF4-FFF2-40B4-BE49-F238E27FC236}">
                      <a16:creationId xmlns:a16="http://schemas.microsoft.com/office/drawing/2014/main" id="{06542176-BE53-6547-9873-1E9C6D5E4005}"/>
                    </a:ext>
                  </a:extLst>
                </p:cNvPr>
                <p:cNvSpPr/>
                <p:nvPr/>
              </p:nvSpPr>
              <p:spPr bwMode="auto">
                <a:xfrm>
                  <a:off x="4108614" y="31475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8" name="Oval 187">
                  <a:extLst>
                    <a:ext uri="{FF2B5EF4-FFF2-40B4-BE49-F238E27FC236}">
                      <a16:creationId xmlns:a16="http://schemas.microsoft.com/office/drawing/2014/main" id="{F3498060-0BA5-1A49-A9D1-270126126248}"/>
                    </a:ext>
                  </a:extLst>
                </p:cNvPr>
                <p:cNvSpPr/>
                <p:nvPr/>
              </p:nvSpPr>
              <p:spPr bwMode="auto">
                <a:xfrm>
                  <a:off x="4229264" y="33221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9" name="Oval 188">
                  <a:extLst>
                    <a:ext uri="{FF2B5EF4-FFF2-40B4-BE49-F238E27FC236}">
                      <a16:creationId xmlns:a16="http://schemas.microsoft.com/office/drawing/2014/main" id="{A190C450-31B6-764C-8283-AD14069D9D4C}"/>
                    </a:ext>
                  </a:extLst>
                </p:cNvPr>
                <p:cNvSpPr/>
                <p:nvPr/>
              </p:nvSpPr>
              <p:spPr bwMode="auto">
                <a:xfrm>
                  <a:off x="4267364" y="35570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0" name="Oval 189">
                  <a:extLst>
                    <a:ext uri="{FF2B5EF4-FFF2-40B4-BE49-F238E27FC236}">
                      <a16:creationId xmlns:a16="http://schemas.microsoft.com/office/drawing/2014/main" id="{5741B329-19F5-B746-9F2F-4460ABEB527B}"/>
                    </a:ext>
                  </a:extLst>
                </p:cNvPr>
                <p:cNvSpPr/>
                <p:nvPr/>
              </p:nvSpPr>
              <p:spPr bwMode="auto">
                <a:xfrm>
                  <a:off x="4286414" y="36809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891484FB-92EF-FD44-946B-5C9882EB876A}"/>
                    </a:ext>
                  </a:extLst>
                </p:cNvPr>
                <p:cNvSpPr/>
                <p:nvPr/>
              </p:nvSpPr>
              <p:spPr bwMode="auto">
                <a:xfrm>
                  <a:off x="4607089" y="38047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2" name="Oval 191">
                  <a:extLst>
                    <a:ext uri="{FF2B5EF4-FFF2-40B4-BE49-F238E27FC236}">
                      <a16:creationId xmlns:a16="http://schemas.microsoft.com/office/drawing/2014/main" id="{1D469E42-0464-8048-AFA2-2B41EB9205CC}"/>
                    </a:ext>
                  </a:extLst>
                </p:cNvPr>
                <p:cNvSpPr/>
                <p:nvPr/>
              </p:nvSpPr>
              <p:spPr bwMode="auto">
                <a:xfrm>
                  <a:off x="4759489" y="39095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3" name="Oval 192">
                  <a:extLst>
                    <a:ext uri="{FF2B5EF4-FFF2-40B4-BE49-F238E27FC236}">
                      <a16:creationId xmlns:a16="http://schemas.microsoft.com/office/drawing/2014/main" id="{BD3C750E-E349-0D4C-B5AE-A33982D7BFA9}"/>
                    </a:ext>
                  </a:extLst>
                </p:cNvPr>
                <p:cNvSpPr/>
                <p:nvPr/>
              </p:nvSpPr>
              <p:spPr bwMode="auto">
                <a:xfrm>
                  <a:off x="4788064" y="39698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5" name="Oval 194">
                  <a:extLst>
                    <a:ext uri="{FF2B5EF4-FFF2-40B4-BE49-F238E27FC236}">
                      <a16:creationId xmlns:a16="http://schemas.microsoft.com/office/drawing/2014/main" id="{4D1DADDD-BCFF-654A-9F37-A47C3184E147}"/>
                    </a:ext>
                  </a:extLst>
                </p:cNvPr>
                <p:cNvSpPr/>
                <p:nvPr/>
              </p:nvSpPr>
              <p:spPr bwMode="auto">
                <a:xfrm>
                  <a:off x="4813464" y="40142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6" name="Oval 195">
                  <a:extLst>
                    <a:ext uri="{FF2B5EF4-FFF2-40B4-BE49-F238E27FC236}">
                      <a16:creationId xmlns:a16="http://schemas.microsoft.com/office/drawing/2014/main" id="{CCA21DB9-9580-E44B-B8F6-5013B275FB40}"/>
                    </a:ext>
                  </a:extLst>
                </p:cNvPr>
                <p:cNvSpPr/>
                <p:nvPr/>
              </p:nvSpPr>
              <p:spPr bwMode="auto">
                <a:xfrm>
                  <a:off x="4867439" y="40650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9" name="Oval 198">
                  <a:extLst>
                    <a:ext uri="{FF2B5EF4-FFF2-40B4-BE49-F238E27FC236}">
                      <a16:creationId xmlns:a16="http://schemas.microsoft.com/office/drawing/2014/main" id="{998F26A5-F229-8843-8E8E-EA13D2014999}"/>
                    </a:ext>
                  </a:extLst>
                </p:cNvPr>
                <p:cNvSpPr/>
                <p:nvPr/>
              </p:nvSpPr>
              <p:spPr bwMode="auto">
                <a:xfrm>
                  <a:off x="4896014" y="40714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0" name="Oval 199">
                  <a:extLst>
                    <a:ext uri="{FF2B5EF4-FFF2-40B4-BE49-F238E27FC236}">
                      <a16:creationId xmlns:a16="http://schemas.microsoft.com/office/drawing/2014/main" id="{C7B0DA79-7D27-9D46-9A9F-232FDBBF5A44}"/>
                    </a:ext>
                  </a:extLst>
                </p:cNvPr>
                <p:cNvSpPr/>
                <p:nvPr/>
              </p:nvSpPr>
              <p:spPr bwMode="auto">
                <a:xfrm>
                  <a:off x="5292889" y="419526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2" name="Oval 201">
                  <a:extLst>
                    <a:ext uri="{FF2B5EF4-FFF2-40B4-BE49-F238E27FC236}">
                      <a16:creationId xmlns:a16="http://schemas.microsoft.com/office/drawing/2014/main" id="{9F78EE2C-31AC-8549-B73C-1003682A9918}"/>
                    </a:ext>
                  </a:extLst>
                </p:cNvPr>
                <p:cNvSpPr/>
                <p:nvPr/>
              </p:nvSpPr>
              <p:spPr bwMode="auto">
                <a:xfrm>
                  <a:off x="5321464" y="42365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3" name="Oval 202">
                  <a:extLst>
                    <a:ext uri="{FF2B5EF4-FFF2-40B4-BE49-F238E27FC236}">
                      <a16:creationId xmlns:a16="http://schemas.microsoft.com/office/drawing/2014/main" id="{FAB565F5-2543-2245-9B50-BD60E09ED421}"/>
                    </a:ext>
                  </a:extLst>
                </p:cNvPr>
                <p:cNvSpPr/>
                <p:nvPr/>
              </p:nvSpPr>
              <p:spPr bwMode="auto">
                <a:xfrm>
                  <a:off x="5350039" y="42428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4" name="Oval 203">
                  <a:extLst>
                    <a:ext uri="{FF2B5EF4-FFF2-40B4-BE49-F238E27FC236}">
                      <a16:creationId xmlns:a16="http://schemas.microsoft.com/office/drawing/2014/main" id="{4FDC0B4E-562B-AC41-B682-90E0C7BC34D5}"/>
                    </a:ext>
                  </a:extLst>
                </p:cNvPr>
                <p:cNvSpPr/>
                <p:nvPr/>
              </p:nvSpPr>
              <p:spPr bwMode="auto">
                <a:xfrm>
                  <a:off x="5400839" y="42365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5" name="Oval 204">
                  <a:extLst>
                    <a:ext uri="{FF2B5EF4-FFF2-40B4-BE49-F238E27FC236}">
                      <a16:creationId xmlns:a16="http://schemas.microsoft.com/office/drawing/2014/main" id="{9A94CBCF-D6EB-7243-9185-84FA8622414C}"/>
                    </a:ext>
                  </a:extLst>
                </p:cNvPr>
                <p:cNvSpPr/>
                <p:nvPr/>
              </p:nvSpPr>
              <p:spPr bwMode="auto">
                <a:xfrm>
                  <a:off x="5826289" y="42936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6" name="Oval 205">
                  <a:extLst>
                    <a:ext uri="{FF2B5EF4-FFF2-40B4-BE49-F238E27FC236}">
                      <a16:creationId xmlns:a16="http://schemas.microsoft.com/office/drawing/2014/main" id="{0AE00300-1E68-D441-958B-52FC7F07FCDE}"/>
                    </a:ext>
                  </a:extLst>
                </p:cNvPr>
                <p:cNvSpPr/>
                <p:nvPr/>
              </p:nvSpPr>
              <p:spPr bwMode="auto">
                <a:xfrm>
                  <a:off x="5953289" y="43540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7" name="Oval 206">
                  <a:extLst>
                    <a:ext uri="{FF2B5EF4-FFF2-40B4-BE49-F238E27FC236}">
                      <a16:creationId xmlns:a16="http://schemas.microsoft.com/office/drawing/2014/main" id="{2D613BDC-78EF-D545-BAF9-D073ED1C8C85}"/>
                    </a:ext>
                  </a:extLst>
                </p:cNvPr>
                <p:cNvSpPr/>
                <p:nvPr/>
              </p:nvSpPr>
              <p:spPr bwMode="auto">
                <a:xfrm>
                  <a:off x="6877214" y="44333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E7B3724E-C061-924A-AB1D-B253F577CC25}"/>
                    </a:ext>
                  </a:extLst>
                </p:cNvPr>
                <p:cNvSpPr/>
                <p:nvPr/>
              </p:nvSpPr>
              <p:spPr bwMode="auto">
                <a:xfrm>
                  <a:off x="7353464" y="443973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9" name="Oval 208">
                  <a:extLst>
                    <a:ext uri="{FF2B5EF4-FFF2-40B4-BE49-F238E27FC236}">
                      <a16:creationId xmlns:a16="http://schemas.microsoft.com/office/drawing/2014/main" id="{D9D2751B-6D85-4C46-AA74-5BF8AE8C4C09}"/>
                    </a:ext>
                  </a:extLst>
                </p:cNvPr>
                <p:cNvSpPr/>
                <p:nvPr/>
              </p:nvSpPr>
              <p:spPr bwMode="auto">
                <a:xfrm>
                  <a:off x="7912264" y="4430212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4F12EF0E-35B2-6C44-817B-E73577A7971A}"/>
                    </a:ext>
                  </a:extLst>
                </p:cNvPr>
                <p:cNvSpPr/>
                <p:nvPr/>
              </p:nvSpPr>
              <p:spPr bwMode="auto">
                <a:xfrm>
                  <a:off x="8413914" y="4433387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54" name="Freeform 253">
                <a:extLst>
                  <a:ext uri="{FF2B5EF4-FFF2-40B4-BE49-F238E27FC236}">
                    <a16:creationId xmlns:a16="http://schemas.microsoft.com/office/drawing/2014/main" id="{BEC4D8A5-3E0C-9640-9FC6-8E326D6620D4}"/>
                  </a:ext>
                </a:extLst>
              </p:cNvPr>
              <p:cNvSpPr/>
              <p:nvPr/>
            </p:nvSpPr>
            <p:spPr bwMode="auto">
              <a:xfrm>
                <a:off x="3292475" y="1898650"/>
                <a:ext cx="5159375" cy="2578100"/>
              </a:xfrm>
              <a:custGeom>
                <a:avLst/>
                <a:gdLst>
                  <a:gd name="connsiteX0" fmla="*/ 5159375 w 5159375"/>
                  <a:gd name="connsiteY0" fmla="*/ 2578100 h 2578100"/>
                  <a:gd name="connsiteX1" fmla="*/ 3597275 w 5159375"/>
                  <a:gd name="connsiteY1" fmla="*/ 2578100 h 2578100"/>
                  <a:gd name="connsiteX2" fmla="*/ 3597275 w 5159375"/>
                  <a:gd name="connsiteY2" fmla="*/ 2495550 h 2578100"/>
                  <a:gd name="connsiteX3" fmla="*/ 2660650 w 5159375"/>
                  <a:gd name="connsiteY3" fmla="*/ 2495550 h 2578100"/>
                  <a:gd name="connsiteX4" fmla="*/ 2660650 w 5159375"/>
                  <a:gd name="connsiteY4" fmla="*/ 2482850 h 2578100"/>
                  <a:gd name="connsiteX5" fmla="*/ 2606675 w 5159375"/>
                  <a:gd name="connsiteY5" fmla="*/ 2482850 h 2578100"/>
                  <a:gd name="connsiteX6" fmla="*/ 2606675 w 5159375"/>
                  <a:gd name="connsiteY6" fmla="*/ 2432050 h 2578100"/>
                  <a:gd name="connsiteX7" fmla="*/ 2466975 w 5159375"/>
                  <a:gd name="connsiteY7" fmla="*/ 2432050 h 2578100"/>
                  <a:gd name="connsiteX8" fmla="*/ 2466975 w 5159375"/>
                  <a:gd name="connsiteY8" fmla="*/ 2381250 h 2578100"/>
                  <a:gd name="connsiteX9" fmla="*/ 2095500 w 5159375"/>
                  <a:gd name="connsiteY9" fmla="*/ 2381250 h 2578100"/>
                  <a:gd name="connsiteX10" fmla="*/ 2095500 w 5159375"/>
                  <a:gd name="connsiteY10" fmla="*/ 2346325 h 2578100"/>
                  <a:gd name="connsiteX11" fmla="*/ 2032000 w 5159375"/>
                  <a:gd name="connsiteY11" fmla="*/ 2346325 h 2578100"/>
                  <a:gd name="connsiteX12" fmla="*/ 2032000 w 5159375"/>
                  <a:gd name="connsiteY12" fmla="*/ 2286000 h 2578100"/>
                  <a:gd name="connsiteX13" fmla="*/ 1978025 w 5159375"/>
                  <a:gd name="connsiteY13" fmla="*/ 2286000 h 2578100"/>
                  <a:gd name="connsiteX14" fmla="*/ 1978025 w 5159375"/>
                  <a:gd name="connsiteY14" fmla="*/ 2241550 h 2578100"/>
                  <a:gd name="connsiteX15" fmla="*/ 1847850 w 5159375"/>
                  <a:gd name="connsiteY15" fmla="*/ 2241550 h 2578100"/>
                  <a:gd name="connsiteX16" fmla="*/ 1847850 w 5159375"/>
                  <a:gd name="connsiteY16" fmla="*/ 2203450 h 2578100"/>
                  <a:gd name="connsiteX17" fmla="*/ 1603375 w 5159375"/>
                  <a:gd name="connsiteY17" fmla="*/ 2203450 h 2578100"/>
                  <a:gd name="connsiteX18" fmla="*/ 1603375 w 5159375"/>
                  <a:gd name="connsiteY18" fmla="*/ 2149475 h 2578100"/>
                  <a:gd name="connsiteX19" fmla="*/ 1571625 w 5159375"/>
                  <a:gd name="connsiteY19" fmla="*/ 2149475 h 2578100"/>
                  <a:gd name="connsiteX20" fmla="*/ 1571625 w 5159375"/>
                  <a:gd name="connsiteY20" fmla="*/ 2105025 h 2578100"/>
                  <a:gd name="connsiteX21" fmla="*/ 1501775 w 5159375"/>
                  <a:gd name="connsiteY21" fmla="*/ 2105025 h 2578100"/>
                  <a:gd name="connsiteX22" fmla="*/ 1501775 w 5159375"/>
                  <a:gd name="connsiteY22" fmla="*/ 2035175 h 2578100"/>
                  <a:gd name="connsiteX23" fmla="*/ 1476375 w 5159375"/>
                  <a:gd name="connsiteY23" fmla="*/ 2035175 h 2578100"/>
                  <a:gd name="connsiteX24" fmla="*/ 1476375 w 5159375"/>
                  <a:gd name="connsiteY24" fmla="*/ 1958975 h 2578100"/>
                  <a:gd name="connsiteX25" fmla="*/ 1365250 w 5159375"/>
                  <a:gd name="connsiteY25" fmla="*/ 1958975 h 2578100"/>
                  <a:gd name="connsiteX26" fmla="*/ 1365250 w 5159375"/>
                  <a:gd name="connsiteY26" fmla="*/ 1933575 h 2578100"/>
                  <a:gd name="connsiteX27" fmla="*/ 1155700 w 5159375"/>
                  <a:gd name="connsiteY27" fmla="*/ 1933575 h 2578100"/>
                  <a:gd name="connsiteX28" fmla="*/ 1155700 w 5159375"/>
                  <a:gd name="connsiteY28" fmla="*/ 1901825 h 2578100"/>
                  <a:gd name="connsiteX29" fmla="*/ 1079500 w 5159375"/>
                  <a:gd name="connsiteY29" fmla="*/ 1901825 h 2578100"/>
                  <a:gd name="connsiteX30" fmla="*/ 1079500 w 5159375"/>
                  <a:gd name="connsiteY30" fmla="*/ 1873250 h 2578100"/>
                  <a:gd name="connsiteX31" fmla="*/ 1050925 w 5159375"/>
                  <a:gd name="connsiteY31" fmla="*/ 1873250 h 2578100"/>
                  <a:gd name="connsiteX32" fmla="*/ 1050925 w 5159375"/>
                  <a:gd name="connsiteY32" fmla="*/ 1831975 h 2578100"/>
                  <a:gd name="connsiteX33" fmla="*/ 1031875 w 5159375"/>
                  <a:gd name="connsiteY33" fmla="*/ 1831975 h 2578100"/>
                  <a:gd name="connsiteX34" fmla="*/ 1031875 w 5159375"/>
                  <a:gd name="connsiteY34" fmla="*/ 1676400 h 2578100"/>
                  <a:gd name="connsiteX35" fmla="*/ 1009650 w 5159375"/>
                  <a:gd name="connsiteY35" fmla="*/ 1676400 h 2578100"/>
                  <a:gd name="connsiteX36" fmla="*/ 1009650 w 5159375"/>
                  <a:gd name="connsiteY36" fmla="*/ 1581150 h 2578100"/>
                  <a:gd name="connsiteX37" fmla="*/ 993775 w 5159375"/>
                  <a:gd name="connsiteY37" fmla="*/ 1581150 h 2578100"/>
                  <a:gd name="connsiteX38" fmla="*/ 993775 w 5159375"/>
                  <a:gd name="connsiteY38" fmla="*/ 1546225 h 2578100"/>
                  <a:gd name="connsiteX39" fmla="*/ 981075 w 5159375"/>
                  <a:gd name="connsiteY39" fmla="*/ 1546225 h 2578100"/>
                  <a:gd name="connsiteX40" fmla="*/ 981075 w 5159375"/>
                  <a:gd name="connsiteY40" fmla="*/ 1473200 h 2578100"/>
                  <a:gd name="connsiteX41" fmla="*/ 962025 w 5159375"/>
                  <a:gd name="connsiteY41" fmla="*/ 1473200 h 2578100"/>
                  <a:gd name="connsiteX42" fmla="*/ 962025 w 5159375"/>
                  <a:gd name="connsiteY42" fmla="*/ 1339850 h 2578100"/>
                  <a:gd name="connsiteX43" fmla="*/ 920750 w 5159375"/>
                  <a:gd name="connsiteY43" fmla="*/ 1339850 h 2578100"/>
                  <a:gd name="connsiteX44" fmla="*/ 920750 w 5159375"/>
                  <a:gd name="connsiteY44" fmla="*/ 1298575 h 2578100"/>
                  <a:gd name="connsiteX45" fmla="*/ 847725 w 5159375"/>
                  <a:gd name="connsiteY45" fmla="*/ 1298575 h 2578100"/>
                  <a:gd name="connsiteX46" fmla="*/ 847725 w 5159375"/>
                  <a:gd name="connsiteY46" fmla="*/ 1266825 h 2578100"/>
                  <a:gd name="connsiteX47" fmla="*/ 819150 w 5159375"/>
                  <a:gd name="connsiteY47" fmla="*/ 1266825 h 2578100"/>
                  <a:gd name="connsiteX48" fmla="*/ 819150 w 5159375"/>
                  <a:gd name="connsiteY48" fmla="*/ 1244600 h 2578100"/>
                  <a:gd name="connsiteX49" fmla="*/ 771525 w 5159375"/>
                  <a:gd name="connsiteY49" fmla="*/ 1244600 h 2578100"/>
                  <a:gd name="connsiteX50" fmla="*/ 771525 w 5159375"/>
                  <a:gd name="connsiteY50" fmla="*/ 1222375 h 2578100"/>
                  <a:gd name="connsiteX51" fmla="*/ 673100 w 5159375"/>
                  <a:gd name="connsiteY51" fmla="*/ 1222375 h 2578100"/>
                  <a:gd name="connsiteX52" fmla="*/ 673100 w 5159375"/>
                  <a:gd name="connsiteY52" fmla="*/ 1203325 h 2578100"/>
                  <a:gd name="connsiteX53" fmla="*/ 644525 w 5159375"/>
                  <a:gd name="connsiteY53" fmla="*/ 1203325 h 2578100"/>
                  <a:gd name="connsiteX54" fmla="*/ 644525 w 5159375"/>
                  <a:gd name="connsiteY54" fmla="*/ 1203325 h 2578100"/>
                  <a:gd name="connsiteX55" fmla="*/ 590550 w 5159375"/>
                  <a:gd name="connsiteY55" fmla="*/ 1203325 h 2578100"/>
                  <a:gd name="connsiteX56" fmla="*/ 590550 w 5159375"/>
                  <a:gd name="connsiteY56" fmla="*/ 1146175 h 2578100"/>
                  <a:gd name="connsiteX57" fmla="*/ 549275 w 5159375"/>
                  <a:gd name="connsiteY57" fmla="*/ 1146175 h 2578100"/>
                  <a:gd name="connsiteX58" fmla="*/ 549275 w 5159375"/>
                  <a:gd name="connsiteY58" fmla="*/ 1123950 h 2578100"/>
                  <a:gd name="connsiteX59" fmla="*/ 549275 w 5159375"/>
                  <a:gd name="connsiteY59" fmla="*/ 1123950 h 2578100"/>
                  <a:gd name="connsiteX60" fmla="*/ 527050 w 5159375"/>
                  <a:gd name="connsiteY60" fmla="*/ 1101725 h 2578100"/>
                  <a:gd name="connsiteX61" fmla="*/ 527050 w 5159375"/>
                  <a:gd name="connsiteY61" fmla="*/ 1101725 h 2578100"/>
                  <a:gd name="connsiteX62" fmla="*/ 508000 w 5159375"/>
                  <a:gd name="connsiteY62" fmla="*/ 1101725 h 2578100"/>
                  <a:gd name="connsiteX63" fmla="*/ 508000 w 5159375"/>
                  <a:gd name="connsiteY63" fmla="*/ 1003300 h 2578100"/>
                  <a:gd name="connsiteX64" fmla="*/ 495300 w 5159375"/>
                  <a:gd name="connsiteY64" fmla="*/ 1003300 h 2578100"/>
                  <a:gd name="connsiteX65" fmla="*/ 495300 w 5159375"/>
                  <a:gd name="connsiteY65" fmla="*/ 806450 h 2578100"/>
                  <a:gd name="connsiteX66" fmla="*/ 460375 w 5159375"/>
                  <a:gd name="connsiteY66" fmla="*/ 806450 h 2578100"/>
                  <a:gd name="connsiteX67" fmla="*/ 460375 w 5159375"/>
                  <a:gd name="connsiteY67" fmla="*/ 276225 h 2578100"/>
                  <a:gd name="connsiteX68" fmla="*/ 444500 w 5159375"/>
                  <a:gd name="connsiteY68" fmla="*/ 276225 h 2578100"/>
                  <a:gd name="connsiteX69" fmla="*/ 444500 w 5159375"/>
                  <a:gd name="connsiteY69" fmla="*/ 238125 h 2578100"/>
                  <a:gd name="connsiteX70" fmla="*/ 428625 w 5159375"/>
                  <a:gd name="connsiteY70" fmla="*/ 238125 h 2578100"/>
                  <a:gd name="connsiteX71" fmla="*/ 428625 w 5159375"/>
                  <a:gd name="connsiteY71" fmla="*/ 187325 h 2578100"/>
                  <a:gd name="connsiteX72" fmla="*/ 365125 w 5159375"/>
                  <a:gd name="connsiteY72" fmla="*/ 187325 h 2578100"/>
                  <a:gd name="connsiteX73" fmla="*/ 365125 w 5159375"/>
                  <a:gd name="connsiteY73" fmla="*/ 130175 h 2578100"/>
                  <a:gd name="connsiteX74" fmla="*/ 311150 w 5159375"/>
                  <a:gd name="connsiteY74" fmla="*/ 130175 h 2578100"/>
                  <a:gd name="connsiteX75" fmla="*/ 311150 w 5159375"/>
                  <a:gd name="connsiteY75" fmla="*/ 95250 h 2578100"/>
                  <a:gd name="connsiteX76" fmla="*/ 263525 w 5159375"/>
                  <a:gd name="connsiteY76" fmla="*/ 95250 h 2578100"/>
                  <a:gd name="connsiteX77" fmla="*/ 263525 w 5159375"/>
                  <a:gd name="connsiteY77" fmla="*/ 73025 h 2578100"/>
                  <a:gd name="connsiteX78" fmla="*/ 231775 w 5159375"/>
                  <a:gd name="connsiteY78" fmla="*/ 73025 h 2578100"/>
                  <a:gd name="connsiteX79" fmla="*/ 231775 w 5159375"/>
                  <a:gd name="connsiteY79" fmla="*/ 41275 h 2578100"/>
                  <a:gd name="connsiteX80" fmla="*/ 177800 w 5159375"/>
                  <a:gd name="connsiteY80" fmla="*/ 41275 h 2578100"/>
                  <a:gd name="connsiteX81" fmla="*/ 177800 w 5159375"/>
                  <a:gd name="connsiteY81" fmla="*/ 12700 h 2578100"/>
                  <a:gd name="connsiteX82" fmla="*/ 123825 w 5159375"/>
                  <a:gd name="connsiteY82" fmla="*/ 12700 h 2578100"/>
                  <a:gd name="connsiteX83" fmla="*/ 123825 w 5159375"/>
                  <a:gd name="connsiteY83" fmla="*/ 0 h 2578100"/>
                  <a:gd name="connsiteX84" fmla="*/ 0 w 5159375"/>
                  <a:gd name="connsiteY84" fmla="*/ 0 h 257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159375" h="2578100">
                    <a:moveTo>
                      <a:pt x="5159375" y="2578100"/>
                    </a:moveTo>
                    <a:lnTo>
                      <a:pt x="3597275" y="2578100"/>
                    </a:lnTo>
                    <a:lnTo>
                      <a:pt x="3597275" y="2495550"/>
                    </a:lnTo>
                    <a:lnTo>
                      <a:pt x="2660650" y="2495550"/>
                    </a:lnTo>
                    <a:lnTo>
                      <a:pt x="2660650" y="2482850"/>
                    </a:lnTo>
                    <a:lnTo>
                      <a:pt x="2606675" y="2482850"/>
                    </a:lnTo>
                    <a:lnTo>
                      <a:pt x="2606675" y="2432050"/>
                    </a:lnTo>
                    <a:lnTo>
                      <a:pt x="2466975" y="2432050"/>
                    </a:lnTo>
                    <a:lnTo>
                      <a:pt x="2466975" y="2381250"/>
                    </a:lnTo>
                    <a:lnTo>
                      <a:pt x="2095500" y="2381250"/>
                    </a:lnTo>
                    <a:lnTo>
                      <a:pt x="2095500" y="2346325"/>
                    </a:lnTo>
                    <a:lnTo>
                      <a:pt x="2032000" y="2346325"/>
                    </a:lnTo>
                    <a:lnTo>
                      <a:pt x="2032000" y="2286000"/>
                    </a:lnTo>
                    <a:lnTo>
                      <a:pt x="1978025" y="2286000"/>
                    </a:lnTo>
                    <a:lnTo>
                      <a:pt x="1978025" y="2241550"/>
                    </a:lnTo>
                    <a:lnTo>
                      <a:pt x="1847850" y="2241550"/>
                    </a:lnTo>
                    <a:lnTo>
                      <a:pt x="1847850" y="2203450"/>
                    </a:lnTo>
                    <a:lnTo>
                      <a:pt x="1603375" y="2203450"/>
                    </a:lnTo>
                    <a:lnTo>
                      <a:pt x="1603375" y="2149475"/>
                    </a:lnTo>
                    <a:lnTo>
                      <a:pt x="1571625" y="2149475"/>
                    </a:lnTo>
                    <a:lnTo>
                      <a:pt x="1571625" y="2105025"/>
                    </a:lnTo>
                    <a:lnTo>
                      <a:pt x="1501775" y="2105025"/>
                    </a:lnTo>
                    <a:lnTo>
                      <a:pt x="1501775" y="2035175"/>
                    </a:lnTo>
                    <a:lnTo>
                      <a:pt x="1476375" y="2035175"/>
                    </a:lnTo>
                    <a:lnTo>
                      <a:pt x="1476375" y="1958975"/>
                    </a:lnTo>
                    <a:lnTo>
                      <a:pt x="1365250" y="1958975"/>
                    </a:lnTo>
                    <a:lnTo>
                      <a:pt x="1365250" y="1933575"/>
                    </a:lnTo>
                    <a:lnTo>
                      <a:pt x="1155700" y="1933575"/>
                    </a:lnTo>
                    <a:lnTo>
                      <a:pt x="1155700" y="1901825"/>
                    </a:lnTo>
                    <a:lnTo>
                      <a:pt x="1079500" y="1901825"/>
                    </a:lnTo>
                    <a:lnTo>
                      <a:pt x="1079500" y="1873250"/>
                    </a:lnTo>
                    <a:lnTo>
                      <a:pt x="1050925" y="1873250"/>
                    </a:lnTo>
                    <a:lnTo>
                      <a:pt x="1050925" y="1831975"/>
                    </a:lnTo>
                    <a:lnTo>
                      <a:pt x="1031875" y="1831975"/>
                    </a:lnTo>
                    <a:lnTo>
                      <a:pt x="1031875" y="1676400"/>
                    </a:lnTo>
                    <a:lnTo>
                      <a:pt x="1009650" y="1676400"/>
                    </a:lnTo>
                    <a:lnTo>
                      <a:pt x="1009650" y="1581150"/>
                    </a:lnTo>
                    <a:lnTo>
                      <a:pt x="993775" y="1581150"/>
                    </a:lnTo>
                    <a:lnTo>
                      <a:pt x="993775" y="1546225"/>
                    </a:lnTo>
                    <a:lnTo>
                      <a:pt x="981075" y="1546225"/>
                    </a:lnTo>
                    <a:lnTo>
                      <a:pt x="981075" y="1473200"/>
                    </a:lnTo>
                    <a:lnTo>
                      <a:pt x="962025" y="1473200"/>
                    </a:lnTo>
                    <a:lnTo>
                      <a:pt x="962025" y="1339850"/>
                    </a:lnTo>
                    <a:lnTo>
                      <a:pt x="920750" y="1339850"/>
                    </a:lnTo>
                    <a:lnTo>
                      <a:pt x="920750" y="1298575"/>
                    </a:lnTo>
                    <a:lnTo>
                      <a:pt x="847725" y="1298575"/>
                    </a:lnTo>
                    <a:lnTo>
                      <a:pt x="847725" y="1266825"/>
                    </a:lnTo>
                    <a:lnTo>
                      <a:pt x="819150" y="1266825"/>
                    </a:lnTo>
                    <a:lnTo>
                      <a:pt x="819150" y="1244600"/>
                    </a:lnTo>
                    <a:lnTo>
                      <a:pt x="771525" y="1244600"/>
                    </a:lnTo>
                    <a:lnTo>
                      <a:pt x="771525" y="1222375"/>
                    </a:lnTo>
                    <a:lnTo>
                      <a:pt x="673100" y="1222375"/>
                    </a:lnTo>
                    <a:lnTo>
                      <a:pt x="673100" y="1203325"/>
                    </a:lnTo>
                    <a:lnTo>
                      <a:pt x="644525" y="1203325"/>
                    </a:lnTo>
                    <a:lnTo>
                      <a:pt x="644525" y="1203325"/>
                    </a:lnTo>
                    <a:lnTo>
                      <a:pt x="590550" y="1203325"/>
                    </a:lnTo>
                    <a:lnTo>
                      <a:pt x="590550" y="1146175"/>
                    </a:lnTo>
                    <a:lnTo>
                      <a:pt x="549275" y="1146175"/>
                    </a:lnTo>
                    <a:lnTo>
                      <a:pt x="549275" y="1123950"/>
                    </a:lnTo>
                    <a:lnTo>
                      <a:pt x="549275" y="1123950"/>
                    </a:lnTo>
                    <a:lnTo>
                      <a:pt x="527050" y="1101725"/>
                    </a:lnTo>
                    <a:lnTo>
                      <a:pt x="527050" y="1101725"/>
                    </a:lnTo>
                    <a:lnTo>
                      <a:pt x="508000" y="1101725"/>
                    </a:lnTo>
                    <a:lnTo>
                      <a:pt x="508000" y="1003300"/>
                    </a:lnTo>
                    <a:lnTo>
                      <a:pt x="495300" y="1003300"/>
                    </a:lnTo>
                    <a:lnTo>
                      <a:pt x="495300" y="806450"/>
                    </a:lnTo>
                    <a:lnTo>
                      <a:pt x="460375" y="806450"/>
                    </a:lnTo>
                    <a:lnTo>
                      <a:pt x="460375" y="276225"/>
                    </a:lnTo>
                    <a:lnTo>
                      <a:pt x="444500" y="276225"/>
                    </a:lnTo>
                    <a:lnTo>
                      <a:pt x="444500" y="238125"/>
                    </a:lnTo>
                    <a:lnTo>
                      <a:pt x="428625" y="238125"/>
                    </a:lnTo>
                    <a:lnTo>
                      <a:pt x="428625" y="187325"/>
                    </a:lnTo>
                    <a:lnTo>
                      <a:pt x="365125" y="187325"/>
                    </a:lnTo>
                    <a:lnTo>
                      <a:pt x="365125" y="130175"/>
                    </a:lnTo>
                    <a:lnTo>
                      <a:pt x="311150" y="130175"/>
                    </a:lnTo>
                    <a:lnTo>
                      <a:pt x="311150" y="95250"/>
                    </a:lnTo>
                    <a:lnTo>
                      <a:pt x="263525" y="95250"/>
                    </a:lnTo>
                    <a:lnTo>
                      <a:pt x="263525" y="73025"/>
                    </a:lnTo>
                    <a:lnTo>
                      <a:pt x="231775" y="73025"/>
                    </a:lnTo>
                    <a:lnTo>
                      <a:pt x="231775" y="41275"/>
                    </a:lnTo>
                    <a:lnTo>
                      <a:pt x="177800" y="41275"/>
                    </a:lnTo>
                    <a:lnTo>
                      <a:pt x="177800" y="12700"/>
                    </a:lnTo>
                    <a:lnTo>
                      <a:pt x="123825" y="12700"/>
                    </a:lnTo>
                    <a:lnTo>
                      <a:pt x="123825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E53B710A-C29F-404D-830B-8E6208CE0B8C}"/>
                </a:ext>
              </a:extLst>
            </p:cNvPr>
            <p:cNvGrpSpPr/>
            <p:nvPr/>
          </p:nvGrpSpPr>
          <p:grpSpPr>
            <a:xfrm>
              <a:off x="3298825" y="1895475"/>
              <a:ext cx="5244997" cy="2737631"/>
              <a:chOff x="3298825" y="1895475"/>
              <a:chExt cx="5244997" cy="2737631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87432283-20DE-724D-A2F8-EEC51AA4144C}"/>
                  </a:ext>
                </a:extLst>
              </p:cNvPr>
              <p:cNvGrpSpPr/>
              <p:nvPr/>
            </p:nvGrpSpPr>
            <p:grpSpPr>
              <a:xfrm>
                <a:off x="3724055" y="2087759"/>
                <a:ext cx="4819767" cy="2545347"/>
                <a:chOff x="3724055" y="2090609"/>
                <a:chExt cx="4819767" cy="2545347"/>
              </a:xfrm>
            </p:grpSpPr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14AF50EC-E4A8-0C4F-88F1-CB67C15DC9E9}"/>
                    </a:ext>
                  </a:extLst>
                </p:cNvPr>
                <p:cNvSpPr/>
                <p:nvPr/>
              </p:nvSpPr>
              <p:spPr bwMode="auto">
                <a:xfrm>
                  <a:off x="3724055" y="20906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B0AA8CF2-B55E-B642-B2C7-0A417D8A2AF6}"/>
                    </a:ext>
                  </a:extLst>
                </p:cNvPr>
                <p:cNvSpPr/>
                <p:nvPr/>
              </p:nvSpPr>
              <p:spPr bwMode="auto">
                <a:xfrm>
                  <a:off x="3736755" y="22017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2827A577-777C-C542-979E-724EA13F1E01}"/>
                    </a:ext>
                  </a:extLst>
                </p:cNvPr>
                <p:cNvSpPr/>
                <p:nvPr/>
              </p:nvSpPr>
              <p:spPr bwMode="auto">
                <a:xfrm>
                  <a:off x="3765330" y="23287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1E4DBD26-FB8B-3045-BB86-8C090350086C}"/>
                    </a:ext>
                  </a:extLst>
                </p:cNvPr>
                <p:cNvSpPr/>
                <p:nvPr/>
              </p:nvSpPr>
              <p:spPr bwMode="auto">
                <a:xfrm>
                  <a:off x="3765330" y="24081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3AE9F214-3782-1D43-B359-13C16E1999B1}"/>
                    </a:ext>
                  </a:extLst>
                </p:cNvPr>
                <p:cNvSpPr/>
                <p:nvPr/>
              </p:nvSpPr>
              <p:spPr bwMode="auto">
                <a:xfrm>
                  <a:off x="3939955" y="252558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F9C273C9-8FD8-8D4A-A2DC-4F5330759849}"/>
                    </a:ext>
                  </a:extLst>
                </p:cNvPr>
                <p:cNvSpPr/>
                <p:nvPr/>
              </p:nvSpPr>
              <p:spPr bwMode="auto">
                <a:xfrm>
                  <a:off x="4279680" y="27827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Oval 217">
                  <a:extLst>
                    <a:ext uri="{FF2B5EF4-FFF2-40B4-BE49-F238E27FC236}">
                      <a16:creationId xmlns:a16="http://schemas.microsoft.com/office/drawing/2014/main" id="{09A5417B-9945-004D-8F3D-B8A6C98D583D}"/>
                    </a:ext>
                  </a:extLst>
                </p:cNvPr>
                <p:cNvSpPr/>
                <p:nvPr/>
              </p:nvSpPr>
              <p:spPr bwMode="auto">
                <a:xfrm>
                  <a:off x="4311430" y="28653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Oval 218">
                  <a:extLst>
                    <a:ext uri="{FF2B5EF4-FFF2-40B4-BE49-F238E27FC236}">
                      <a16:creationId xmlns:a16="http://schemas.microsoft.com/office/drawing/2014/main" id="{9EE1B98E-2192-5846-92A4-4F68BABCCD24}"/>
                    </a:ext>
                  </a:extLst>
                </p:cNvPr>
                <p:cNvSpPr/>
                <p:nvPr/>
              </p:nvSpPr>
              <p:spPr bwMode="auto">
                <a:xfrm>
                  <a:off x="4359055" y="29097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Oval 219">
                  <a:extLst>
                    <a:ext uri="{FF2B5EF4-FFF2-40B4-BE49-F238E27FC236}">
                      <a16:creationId xmlns:a16="http://schemas.microsoft.com/office/drawing/2014/main" id="{58988EC2-7ECE-8745-A7FC-06AAA69E865C}"/>
                    </a:ext>
                  </a:extLst>
                </p:cNvPr>
                <p:cNvSpPr/>
                <p:nvPr/>
              </p:nvSpPr>
              <p:spPr bwMode="auto">
                <a:xfrm>
                  <a:off x="4587655" y="290658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Oval 220">
                  <a:extLst>
                    <a:ext uri="{FF2B5EF4-FFF2-40B4-BE49-F238E27FC236}">
                      <a16:creationId xmlns:a16="http://schemas.microsoft.com/office/drawing/2014/main" id="{1D302D4E-84B1-844B-AD6E-077846D6ED14}"/>
                    </a:ext>
                  </a:extLst>
                </p:cNvPr>
                <p:cNvSpPr/>
                <p:nvPr/>
              </p:nvSpPr>
              <p:spPr bwMode="auto">
                <a:xfrm>
                  <a:off x="4765455" y="30558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Oval 221">
                  <a:extLst>
                    <a:ext uri="{FF2B5EF4-FFF2-40B4-BE49-F238E27FC236}">
                      <a16:creationId xmlns:a16="http://schemas.microsoft.com/office/drawing/2014/main" id="{70CAAB65-BCEB-7F46-96F5-D8725531D5F0}"/>
                    </a:ext>
                  </a:extLst>
                </p:cNvPr>
                <p:cNvSpPr/>
                <p:nvPr/>
              </p:nvSpPr>
              <p:spPr bwMode="auto">
                <a:xfrm>
                  <a:off x="4781330" y="31129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Oval 222">
                  <a:extLst>
                    <a:ext uri="{FF2B5EF4-FFF2-40B4-BE49-F238E27FC236}">
                      <a16:creationId xmlns:a16="http://schemas.microsoft.com/office/drawing/2014/main" id="{F07D54E0-60FD-514D-80EC-1D15D3E2B6E5}"/>
                    </a:ext>
                  </a:extLst>
                </p:cNvPr>
                <p:cNvSpPr/>
                <p:nvPr/>
              </p:nvSpPr>
              <p:spPr bwMode="auto">
                <a:xfrm>
                  <a:off x="4806730" y="318598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Oval 223">
                  <a:extLst>
                    <a:ext uri="{FF2B5EF4-FFF2-40B4-BE49-F238E27FC236}">
                      <a16:creationId xmlns:a16="http://schemas.microsoft.com/office/drawing/2014/main" id="{6759C5B0-F38B-644F-83A4-16BEE799455F}"/>
                    </a:ext>
                  </a:extLst>
                </p:cNvPr>
                <p:cNvSpPr/>
                <p:nvPr/>
              </p:nvSpPr>
              <p:spPr bwMode="auto">
                <a:xfrm>
                  <a:off x="4873405" y="33066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Oval 224">
                  <a:extLst>
                    <a:ext uri="{FF2B5EF4-FFF2-40B4-BE49-F238E27FC236}">
                      <a16:creationId xmlns:a16="http://schemas.microsoft.com/office/drawing/2014/main" id="{5DC7C2DF-56B3-F84E-9C2F-2AF99BB66DB4}"/>
                    </a:ext>
                  </a:extLst>
                </p:cNvPr>
                <p:cNvSpPr/>
                <p:nvPr/>
              </p:nvSpPr>
              <p:spPr bwMode="auto">
                <a:xfrm>
                  <a:off x="4905155" y="33098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Oval 225">
                  <a:extLst>
                    <a:ext uri="{FF2B5EF4-FFF2-40B4-BE49-F238E27FC236}">
                      <a16:creationId xmlns:a16="http://schemas.microsoft.com/office/drawing/2014/main" id="{F4B37938-A109-6647-AA58-AA76B9B20F55}"/>
                    </a:ext>
                  </a:extLst>
                </p:cNvPr>
                <p:cNvSpPr/>
                <p:nvPr/>
              </p:nvSpPr>
              <p:spPr bwMode="auto">
                <a:xfrm>
                  <a:off x="5168680" y="33574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Oval 226">
                  <a:extLst>
                    <a:ext uri="{FF2B5EF4-FFF2-40B4-BE49-F238E27FC236}">
                      <a16:creationId xmlns:a16="http://schemas.microsoft.com/office/drawing/2014/main" id="{8E0078D9-52EF-5C45-AFE0-6D3C2AAD865C}"/>
                    </a:ext>
                  </a:extLst>
                </p:cNvPr>
                <p:cNvSpPr/>
                <p:nvPr/>
              </p:nvSpPr>
              <p:spPr bwMode="auto">
                <a:xfrm>
                  <a:off x="5289330" y="34463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Oval 227">
                  <a:extLst>
                    <a:ext uri="{FF2B5EF4-FFF2-40B4-BE49-F238E27FC236}">
                      <a16:creationId xmlns:a16="http://schemas.microsoft.com/office/drawing/2014/main" id="{3860B896-FD22-E946-ADBE-6D34671468A4}"/>
                    </a:ext>
                  </a:extLst>
                </p:cNvPr>
                <p:cNvSpPr/>
                <p:nvPr/>
              </p:nvSpPr>
              <p:spPr bwMode="auto">
                <a:xfrm>
                  <a:off x="5314730" y="35479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9" name="Oval 228">
                  <a:extLst>
                    <a:ext uri="{FF2B5EF4-FFF2-40B4-BE49-F238E27FC236}">
                      <a16:creationId xmlns:a16="http://schemas.microsoft.com/office/drawing/2014/main" id="{299C986F-840F-DB49-ACD7-86B6116576A9}"/>
                    </a:ext>
                  </a:extLst>
                </p:cNvPr>
                <p:cNvSpPr/>
                <p:nvPr/>
              </p:nvSpPr>
              <p:spPr bwMode="auto">
                <a:xfrm>
                  <a:off x="5324255" y="36368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0" name="Oval 229">
                  <a:extLst>
                    <a:ext uri="{FF2B5EF4-FFF2-40B4-BE49-F238E27FC236}">
                      <a16:creationId xmlns:a16="http://schemas.microsoft.com/office/drawing/2014/main" id="{DBE83C30-CBBF-B64F-991A-43809854F448}"/>
                    </a:ext>
                  </a:extLst>
                </p:cNvPr>
                <p:cNvSpPr/>
                <p:nvPr/>
              </p:nvSpPr>
              <p:spPr bwMode="auto">
                <a:xfrm>
                  <a:off x="5359180" y="36400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1" name="Oval 230">
                  <a:extLst>
                    <a:ext uri="{FF2B5EF4-FFF2-40B4-BE49-F238E27FC236}">
                      <a16:creationId xmlns:a16="http://schemas.microsoft.com/office/drawing/2014/main" id="{2F298577-C2BA-B247-A7CF-CEA272439126}"/>
                    </a:ext>
                  </a:extLst>
                </p:cNvPr>
                <p:cNvSpPr/>
                <p:nvPr/>
              </p:nvSpPr>
              <p:spPr bwMode="auto">
                <a:xfrm>
                  <a:off x="5387755" y="36400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2" name="Oval 231">
                  <a:extLst>
                    <a:ext uri="{FF2B5EF4-FFF2-40B4-BE49-F238E27FC236}">
                      <a16:creationId xmlns:a16="http://schemas.microsoft.com/office/drawing/2014/main" id="{4DC6DAF2-B3D5-AD43-BE60-0EA3911BCE22}"/>
                    </a:ext>
                  </a:extLst>
                </p:cNvPr>
                <p:cNvSpPr/>
                <p:nvPr/>
              </p:nvSpPr>
              <p:spPr bwMode="auto">
                <a:xfrm>
                  <a:off x="5590955" y="36971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3" name="Oval 232">
                  <a:extLst>
                    <a:ext uri="{FF2B5EF4-FFF2-40B4-BE49-F238E27FC236}">
                      <a16:creationId xmlns:a16="http://schemas.microsoft.com/office/drawing/2014/main" id="{5EBBE62F-9C4C-2346-982B-407E90F2691C}"/>
                    </a:ext>
                  </a:extLst>
                </p:cNvPr>
                <p:cNvSpPr/>
                <p:nvPr/>
              </p:nvSpPr>
              <p:spPr bwMode="auto">
                <a:xfrm>
                  <a:off x="5784630" y="37352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4" name="Oval 233">
                  <a:extLst>
                    <a:ext uri="{FF2B5EF4-FFF2-40B4-BE49-F238E27FC236}">
                      <a16:creationId xmlns:a16="http://schemas.microsoft.com/office/drawing/2014/main" id="{57F68E59-59AE-F741-827A-772DBCA2F41F}"/>
                    </a:ext>
                  </a:extLst>
                </p:cNvPr>
                <p:cNvSpPr/>
                <p:nvPr/>
              </p:nvSpPr>
              <p:spPr bwMode="auto">
                <a:xfrm>
                  <a:off x="5829080" y="37987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5" name="Oval 234">
                  <a:extLst>
                    <a:ext uri="{FF2B5EF4-FFF2-40B4-BE49-F238E27FC236}">
                      <a16:creationId xmlns:a16="http://schemas.microsoft.com/office/drawing/2014/main" id="{C0684595-6084-E547-AC32-65701187E7CC}"/>
                    </a:ext>
                  </a:extLst>
                </p:cNvPr>
                <p:cNvSpPr/>
                <p:nvPr/>
              </p:nvSpPr>
              <p:spPr bwMode="auto">
                <a:xfrm>
                  <a:off x="5860830" y="38051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6" name="Oval 235">
                  <a:extLst>
                    <a:ext uri="{FF2B5EF4-FFF2-40B4-BE49-F238E27FC236}">
                      <a16:creationId xmlns:a16="http://schemas.microsoft.com/office/drawing/2014/main" id="{687726C6-2DF9-D144-A6CD-944DB23733AF}"/>
                    </a:ext>
                  </a:extLst>
                </p:cNvPr>
                <p:cNvSpPr/>
                <p:nvPr/>
              </p:nvSpPr>
              <p:spPr bwMode="auto">
                <a:xfrm>
                  <a:off x="5895755" y="38527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7" name="Oval 236">
                  <a:extLst>
                    <a:ext uri="{FF2B5EF4-FFF2-40B4-BE49-F238E27FC236}">
                      <a16:creationId xmlns:a16="http://schemas.microsoft.com/office/drawing/2014/main" id="{037AFB4C-439C-6140-85F9-4B5A4528A373}"/>
                    </a:ext>
                  </a:extLst>
                </p:cNvPr>
                <p:cNvSpPr/>
                <p:nvPr/>
              </p:nvSpPr>
              <p:spPr bwMode="auto">
                <a:xfrm>
                  <a:off x="6346605" y="39829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8" name="Oval 237">
                  <a:extLst>
                    <a:ext uri="{FF2B5EF4-FFF2-40B4-BE49-F238E27FC236}">
                      <a16:creationId xmlns:a16="http://schemas.microsoft.com/office/drawing/2014/main" id="{1D966231-DB73-824E-8C16-D38190302558}"/>
                    </a:ext>
                  </a:extLst>
                </p:cNvPr>
                <p:cNvSpPr/>
                <p:nvPr/>
              </p:nvSpPr>
              <p:spPr bwMode="auto">
                <a:xfrm>
                  <a:off x="6384705" y="40210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9" name="Oval 238">
                  <a:extLst>
                    <a:ext uri="{FF2B5EF4-FFF2-40B4-BE49-F238E27FC236}">
                      <a16:creationId xmlns:a16="http://schemas.microsoft.com/office/drawing/2014/main" id="{FC1DE416-8926-B94E-A9F5-43D2D8160E2D}"/>
                    </a:ext>
                  </a:extLst>
                </p:cNvPr>
                <p:cNvSpPr/>
                <p:nvPr/>
              </p:nvSpPr>
              <p:spPr bwMode="auto">
                <a:xfrm>
                  <a:off x="6416455" y="40559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0" name="Oval 239">
                  <a:extLst>
                    <a:ext uri="{FF2B5EF4-FFF2-40B4-BE49-F238E27FC236}">
                      <a16:creationId xmlns:a16="http://schemas.microsoft.com/office/drawing/2014/main" id="{B566507E-4E89-BC43-9F4B-DC172046E0D7}"/>
                    </a:ext>
                  </a:extLst>
                </p:cNvPr>
                <p:cNvSpPr/>
                <p:nvPr/>
              </p:nvSpPr>
              <p:spPr bwMode="auto">
                <a:xfrm>
                  <a:off x="6810155" y="41067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1" name="Oval 240">
                  <a:extLst>
                    <a:ext uri="{FF2B5EF4-FFF2-40B4-BE49-F238E27FC236}">
                      <a16:creationId xmlns:a16="http://schemas.microsoft.com/office/drawing/2014/main" id="{912EFDB3-ADFD-CA4E-9B0E-9C685FB96DB1}"/>
                    </a:ext>
                  </a:extLst>
                </p:cNvPr>
                <p:cNvSpPr/>
                <p:nvPr/>
              </p:nvSpPr>
              <p:spPr bwMode="auto">
                <a:xfrm>
                  <a:off x="6838730" y="41099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7883B3D7-2345-7F4C-969D-280CDF4EFD19}"/>
                    </a:ext>
                  </a:extLst>
                </p:cNvPr>
                <p:cNvSpPr/>
                <p:nvPr/>
              </p:nvSpPr>
              <p:spPr bwMode="auto">
                <a:xfrm>
                  <a:off x="6921280" y="41035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3" name="Oval 242">
                  <a:extLst>
                    <a:ext uri="{FF2B5EF4-FFF2-40B4-BE49-F238E27FC236}">
                      <a16:creationId xmlns:a16="http://schemas.microsoft.com/office/drawing/2014/main" id="{5E0C43EC-1438-7842-AF17-85A2247976E0}"/>
                    </a:ext>
                  </a:extLst>
                </p:cNvPr>
                <p:cNvSpPr/>
                <p:nvPr/>
              </p:nvSpPr>
              <p:spPr bwMode="auto">
                <a:xfrm>
                  <a:off x="6959380" y="41575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4" name="Oval 243">
                  <a:extLst>
                    <a:ext uri="{FF2B5EF4-FFF2-40B4-BE49-F238E27FC236}">
                      <a16:creationId xmlns:a16="http://schemas.microsoft.com/office/drawing/2014/main" id="{6E2BAAF2-055E-0746-AD32-FA4A5F0DF8CE}"/>
                    </a:ext>
                  </a:extLst>
                </p:cNvPr>
                <p:cNvSpPr/>
                <p:nvPr/>
              </p:nvSpPr>
              <p:spPr bwMode="auto">
                <a:xfrm>
                  <a:off x="7102255" y="42051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5" name="Oval 244">
                  <a:extLst>
                    <a:ext uri="{FF2B5EF4-FFF2-40B4-BE49-F238E27FC236}">
                      <a16:creationId xmlns:a16="http://schemas.microsoft.com/office/drawing/2014/main" id="{13BFFB45-ECCF-7749-A082-FC704DFD827A}"/>
                    </a:ext>
                  </a:extLst>
                </p:cNvPr>
                <p:cNvSpPr/>
                <p:nvPr/>
              </p:nvSpPr>
              <p:spPr bwMode="auto">
                <a:xfrm>
                  <a:off x="7314980" y="422420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6" name="Oval 245">
                  <a:extLst>
                    <a:ext uri="{FF2B5EF4-FFF2-40B4-BE49-F238E27FC236}">
                      <a16:creationId xmlns:a16="http://schemas.microsoft.com/office/drawing/2014/main" id="{E9C4499A-73FE-2A4E-9822-EA321AE62D69}"/>
                    </a:ext>
                  </a:extLst>
                </p:cNvPr>
                <p:cNvSpPr/>
                <p:nvPr/>
              </p:nvSpPr>
              <p:spPr bwMode="auto">
                <a:xfrm>
                  <a:off x="7388005" y="42813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Oval 246">
                  <a:extLst>
                    <a:ext uri="{FF2B5EF4-FFF2-40B4-BE49-F238E27FC236}">
                      <a16:creationId xmlns:a16="http://schemas.microsoft.com/office/drawing/2014/main" id="{FBC75FDF-9EE6-384A-B524-8B0FDDDFE3D5}"/>
                    </a:ext>
                  </a:extLst>
                </p:cNvPr>
                <p:cNvSpPr/>
                <p:nvPr/>
              </p:nvSpPr>
              <p:spPr bwMode="auto">
                <a:xfrm>
                  <a:off x="7432455" y="43226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id="{0DF0EFE7-3C30-C74B-AFCA-EE7B493B8DED}"/>
                    </a:ext>
                  </a:extLst>
                </p:cNvPr>
                <p:cNvSpPr/>
                <p:nvPr/>
              </p:nvSpPr>
              <p:spPr bwMode="auto">
                <a:xfrm>
                  <a:off x="7873780" y="43956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9" name="Oval 248">
                  <a:extLst>
                    <a:ext uri="{FF2B5EF4-FFF2-40B4-BE49-F238E27FC236}">
                      <a16:creationId xmlns:a16="http://schemas.microsoft.com/office/drawing/2014/main" id="{2079FC86-1ECC-3542-AB90-B562B0AADF79}"/>
                    </a:ext>
                  </a:extLst>
                </p:cNvPr>
                <p:cNvSpPr/>
                <p:nvPr/>
              </p:nvSpPr>
              <p:spPr bwMode="auto">
                <a:xfrm>
                  <a:off x="7927755" y="44337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0" name="Oval 249">
                  <a:extLst>
                    <a:ext uri="{FF2B5EF4-FFF2-40B4-BE49-F238E27FC236}">
                      <a16:creationId xmlns:a16="http://schemas.microsoft.com/office/drawing/2014/main" id="{F7BA2C6D-FAA3-7F44-9EF2-1EB1272A532C}"/>
                    </a:ext>
                  </a:extLst>
                </p:cNvPr>
                <p:cNvSpPr/>
                <p:nvPr/>
              </p:nvSpPr>
              <p:spPr bwMode="auto">
                <a:xfrm>
                  <a:off x="7988080" y="443693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1" name="Oval 250">
                  <a:extLst>
                    <a:ext uri="{FF2B5EF4-FFF2-40B4-BE49-F238E27FC236}">
                      <a16:creationId xmlns:a16="http://schemas.microsoft.com/office/drawing/2014/main" id="{609A7A6E-1C18-9C4B-929B-6D019F621982}"/>
                    </a:ext>
                  </a:extLst>
                </p:cNvPr>
                <p:cNvSpPr/>
                <p:nvPr/>
              </p:nvSpPr>
              <p:spPr bwMode="auto">
                <a:xfrm>
                  <a:off x="8391305" y="4544884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2" name="Oval 251">
                  <a:extLst>
                    <a:ext uri="{FF2B5EF4-FFF2-40B4-BE49-F238E27FC236}">
                      <a16:creationId xmlns:a16="http://schemas.microsoft.com/office/drawing/2014/main" id="{EECC630F-9DF2-E24F-99E0-5D6331D37E95}"/>
                    </a:ext>
                  </a:extLst>
                </p:cNvPr>
                <p:cNvSpPr/>
                <p:nvPr/>
              </p:nvSpPr>
              <p:spPr bwMode="auto">
                <a:xfrm>
                  <a:off x="8461155" y="4548059"/>
                  <a:ext cx="82667" cy="87897"/>
                </a:xfrm>
                <a:prstGeom prst="ellipse">
                  <a:avLst/>
                </a:pr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62" name="Group 261">
                <a:extLst>
                  <a:ext uri="{FF2B5EF4-FFF2-40B4-BE49-F238E27FC236}">
                    <a16:creationId xmlns:a16="http://schemas.microsoft.com/office/drawing/2014/main" id="{D354273E-E1B1-2D43-968F-DEEBA3C14347}"/>
                  </a:ext>
                </a:extLst>
              </p:cNvPr>
              <p:cNvGrpSpPr/>
              <p:nvPr/>
            </p:nvGrpSpPr>
            <p:grpSpPr>
              <a:xfrm>
                <a:off x="3298825" y="1895475"/>
                <a:ext cx="5200650" cy="2682875"/>
                <a:chOff x="3298825" y="1895475"/>
                <a:chExt cx="5200650" cy="2682875"/>
              </a:xfrm>
            </p:grpSpPr>
            <p:sp>
              <p:nvSpPr>
                <p:cNvPr id="253" name="Freeform 252">
                  <a:extLst>
                    <a:ext uri="{FF2B5EF4-FFF2-40B4-BE49-F238E27FC236}">
                      <a16:creationId xmlns:a16="http://schemas.microsoft.com/office/drawing/2014/main" id="{883D37F5-C61D-7B4C-9ED1-A4A5B2AB30D6}"/>
                    </a:ext>
                  </a:extLst>
                </p:cNvPr>
                <p:cNvSpPr/>
                <p:nvPr/>
              </p:nvSpPr>
              <p:spPr bwMode="auto">
                <a:xfrm>
                  <a:off x="5378450" y="3606800"/>
                  <a:ext cx="3121025" cy="971550"/>
                </a:xfrm>
                <a:custGeom>
                  <a:avLst/>
                  <a:gdLst>
                    <a:gd name="connsiteX0" fmla="*/ 3121025 w 3121025"/>
                    <a:gd name="connsiteY0" fmla="*/ 971550 h 971550"/>
                    <a:gd name="connsiteX1" fmla="*/ 2765425 w 3121025"/>
                    <a:gd name="connsiteY1" fmla="*/ 971550 h 971550"/>
                    <a:gd name="connsiteX2" fmla="*/ 2765425 w 3121025"/>
                    <a:gd name="connsiteY2" fmla="*/ 889000 h 971550"/>
                    <a:gd name="connsiteX3" fmla="*/ 2555875 w 3121025"/>
                    <a:gd name="connsiteY3" fmla="*/ 889000 h 971550"/>
                    <a:gd name="connsiteX4" fmla="*/ 2555875 w 3121025"/>
                    <a:gd name="connsiteY4" fmla="*/ 796925 h 971550"/>
                    <a:gd name="connsiteX5" fmla="*/ 2460625 w 3121025"/>
                    <a:gd name="connsiteY5" fmla="*/ 796925 h 971550"/>
                    <a:gd name="connsiteX6" fmla="*/ 2460625 w 3121025"/>
                    <a:gd name="connsiteY6" fmla="*/ 755650 h 971550"/>
                    <a:gd name="connsiteX7" fmla="*/ 2063750 w 3121025"/>
                    <a:gd name="connsiteY7" fmla="*/ 755650 h 971550"/>
                    <a:gd name="connsiteX8" fmla="*/ 2063750 w 3121025"/>
                    <a:gd name="connsiteY8" fmla="*/ 717550 h 971550"/>
                    <a:gd name="connsiteX9" fmla="*/ 2022475 w 3121025"/>
                    <a:gd name="connsiteY9" fmla="*/ 717550 h 971550"/>
                    <a:gd name="connsiteX10" fmla="*/ 2022475 w 3121025"/>
                    <a:gd name="connsiteY10" fmla="*/ 666750 h 971550"/>
                    <a:gd name="connsiteX11" fmla="*/ 1965325 w 3121025"/>
                    <a:gd name="connsiteY11" fmla="*/ 666750 h 971550"/>
                    <a:gd name="connsiteX12" fmla="*/ 1965325 w 3121025"/>
                    <a:gd name="connsiteY12" fmla="*/ 638175 h 971550"/>
                    <a:gd name="connsiteX13" fmla="*/ 1746250 w 3121025"/>
                    <a:gd name="connsiteY13" fmla="*/ 638175 h 971550"/>
                    <a:gd name="connsiteX14" fmla="*/ 1746250 w 3121025"/>
                    <a:gd name="connsiteY14" fmla="*/ 596900 h 971550"/>
                    <a:gd name="connsiteX15" fmla="*/ 1600200 w 3121025"/>
                    <a:gd name="connsiteY15" fmla="*/ 596900 h 971550"/>
                    <a:gd name="connsiteX16" fmla="*/ 1600200 w 3121025"/>
                    <a:gd name="connsiteY16" fmla="*/ 542925 h 971550"/>
                    <a:gd name="connsiteX17" fmla="*/ 1304925 w 3121025"/>
                    <a:gd name="connsiteY17" fmla="*/ 542925 h 971550"/>
                    <a:gd name="connsiteX18" fmla="*/ 1304925 w 3121025"/>
                    <a:gd name="connsiteY18" fmla="*/ 527050 h 971550"/>
                    <a:gd name="connsiteX19" fmla="*/ 1123950 w 3121025"/>
                    <a:gd name="connsiteY19" fmla="*/ 527050 h 971550"/>
                    <a:gd name="connsiteX20" fmla="*/ 1123950 w 3121025"/>
                    <a:gd name="connsiteY20" fmla="*/ 485775 h 971550"/>
                    <a:gd name="connsiteX21" fmla="*/ 1069975 w 3121025"/>
                    <a:gd name="connsiteY21" fmla="*/ 485775 h 971550"/>
                    <a:gd name="connsiteX22" fmla="*/ 1069975 w 3121025"/>
                    <a:gd name="connsiteY22" fmla="*/ 444500 h 971550"/>
                    <a:gd name="connsiteX23" fmla="*/ 1025525 w 3121025"/>
                    <a:gd name="connsiteY23" fmla="*/ 444500 h 971550"/>
                    <a:gd name="connsiteX24" fmla="*/ 1025525 w 3121025"/>
                    <a:gd name="connsiteY24" fmla="*/ 409575 h 971550"/>
                    <a:gd name="connsiteX25" fmla="*/ 1000125 w 3121025"/>
                    <a:gd name="connsiteY25" fmla="*/ 409575 h 971550"/>
                    <a:gd name="connsiteX26" fmla="*/ 1000125 w 3121025"/>
                    <a:gd name="connsiteY26" fmla="*/ 384175 h 971550"/>
                    <a:gd name="connsiteX27" fmla="*/ 958850 w 3121025"/>
                    <a:gd name="connsiteY27" fmla="*/ 384175 h 971550"/>
                    <a:gd name="connsiteX28" fmla="*/ 958850 w 3121025"/>
                    <a:gd name="connsiteY28" fmla="*/ 352425 h 971550"/>
                    <a:gd name="connsiteX29" fmla="*/ 831850 w 3121025"/>
                    <a:gd name="connsiteY29" fmla="*/ 352425 h 971550"/>
                    <a:gd name="connsiteX30" fmla="*/ 831850 w 3121025"/>
                    <a:gd name="connsiteY30" fmla="*/ 339725 h 971550"/>
                    <a:gd name="connsiteX31" fmla="*/ 768350 w 3121025"/>
                    <a:gd name="connsiteY31" fmla="*/ 339725 h 971550"/>
                    <a:gd name="connsiteX32" fmla="*/ 768350 w 3121025"/>
                    <a:gd name="connsiteY32" fmla="*/ 317500 h 971550"/>
                    <a:gd name="connsiteX33" fmla="*/ 669925 w 3121025"/>
                    <a:gd name="connsiteY33" fmla="*/ 317500 h 971550"/>
                    <a:gd name="connsiteX34" fmla="*/ 669925 w 3121025"/>
                    <a:gd name="connsiteY34" fmla="*/ 295275 h 971550"/>
                    <a:gd name="connsiteX35" fmla="*/ 587375 w 3121025"/>
                    <a:gd name="connsiteY35" fmla="*/ 295275 h 971550"/>
                    <a:gd name="connsiteX36" fmla="*/ 587375 w 3121025"/>
                    <a:gd name="connsiteY36" fmla="*/ 276225 h 971550"/>
                    <a:gd name="connsiteX37" fmla="*/ 549275 w 3121025"/>
                    <a:gd name="connsiteY37" fmla="*/ 276225 h 971550"/>
                    <a:gd name="connsiteX38" fmla="*/ 549275 w 3121025"/>
                    <a:gd name="connsiteY38" fmla="*/ 250825 h 971550"/>
                    <a:gd name="connsiteX39" fmla="*/ 498475 w 3121025"/>
                    <a:gd name="connsiteY39" fmla="*/ 250825 h 971550"/>
                    <a:gd name="connsiteX40" fmla="*/ 498475 w 3121025"/>
                    <a:gd name="connsiteY40" fmla="*/ 212725 h 971550"/>
                    <a:gd name="connsiteX41" fmla="*/ 457200 w 3121025"/>
                    <a:gd name="connsiteY41" fmla="*/ 212725 h 971550"/>
                    <a:gd name="connsiteX42" fmla="*/ 457200 w 3121025"/>
                    <a:gd name="connsiteY42" fmla="*/ 177800 h 971550"/>
                    <a:gd name="connsiteX43" fmla="*/ 434975 w 3121025"/>
                    <a:gd name="connsiteY43" fmla="*/ 177800 h 971550"/>
                    <a:gd name="connsiteX44" fmla="*/ 434975 w 3121025"/>
                    <a:gd name="connsiteY44" fmla="*/ 155575 h 971550"/>
                    <a:gd name="connsiteX45" fmla="*/ 349250 w 3121025"/>
                    <a:gd name="connsiteY45" fmla="*/ 155575 h 971550"/>
                    <a:gd name="connsiteX46" fmla="*/ 349250 w 3121025"/>
                    <a:gd name="connsiteY46" fmla="*/ 123825 h 971550"/>
                    <a:gd name="connsiteX47" fmla="*/ 304800 w 3121025"/>
                    <a:gd name="connsiteY47" fmla="*/ 123825 h 971550"/>
                    <a:gd name="connsiteX48" fmla="*/ 95250 w 3121025"/>
                    <a:gd name="connsiteY48" fmla="*/ 123825 h 971550"/>
                    <a:gd name="connsiteX49" fmla="*/ 95250 w 3121025"/>
                    <a:gd name="connsiteY49" fmla="*/ 101600 h 971550"/>
                    <a:gd name="connsiteX50" fmla="*/ 50800 w 3121025"/>
                    <a:gd name="connsiteY50" fmla="*/ 101600 h 971550"/>
                    <a:gd name="connsiteX51" fmla="*/ 50800 w 3121025"/>
                    <a:gd name="connsiteY51" fmla="*/ 73025 h 971550"/>
                    <a:gd name="connsiteX52" fmla="*/ 0 w 3121025"/>
                    <a:gd name="connsiteY52" fmla="*/ 73025 h 971550"/>
                    <a:gd name="connsiteX53" fmla="*/ 0 w 3121025"/>
                    <a:gd name="connsiteY53" fmla="*/ 0 h 971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3121025" h="971550">
                      <a:moveTo>
                        <a:pt x="3121025" y="971550"/>
                      </a:moveTo>
                      <a:lnTo>
                        <a:pt x="2765425" y="971550"/>
                      </a:lnTo>
                      <a:lnTo>
                        <a:pt x="2765425" y="889000"/>
                      </a:lnTo>
                      <a:lnTo>
                        <a:pt x="2555875" y="889000"/>
                      </a:lnTo>
                      <a:lnTo>
                        <a:pt x="2555875" y="796925"/>
                      </a:lnTo>
                      <a:lnTo>
                        <a:pt x="2460625" y="796925"/>
                      </a:lnTo>
                      <a:lnTo>
                        <a:pt x="2460625" y="755650"/>
                      </a:lnTo>
                      <a:lnTo>
                        <a:pt x="2063750" y="755650"/>
                      </a:lnTo>
                      <a:lnTo>
                        <a:pt x="2063750" y="717550"/>
                      </a:lnTo>
                      <a:lnTo>
                        <a:pt x="2022475" y="717550"/>
                      </a:lnTo>
                      <a:lnTo>
                        <a:pt x="2022475" y="666750"/>
                      </a:lnTo>
                      <a:lnTo>
                        <a:pt x="1965325" y="666750"/>
                      </a:lnTo>
                      <a:lnTo>
                        <a:pt x="1965325" y="638175"/>
                      </a:lnTo>
                      <a:lnTo>
                        <a:pt x="1746250" y="638175"/>
                      </a:lnTo>
                      <a:lnTo>
                        <a:pt x="1746250" y="596900"/>
                      </a:lnTo>
                      <a:lnTo>
                        <a:pt x="1600200" y="596900"/>
                      </a:lnTo>
                      <a:lnTo>
                        <a:pt x="1600200" y="542925"/>
                      </a:lnTo>
                      <a:lnTo>
                        <a:pt x="1304925" y="542925"/>
                      </a:lnTo>
                      <a:lnTo>
                        <a:pt x="1304925" y="527050"/>
                      </a:lnTo>
                      <a:lnTo>
                        <a:pt x="1123950" y="527050"/>
                      </a:lnTo>
                      <a:lnTo>
                        <a:pt x="1123950" y="485775"/>
                      </a:lnTo>
                      <a:lnTo>
                        <a:pt x="1069975" y="485775"/>
                      </a:lnTo>
                      <a:lnTo>
                        <a:pt x="1069975" y="444500"/>
                      </a:lnTo>
                      <a:lnTo>
                        <a:pt x="1025525" y="444500"/>
                      </a:lnTo>
                      <a:lnTo>
                        <a:pt x="1025525" y="409575"/>
                      </a:lnTo>
                      <a:lnTo>
                        <a:pt x="1000125" y="409575"/>
                      </a:lnTo>
                      <a:lnTo>
                        <a:pt x="1000125" y="384175"/>
                      </a:lnTo>
                      <a:lnTo>
                        <a:pt x="958850" y="384175"/>
                      </a:lnTo>
                      <a:lnTo>
                        <a:pt x="958850" y="352425"/>
                      </a:lnTo>
                      <a:lnTo>
                        <a:pt x="831850" y="352425"/>
                      </a:lnTo>
                      <a:lnTo>
                        <a:pt x="831850" y="339725"/>
                      </a:lnTo>
                      <a:lnTo>
                        <a:pt x="768350" y="339725"/>
                      </a:lnTo>
                      <a:lnTo>
                        <a:pt x="768350" y="317500"/>
                      </a:lnTo>
                      <a:lnTo>
                        <a:pt x="669925" y="317500"/>
                      </a:lnTo>
                      <a:lnTo>
                        <a:pt x="669925" y="295275"/>
                      </a:lnTo>
                      <a:lnTo>
                        <a:pt x="587375" y="295275"/>
                      </a:lnTo>
                      <a:lnTo>
                        <a:pt x="587375" y="276225"/>
                      </a:lnTo>
                      <a:lnTo>
                        <a:pt x="549275" y="276225"/>
                      </a:lnTo>
                      <a:lnTo>
                        <a:pt x="549275" y="250825"/>
                      </a:lnTo>
                      <a:lnTo>
                        <a:pt x="498475" y="250825"/>
                      </a:lnTo>
                      <a:lnTo>
                        <a:pt x="498475" y="212725"/>
                      </a:lnTo>
                      <a:lnTo>
                        <a:pt x="457200" y="212725"/>
                      </a:lnTo>
                      <a:lnTo>
                        <a:pt x="457200" y="177800"/>
                      </a:lnTo>
                      <a:lnTo>
                        <a:pt x="434975" y="177800"/>
                      </a:lnTo>
                      <a:lnTo>
                        <a:pt x="434975" y="155575"/>
                      </a:lnTo>
                      <a:lnTo>
                        <a:pt x="349250" y="155575"/>
                      </a:lnTo>
                      <a:lnTo>
                        <a:pt x="349250" y="123825"/>
                      </a:lnTo>
                      <a:lnTo>
                        <a:pt x="304800" y="123825"/>
                      </a:lnTo>
                      <a:lnTo>
                        <a:pt x="95250" y="123825"/>
                      </a:lnTo>
                      <a:lnTo>
                        <a:pt x="95250" y="101600"/>
                      </a:lnTo>
                      <a:lnTo>
                        <a:pt x="50800" y="101600"/>
                      </a:lnTo>
                      <a:lnTo>
                        <a:pt x="50800" y="73025"/>
                      </a:lnTo>
                      <a:lnTo>
                        <a:pt x="0" y="7302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0" name="Freeform 259">
                  <a:extLst>
                    <a:ext uri="{FF2B5EF4-FFF2-40B4-BE49-F238E27FC236}">
                      <a16:creationId xmlns:a16="http://schemas.microsoft.com/office/drawing/2014/main" id="{B0FB7C63-6F62-424A-A4C0-49F3C1F01593}"/>
                    </a:ext>
                  </a:extLst>
                </p:cNvPr>
                <p:cNvSpPr/>
                <p:nvPr/>
              </p:nvSpPr>
              <p:spPr bwMode="auto">
                <a:xfrm>
                  <a:off x="3298825" y="1895475"/>
                  <a:ext cx="708025" cy="685800"/>
                </a:xfrm>
                <a:custGeom>
                  <a:avLst/>
                  <a:gdLst>
                    <a:gd name="connsiteX0" fmla="*/ 0 w 708025"/>
                    <a:gd name="connsiteY0" fmla="*/ 0 h 685800"/>
                    <a:gd name="connsiteX1" fmla="*/ 69850 w 708025"/>
                    <a:gd name="connsiteY1" fmla="*/ 0 h 685800"/>
                    <a:gd name="connsiteX2" fmla="*/ 69850 w 708025"/>
                    <a:gd name="connsiteY2" fmla="*/ 31750 h 685800"/>
                    <a:gd name="connsiteX3" fmla="*/ 104775 w 708025"/>
                    <a:gd name="connsiteY3" fmla="*/ 31750 h 685800"/>
                    <a:gd name="connsiteX4" fmla="*/ 104775 w 708025"/>
                    <a:gd name="connsiteY4" fmla="*/ 66675 h 685800"/>
                    <a:gd name="connsiteX5" fmla="*/ 371475 w 708025"/>
                    <a:gd name="connsiteY5" fmla="*/ 66675 h 685800"/>
                    <a:gd name="connsiteX6" fmla="*/ 371475 w 708025"/>
                    <a:gd name="connsiteY6" fmla="*/ 79375 h 685800"/>
                    <a:gd name="connsiteX7" fmla="*/ 419100 w 708025"/>
                    <a:gd name="connsiteY7" fmla="*/ 79375 h 685800"/>
                    <a:gd name="connsiteX8" fmla="*/ 419100 w 708025"/>
                    <a:gd name="connsiteY8" fmla="*/ 98425 h 685800"/>
                    <a:gd name="connsiteX9" fmla="*/ 450850 w 708025"/>
                    <a:gd name="connsiteY9" fmla="*/ 98425 h 685800"/>
                    <a:gd name="connsiteX10" fmla="*/ 450850 w 708025"/>
                    <a:gd name="connsiteY10" fmla="*/ 165100 h 685800"/>
                    <a:gd name="connsiteX11" fmla="*/ 469900 w 708025"/>
                    <a:gd name="connsiteY11" fmla="*/ 165100 h 685800"/>
                    <a:gd name="connsiteX12" fmla="*/ 469900 w 708025"/>
                    <a:gd name="connsiteY12" fmla="*/ 238125 h 685800"/>
                    <a:gd name="connsiteX13" fmla="*/ 488950 w 708025"/>
                    <a:gd name="connsiteY13" fmla="*/ 238125 h 685800"/>
                    <a:gd name="connsiteX14" fmla="*/ 488950 w 708025"/>
                    <a:gd name="connsiteY14" fmla="*/ 358775 h 685800"/>
                    <a:gd name="connsiteX15" fmla="*/ 508000 w 708025"/>
                    <a:gd name="connsiteY15" fmla="*/ 358775 h 685800"/>
                    <a:gd name="connsiteX16" fmla="*/ 508000 w 708025"/>
                    <a:gd name="connsiteY16" fmla="*/ 441325 h 685800"/>
                    <a:gd name="connsiteX17" fmla="*/ 517525 w 708025"/>
                    <a:gd name="connsiteY17" fmla="*/ 441325 h 685800"/>
                    <a:gd name="connsiteX18" fmla="*/ 517525 w 708025"/>
                    <a:gd name="connsiteY18" fmla="*/ 511175 h 685800"/>
                    <a:gd name="connsiteX19" fmla="*/ 542925 w 708025"/>
                    <a:gd name="connsiteY19" fmla="*/ 511175 h 685800"/>
                    <a:gd name="connsiteX20" fmla="*/ 542925 w 708025"/>
                    <a:gd name="connsiteY20" fmla="*/ 584200 h 685800"/>
                    <a:gd name="connsiteX21" fmla="*/ 552450 w 708025"/>
                    <a:gd name="connsiteY21" fmla="*/ 584200 h 685800"/>
                    <a:gd name="connsiteX22" fmla="*/ 552450 w 708025"/>
                    <a:gd name="connsiteY22" fmla="*/ 641350 h 685800"/>
                    <a:gd name="connsiteX23" fmla="*/ 571500 w 708025"/>
                    <a:gd name="connsiteY23" fmla="*/ 641350 h 685800"/>
                    <a:gd name="connsiteX24" fmla="*/ 571500 w 708025"/>
                    <a:gd name="connsiteY24" fmla="*/ 660400 h 685800"/>
                    <a:gd name="connsiteX25" fmla="*/ 609600 w 708025"/>
                    <a:gd name="connsiteY25" fmla="*/ 660400 h 685800"/>
                    <a:gd name="connsiteX26" fmla="*/ 609600 w 708025"/>
                    <a:gd name="connsiteY26" fmla="*/ 685800 h 685800"/>
                    <a:gd name="connsiteX27" fmla="*/ 708025 w 708025"/>
                    <a:gd name="connsiteY27" fmla="*/ 685800 h 685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708025" h="685800">
                      <a:moveTo>
                        <a:pt x="0" y="0"/>
                      </a:moveTo>
                      <a:lnTo>
                        <a:pt x="69850" y="0"/>
                      </a:lnTo>
                      <a:lnTo>
                        <a:pt x="69850" y="31750"/>
                      </a:lnTo>
                      <a:lnTo>
                        <a:pt x="104775" y="31750"/>
                      </a:lnTo>
                      <a:lnTo>
                        <a:pt x="104775" y="66675"/>
                      </a:lnTo>
                      <a:lnTo>
                        <a:pt x="371475" y="66675"/>
                      </a:lnTo>
                      <a:lnTo>
                        <a:pt x="371475" y="79375"/>
                      </a:lnTo>
                      <a:lnTo>
                        <a:pt x="419100" y="79375"/>
                      </a:lnTo>
                      <a:lnTo>
                        <a:pt x="419100" y="98425"/>
                      </a:lnTo>
                      <a:lnTo>
                        <a:pt x="450850" y="98425"/>
                      </a:lnTo>
                      <a:lnTo>
                        <a:pt x="450850" y="165100"/>
                      </a:lnTo>
                      <a:lnTo>
                        <a:pt x="469900" y="165100"/>
                      </a:lnTo>
                      <a:lnTo>
                        <a:pt x="469900" y="238125"/>
                      </a:lnTo>
                      <a:lnTo>
                        <a:pt x="488950" y="238125"/>
                      </a:lnTo>
                      <a:lnTo>
                        <a:pt x="488950" y="358775"/>
                      </a:lnTo>
                      <a:lnTo>
                        <a:pt x="508000" y="358775"/>
                      </a:lnTo>
                      <a:lnTo>
                        <a:pt x="508000" y="441325"/>
                      </a:lnTo>
                      <a:lnTo>
                        <a:pt x="517525" y="441325"/>
                      </a:lnTo>
                      <a:lnTo>
                        <a:pt x="517525" y="511175"/>
                      </a:lnTo>
                      <a:lnTo>
                        <a:pt x="542925" y="511175"/>
                      </a:lnTo>
                      <a:lnTo>
                        <a:pt x="542925" y="584200"/>
                      </a:lnTo>
                      <a:lnTo>
                        <a:pt x="552450" y="584200"/>
                      </a:lnTo>
                      <a:lnTo>
                        <a:pt x="552450" y="641350"/>
                      </a:lnTo>
                      <a:lnTo>
                        <a:pt x="571500" y="641350"/>
                      </a:lnTo>
                      <a:lnTo>
                        <a:pt x="571500" y="660400"/>
                      </a:lnTo>
                      <a:lnTo>
                        <a:pt x="609600" y="660400"/>
                      </a:lnTo>
                      <a:lnTo>
                        <a:pt x="609600" y="685800"/>
                      </a:lnTo>
                      <a:lnTo>
                        <a:pt x="708025" y="685800"/>
                      </a:lnTo>
                    </a:path>
                  </a:pathLst>
                </a:cu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1" name="Freeform 260">
                  <a:extLst>
                    <a:ext uri="{FF2B5EF4-FFF2-40B4-BE49-F238E27FC236}">
                      <a16:creationId xmlns:a16="http://schemas.microsoft.com/office/drawing/2014/main" id="{29EB08DE-08F7-9143-91CE-60C1136A2D4B}"/>
                    </a:ext>
                  </a:extLst>
                </p:cNvPr>
                <p:cNvSpPr/>
                <p:nvPr/>
              </p:nvSpPr>
              <p:spPr bwMode="auto">
                <a:xfrm>
                  <a:off x="4000500" y="2590800"/>
                  <a:ext cx="1368425" cy="1022350"/>
                </a:xfrm>
                <a:custGeom>
                  <a:avLst/>
                  <a:gdLst>
                    <a:gd name="connsiteX0" fmla="*/ 0 w 1368425"/>
                    <a:gd name="connsiteY0" fmla="*/ 0 h 1022350"/>
                    <a:gd name="connsiteX1" fmla="*/ 88900 w 1368425"/>
                    <a:gd name="connsiteY1" fmla="*/ 0 h 1022350"/>
                    <a:gd name="connsiteX2" fmla="*/ 88900 w 1368425"/>
                    <a:gd name="connsiteY2" fmla="*/ 31750 h 1022350"/>
                    <a:gd name="connsiteX3" fmla="*/ 158750 w 1368425"/>
                    <a:gd name="connsiteY3" fmla="*/ 31750 h 1022350"/>
                    <a:gd name="connsiteX4" fmla="*/ 158750 w 1368425"/>
                    <a:gd name="connsiteY4" fmla="*/ 53975 h 1022350"/>
                    <a:gd name="connsiteX5" fmla="*/ 241300 w 1368425"/>
                    <a:gd name="connsiteY5" fmla="*/ 53975 h 1022350"/>
                    <a:gd name="connsiteX6" fmla="*/ 241300 w 1368425"/>
                    <a:gd name="connsiteY6" fmla="*/ 73025 h 1022350"/>
                    <a:gd name="connsiteX7" fmla="*/ 279400 w 1368425"/>
                    <a:gd name="connsiteY7" fmla="*/ 73025 h 1022350"/>
                    <a:gd name="connsiteX8" fmla="*/ 279400 w 1368425"/>
                    <a:gd name="connsiteY8" fmla="*/ 88900 h 1022350"/>
                    <a:gd name="connsiteX9" fmla="*/ 301625 w 1368425"/>
                    <a:gd name="connsiteY9" fmla="*/ 88900 h 1022350"/>
                    <a:gd name="connsiteX10" fmla="*/ 301625 w 1368425"/>
                    <a:gd name="connsiteY10" fmla="*/ 117475 h 1022350"/>
                    <a:gd name="connsiteX11" fmla="*/ 320675 w 1368425"/>
                    <a:gd name="connsiteY11" fmla="*/ 117475 h 1022350"/>
                    <a:gd name="connsiteX12" fmla="*/ 320675 w 1368425"/>
                    <a:gd name="connsiteY12" fmla="*/ 285750 h 1022350"/>
                    <a:gd name="connsiteX13" fmla="*/ 349250 w 1368425"/>
                    <a:gd name="connsiteY13" fmla="*/ 285750 h 1022350"/>
                    <a:gd name="connsiteX14" fmla="*/ 349250 w 1368425"/>
                    <a:gd name="connsiteY14" fmla="*/ 317500 h 1022350"/>
                    <a:gd name="connsiteX15" fmla="*/ 393700 w 1368425"/>
                    <a:gd name="connsiteY15" fmla="*/ 317500 h 1022350"/>
                    <a:gd name="connsiteX16" fmla="*/ 393700 w 1368425"/>
                    <a:gd name="connsiteY16" fmla="*/ 365125 h 1022350"/>
                    <a:gd name="connsiteX17" fmla="*/ 631825 w 1368425"/>
                    <a:gd name="connsiteY17" fmla="*/ 365125 h 1022350"/>
                    <a:gd name="connsiteX18" fmla="*/ 631825 w 1368425"/>
                    <a:gd name="connsiteY18" fmla="*/ 381000 h 1022350"/>
                    <a:gd name="connsiteX19" fmla="*/ 701675 w 1368425"/>
                    <a:gd name="connsiteY19" fmla="*/ 381000 h 1022350"/>
                    <a:gd name="connsiteX20" fmla="*/ 701675 w 1368425"/>
                    <a:gd name="connsiteY20" fmla="*/ 390525 h 1022350"/>
                    <a:gd name="connsiteX21" fmla="*/ 758825 w 1368425"/>
                    <a:gd name="connsiteY21" fmla="*/ 390525 h 1022350"/>
                    <a:gd name="connsiteX22" fmla="*/ 758825 w 1368425"/>
                    <a:gd name="connsiteY22" fmla="*/ 415925 h 1022350"/>
                    <a:gd name="connsiteX23" fmla="*/ 787400 w 1368425"/>
                    <a:gd name="connsiteY23" fmla="*/ 415925 h 1022350"/>
                    <a:gd name="connsiteX24" fmla="*/ 787400 w 1368425"/>
                    <a:gd name="connsiteY24" fmla="*/ 466725 h 1022350"/>
                    <a:gd name="connsiteX25" fmla="*/ 806450 w 1368425"/>
                    <a:gd name="connsiteY25" fmla="*/ 466725 h 1022350"/>
                    <a:gd name="connsiteX26" fmla="*/ 806450 w 1368425"/>
                    <a:gd name="connsiteY26" fmla="*/ 508000 h 1022350"/>
                    <a:gd name="connsiteX27" fmla="*/ 822325 w 1368425"/>
                    <a:gd name="connsiteY27" fmla="*/ 508000 h 1022350"/>
                    <a:gd name="connsiteX28" fmla="*/ 822325 w 1368425"/>
                    <a:gd name="connsiteY28" fmla="*/ 536575 h 1022350"/>
                    <a:gd name="connsiteX29" fmla="*/ 838200 w 1368425"/>
                    <a:gd name="connsiteY29" fmla="*/ 536575 h 1022350"/>
                    <a:gd name="connsiteX30" fmla="*/ 838200 w 1368425"/>
                    <a:gd name="connsiteY30" fmla="*/ 619125 h 1022350"/>
                    <a:gd name="connsiteX31" fmla="*/ 863600 w 1368425"/>
                    <a:gd name="connsiteY31" fmla="*/ 619125 h 1022350"/>
                    <a:gd name="connsiteX32" fmla="*/ 863600 w 1368425"/>
                    <a:gd name="connsiteY32" fmla="*/ 682625 h 1022350"/>
                    <a:gd name="connsiteX33" fmla="*/ 879475 w 1368425"/>
                    <a:gd name="connsiteY33" fmla="*/ 682625 h 1022350"/>
                    <a:gd name="connsiteX34" fmla="*/ 879475 w 1368425"/>
                    <a:gd name="connsiteY34" fmla="*/ 736600 h 1022350"/>
                    <a:gd name="connsiteX35" fmla="*/ 920750 w 1368425"/>
                    <a:gd name="connsiteY35" fmla="*/ 736600 h 1022350"/>
                    <a:gd name="connsiteX36" fmla="*/ 920750 w 1368425"/>
                    <a:gd name="connsiteY36" fmla="*/ 771525 h 1022350"/>
                    <a:gd name="connsiteX37" fmla="*/ 1019175 w 1368425"/>
                    <a:gd name="connsiteY37" fmla="*/ 771525 h 1022350"/>
                    <a:gd name="connsiteX38" fmla="*/ 1019175 w 1368425"/>
                    <a:gd name="connsiteY38" fmla="*/ 809625 h 1022350"/>
                    <a:gd name="connsiteX39" fmla="*/ 1206500 w 1368425"/>
                    <a:gd name="connsiteY39" fmla="*/ 809625 h 1022350"/>
                    <a:gd name="connsiteX40" fmla="*/ 1206500 w 1368425"/>
                    <a:gd name="connsiteY40" fmla="*/ 825500 h 1022350"/>
                    <a:gd name="connsiteX41" fmla="*/ 1254125 w 1368425"/>
                    <a:gd name="connsiteY41" fmla="*/ 825500 h 1022350"/>
                    <a:gd name="connsiteX42" fmla="*/ 1254125 w 1368425"/>
                    <a:gd name="connsiteY42" fmla="*/ 844550 h 1022350"/>
                    <a:gd name="connsiteX43" fmla="*/ 1314450 w 1368425"/>
                    <a:gd name="connsiteY43" fmla="*/ 844550 h 1022350"/>
                    <a:gd name="connsiteX44" fmla="*/ 1314450 w 1368425"/>
                    <a:gd name="connsiteY44" fmla="*/ 885825 h 1022350"/>
                    <a:gd name="connsiteX45" fmla="*/ 1330325 w 1368425"/>
                    <a:gd name="connsiteY45" fmla="*/ 885825 h 1022350"/>
                    <a:gd name="connsiteX46" fmla="*/ 1330325 w 1368425"/>
                    <a:gd name="connsiteY46" fmla="*/ 917575 h 1022350"/>
                    <a:gd name="connsiteX47" fmla="*/ 1346200 w 1368425"/>
                    <a:gd name="connsiteY47" fmla="*/ 917575 h 1022350"/>
                    <a:gd name="connsiteX48" fmla="*/ 1346200 w 1368425"/>
                    <a:gd name="connsiteY48" fmla="*/ 968375 h 1022350"/>
                    <a:gd name="connsiteX49" fmla="*/ 1368425 w 1368425"/>
                    <a:gd name="connsiteY49" fmla="*/ 968375 h 1022350"/>
                    <a:gd name="connsiteX50" fmla="*/ 1368425 w 1368425"/>
                    <a:gd name="connsiteY50" fmla="*/ 1022350 h 1022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1368425" h="1022350">
                      <a:moveTo>
                        <a:pt x="0" y="0"/>
                      </a:moveTo>
                      <a:lnTo>
                        <a:pt x="88900" y="0"/>
                      </a:lnTo>
                      <a:lnTo>
                        <a:pt x="88900" y="31750"/>
                      </a:lnTo>
                      <a:lnTo>
                        <a:pt x="158750" y="31750"/>
                      </a:lnTo>
                      <a:lnTo>
                        <a:pt x="158750" y="53975"/>
                      </a:lnTo>
                      <a:lnTo>
                        <a:pt x="241300" y="53975"/>
                      </a:lnTo>
                      <a:lnTo>
                        <a:pt x="241300" y="73025"/>
                      </a:lnTo>
                      <a:lnTo>
                        <a:pt x="279400" y="73025"/>
                      </a:lnTo>
                      <a:lnTo>
                        <a:pt x="279400" y="88900"/>
                      </a:lnTo>
                      <a:lnTo>
                        <a:pt x="301625" y="88900"/>
                      </a:lnTo>
                      <a:lnTo>
                        <a:pt x="301625" y="117475"/>
                      </a:lnTo>
                      <a:lnTo>
                        <a:pt x="320675" y="117475"/>
                      </a:lnTo>
                      <a:lnTo>
                        <a:pt x="320675" y="285750"/>
                      </a:lnTo>
                      <a:lnTo>
                        <a:pt x="349250" y="285750"/>
                      </a:lnTo>
                      <a:lnTo>
                        <a:pt x="349250" y="317500"/>
                      </a:lnTo>
                      <a:lnTo>
                        <a:pt x="393700" y="317500"/>
                      </a:lnTo>
                      <a:lnTo>
                        <a:pt x="393700" y="365125"/>
                      </a:lnTo>
                      <a:lnTo>
                        <a:pt x="631825" y="365125"/>
                      </a:lnTo>
                      <a:lnTo>
                        <a:pt x="631825" y="381000"/>
                      </a:lnTo>
                      <a:lnTo>
                        <a:pt x="701675" y="381000"/>
                      </a:lnTo>
                      <a:lnTo>
                        <a:pt x="701675" y="390525"/>
                      </a:lnTo>
                      <a:lnTo>
                        <a:pt x="758825" y="390525"/>
                      </a:lnTo>
                      <a:lnTo>
                        <a:pt x="758825" y="415925"/>
                      </a:lnTo>
                      <a:lnTo>
                        <a:pt x="787400" y="415925"/>
                      </a:lnTo>
                      <a:lnTo>
                        <a:pt x="787400" y="466725"/>
                      </a:lnTo>
                      <a:lnTo>
                        <a:pt x="806450" y="466725"/>
                      </a:lnTo>
                      <a:lnTo>
                        <a:pt x="806450" y="508000"/>
                      </a:lnTo>
                      <a:lnTo>
                        <a:pt x="822325" y="508000"/>
                      </a:lnTo>
                      <a:lnTo>
                        <a:pt x="822325" y="536575"/>
                      </a:lnTo>
                      <a:lnTo>
                        <a:pt x="838200" y="536575"/>
                      </a:lnTo>
                      <a:lnTo>
                        <a:pt x="838200" y="619125"/>
                      </a:lnTo>
                      <a:lnTo>
                        <a:pt x="863600" y="619125"/>
                      </a:lnTo>
                      <a:lnTo>
                        <a:pt x="863600" y="682625"/>
                      </a:lnTo>
                      <a:lnTo>
                        <a:pt x="879475" y="682625"/>
                      </a:lnTo>
                      <a:lnTo>
                        <a:pt x="879475" y="736600"/>
                      </a:lnTo>
                      <a:lnTo>
                        <a:pt x="920750" y="736600"/>
                      </a:lnTo>
                      <a:lnTo>
                        <a:pt x="920750" y="771525"/>
                      </a:lnTo>
                      <a:lnTo>
                        <a:pt x="1019175" y="771525"/>
                      </a:lnTo>
                      <a:lnTo>
                        <a:pt x="1019175" y="809625"/>
                      </a:lnTo>
                      <a:lnTo>
                        <a:pt x="1206500" y="809625"/>
                      </a:lnTo>
                      <a:lnTo>
                        <a:pt x="1206500" y="825500"/>
                      </a:lnTo>
                      <a:lnTo>
                        <a:pt x="1254125" y="825500"/>
                      </a:lnTo>
                      <a:lnTo>
                        <a:pt x="1254125" y="844550"/>
                      </a:lnTo>
                      <a:lnTo>
                        <a:pt x="1314450" y="844550"/>
                      </a:lnTo>
                      <a:lnTo>
                        <a:pt x="1314450" y="885825"/>
                      </a:lnTo>
                      <a:lnTo>
                        <a:pt x="1330325" y="885825"/>
                      </a:lnTo>
                      <a:lnTo>
                        <a:pt x="1330325" y="917575"/>
                      </a:lnTo>
                      <a:lnTo>
                        <a:pt x="1346200" y="917575"/>
                      </a:lnTo>
                      <a:lnTo>
                        <a:pt x="1346200" y="968375"/>
                      </a:lnTo>
                      <a:lnTo>
                        <a:pt x="1368425" y="968375"/>
                      </a:lnTo>
                      <a:lnTo>
                        <a:pt x="1368425" y="1022350"/>
                      </a:lnTo>
                    </a:path>
                  </a:pathLst>
                </a:custGeom>
                <a:noFill/>
                <a:ln w="28575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7277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B169E-39F8-034A-A89D-831FE004B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BF4294-302B-5542-999F-0CA859DA52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w does DNA repair work in normal cells?</a:t>
            </a:r>
          </a:p>
          <a:p>
            <a:pPr lvl="1"/>
            <a:r>
              <a:rPr lang="en-US" dirty="0"/>
              <a:t>Inherited vs acquired DNA-repair mutations </a:t>
            </a:r>
          </a:p>
          <a:p>
            <a:r>
              <a:rPr lang="en-US" dirty="0"/>
              <a:t>How do PARP inhibitors target DNA repair–deficient tumor cells?</a:t>
            </a:r>
          </a:p>
          <a:p>
            <a:pPr lvl="1"/>
            <a:r>
              <a:rPr lang="en-US" dirty="0"/>
              <a:t>“Synthetic lethality”</a:t>
            </a:r>
          </a:p>
          <a:p>
            <a:r>
              <a:rPr lang="en-US" dirty="0"/>
              <a:t>How do DNA repair mutations affect prostate carcinogenesis and progression?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76304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ectangle 174">
            <a:extLst>
              <a:ext uri="{FF2B5EF4-FFF2-40B4-BE49-F238E27FC236}">
                <a16:creationId xmlns:a16="http://schemas.microsoft.com/office/drawing/2014/main" id="{1D2599D7-1512-4420-981C-8582A96D1439}"/>
              </a:ext>
            </a:extLst>
          </p:cNvPr>
          <p:cNvSpPr/>
          <p:nvPr/>
        </p:nvSpPr>
        <p:spPr bwMode="auto">
          <a:xfrm>
            <a:off x="8943623" y="1073020"/>
            <a:ext cx="208844" cy="491256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0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 Box 15">
            <a:extLst>
              <a:ext uri="{FF2B5EF4-FFF2-40B4-BE49-F238E27FC236}">
                <a16:creationId xmlns:a16="http://schemas.microsoft.com/office/drawing/2014/main" id="{0F1D2A49-9932-4933-A4C8-821AE7EEF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583" y="6369251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e Bono. NEJM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ff-scala-sans-pro"/>
                <a:ea typeface="+mn-ea"/>
                <a:cs typeface="Arial" panose="020B0604020202020204" pitchFamily="34" charset="0"/>
              </a:rPr>
              <a:t>2020;382:2091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128066-940F-43B3-B148-E63E20C28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662" y="-49318"/>
            <a:ext cx="11141055" cy="1103313"/>
          </a:xfrm>
        </p:spPr>
        <p:txBody>
          <a:bodyPr/>
          <a:lstStyle/>
          <a:p>
            <a:r>
              <a:rPr lang="en-US" dirty="0"/>
              <a:t>Phase III PROfound: Gene Subgroup Analysis</a:t>
            </a: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335C2E72-F3B9-45E2-9BF9-369425E4E88D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4" name="Picture 9">
              <a:extLst>
                <a:ext uri="{FF2B5EF4-FFF2-40B4-BE49-F238E27FC236}">
                  <a16:creationId xmlns:a16="http://schemas.microsoft.com/office/drawing/2014/main" id="{0170CC8E-D4DD-4A2D-9B50-D32C09CE61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4453E461-C059-444E-8053-55606A4123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898F947-1730-4928-852F-FF49E2D139CD}"/>
              </a:ext>
            </a:extLst>
          </p:cNvPr>
          <p:cNvCxnSpPr>
            <a:cxnSpLocks/>
          </p:cNvCxnSpPr>
          <p:nvPr/>
        </p:nvCxnSpPr>
        <p:spPr bwMode="auto">
          <a:xfrm flipV="1">
            <a:off x="738403" y="1600201"/>
            <a:ext cx="0" cy="3912201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E9EC072-7225-42D6-BA3F-B23620014F60}"/>
              </a:ext>
            </a:extLst>
          </p:cNvPr>
          <p:cNvSpPr txBox="1"/>
          <p:nvPr/>
        </p:nvSpPr>
        <p:spPr bwMode="auto">
          <a:xfrm rot="16200000">
            <a:off x="-60315" y="4736434"/>
            <a:ext cx="13309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Frequenc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B352C4-BB39-44B9-89AE-76E275B8A94F}"/>
              </a:ext>
            </a:extLst>
          </p:cNvPr>
          <p:cNvSpPr txBox="1"/>
          <p:nvPr/>
        </p:nvSpPr>
        <p:spPr bwMode="auto">
          <a:xfrm>
            <a:off x="1481502" y="5816025"/>
            <a:ext cx="31728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Median Imaging-Based PFS, M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118327-EBC1-49A4-AC77-C8476B3B7FED}"/>
              </a:ext>
            </a:extLst>
          </p:cNvPr>
          <p:cNvSpPr txBox="1"/>
          <p:nvPr/>
        </p:nvSpPr>
        <p:spPr bwMode="auto">
          <a:xfrm>
            <a:off x="779452" y="1638597"/>
            <a:ext cx="9323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BRCA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F89E40-D321-4F2F-B3D3-D591B237A5FA}"/>
              </a:ext>
            </a:extLst>
          </p:cNvPr>
          <p:cNvSpPr txBox="1"/>
          <p:nvPr/>
        </p:nvSpPr>
        <p:spPr bwMode="auto">
          <a:xfrm>
            <a:off x="767173" y="2146357"/>
            <a:ext cx="9323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CDK1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FF178E6-C5AB-4B68-ABC8-E80BD0FDDF08}"/>
              </a:ext>
            </a:extLst>
          </p:cNvPr>
          <p:cNvSpPr txBox="1"/>
          <p:nvPr/>
        </p:nvSpPr>
        <p:spPr bwMode="auto">
          <a:xfrm>
            <a:off x="932574" y="2623781"/>
            <a:ext cx="67087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AT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F08CCE-8721-424C-A0CE-0ADED685A8C4}"/>
              </a:ext>
            </a:extLst>
          </p:cNvPr>
          <p:cNvSpPr txBox="1"/>
          <p:nvPr/>
        </p:nvSpPr>
        <p:spPr bwMode="auto">
          <a:xfrm>
            <a:off x="794618" y="3131540"/>
            <a:ext cx="8348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BRCA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7A3C64-5E82-4CA3-87DB-C7E204242BBE}"/>
              </a:ext>
            </a:extLst>
          </p:cNvPr>
          <p:cNvSpPr txBox="1"/>
          <p:nvPr/>
        </p:nvSpPr>
        <p:spPr bwMode="auto">
          <a:xfrm>
            <a:off x="795340" y="3634965"/>
            <a:ext cx="8348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CHEK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55EF20-DFD0-4473-9BEE-B6BC28001C01}"/>
              </a:ext>
            </a:extLst>
          </p:cNvPr>
          <p:cNvSpPr txBox="1"/>
          <p:nvPr/>
        </p:nvSpPr>
        <p:spPr bwMode="auto">
          <a:xfrm>
            <a:off x="685800" y="4147057"/>
            <a:ext cx="108040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PPP2R2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E5B7DF-72E6-4E24-98C2-D80E3EC137B5}"/>
              </a:ext>
            </a:extLst>
          </p:cNvPr>
          <p:cNvSpPr txBox="1"/>
          <p:nvPr/>
        </p:nvSpPr>
        <p:spPr bwMode="auto">
          <a:xfrm>
            <a:off x="685800" y="4633148"/>
            <a:ext cx="8916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RAD51B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2356A6-B4EE-4711-82BD-FE19961F2706}"/>
              </a:ext>
            </a:extLst>
          </p:cNvPr>
          <p:cNvSpPr txBox="1"/>
          <p:nvPr/>
        </p:nvSpPr>
        <p:spPr bwMode="auto">
          <a:xfrm>
            <a:off x="734192" y="5145240"/>
            <a:ext cx="8916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b="0" i="1" dirty="0">
                <a:solidFill>
                  <a:schemeClr val="bg1"/>
                </a:solidFill>
                <a:latin typeface="Calibri" panose="020F0502020204030204" pitchFamily="34" charset="0"/>
              </a:rPr>
              <a:t>RAD54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F291AED-AF9C-4FD0-917E-D50968703A3E}"/>
              </a:ext>
            </a:extLst>
          </p:cNvPr>
          <p:cNvSpPr txBox="1"/>
          <p:nvPr/>
        </p:nvSpPr>
        <p:spPr bwMode="auto">
          <a:xfrm>
            <a:off x="1386886" y="1548312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81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7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BFAAF1-7BC4-45C2-ADF0-4E042A12F4CA}"/>
              </a:ext>
            </a:extLst>
          </p:cNvPr>
          <p:cNvSpPr txBox="1"/>
          <p:nvPr/>
        </p:nvSpPr>
        <p:spPr bwMode="auto">
          <a:xfrm>
            <a:off x="1387608" y="2077740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1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E97B3C-773A-4ADC-9F2F-879BB9FA9528}"/>
              </a:ext>
            </a:extLst>
          </p:cNvPr>
          <p:cNvSpPr txBox="1"/>
          <p:nvPr/>
        </p:nvSpPr>
        <p:spPr bwMode="auto">
          <a:xfrm>
            <a:off x="1388331" y="2572498"/>
            <a:ext cx="39276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2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79F45D5-9E05-4CF2-A7A6-112467F4F712}"/>
              </a:ext>
            </a:extLst>
          </p:cNvPr>
          <p:cNvSpPr txBox="1"/>
          <p:nvPr/>
        </p:nvSpPr>
        <p:spPr bwMode="auto">
          <a:xfrm>
            <a:off x="1462725" y="3075923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8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BDD499D-770C-4502-ABDE-92C65A1011C8}"/>
              </a:ext>
            </a:extLst>
          </p:cNvPr>
          <p:cNvSpPr txBox="1"/>
          <p:nvPr/>
        </p:nvSpPr>
        <p:spPr bwMode="auto">
          <a:xfrm>
            <a:off x="1472115" y="3553347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7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B306D3-9B7E-4CDD-9C51-C45EBF354BB9}"/>
              </a:ext>
            </a:extLst>
          </p:cNvPr>
          <p:cNvSpPr txBox="1"/>
          <p:nvPr/>
        </p:nvSpPr>
        <p:spPr bwMode="auto">
          <a:xfrm>
            <a:off x="1472837" y="4091442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3CD905E-3D67-4125-AE0A-244A34ABB7B2}"/>
              </a:ext>
            </a:extLst>
          </p:cNvPr>
          <p:cNvSpPr txBox="1"/>
          <p:nvPr/>
        </p:nvSpPr>
        <p:spPr bwMode="auto">
          <a:xfrm>
            <a:off x="1473560" y="4555865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CB9543B-7749-4DC7-9010-32ECE70D5D0B}"/>
              </a:ext>
            </a:extLst>
          </p:cNvPr>
          <p:cNvSpPr txBox="1"/>
          <p:nvPr/>
        </p:nvSpPr>
        <p:spPr bwMode="auto">
          <a:xfrm>
            <a:off x="1464891" y="5075903"/>
            <a:ext cx="4982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EC860CD-87B1-4FE7-9F9C-CE0DFD576A7F}"/>
              </a:ext>
            </a:extLst>
          </p:cNvPr>
          <p:cNvGrpSpPr/>
          <p:nvPr/>
        </p:nvGrpSpPr>
        <p:grpSpPr>
          <a:xfrm>
            <a:off x="1681748" y="1645305"/>
            <a:ext cx="2800137" cy="347824"/>
            <a:chOff x="1681748" y="1645305"/>
            <a:chExt cx="2800137" cy="34782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75ADF55-E8C3-43F3-8150-57F1981925CE}"/>
                </a:ext>
              </a:extLst>
            </p:cNvPr>
            <p:cNvSpPr/>
            <p:nvPr/>
          </p:nvSpPr>
          <p:spPr bwMode="auto">
            <a:xfrm>
              <a:off x="1688374" y="1645305"/>
              <a:ext cx="2793511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8F51BC5-B314-4240-BE9D-5345F279F0AF}"/>
                </a:ext>
              </a:extLst>
            </p:cNvPr>
            <p:cNvSpPr/>
            <p:nvPr/>
          </p:nvSpPr>
          <p:spPr bwMode="auto">
            <a:xfrm>
              <a:off x="1681748" y="1821559"/>
              <a:ext cx="913028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65F40EA-7EB3-4B1F-B197-FA88E7B8F2C2}"/>
              </a:ext>
            </a:extLst>
          </p:cNvPr>
          <p:cNvGrpSpPr/>
          <p:nvPr/>
        </p:nvGrpSpPr>
        <p:grpSpPr>
          <a:xfrm>
            <a:off x="1688373" y="2134310"/>
            <a:ext cx="1311919" cy="345174"/>
            <a:chOff x="1681748" y="1645305"/>
            <a:chExt cx="1311919" cy="345174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EBF6EE4-7613-4112-9249-0F15B70268D7}"/>
                </a:ext>
              </a:extLst>
            </p:cNvPr>
            <p:cNvSpPr/>
            <p:nvPr/>
          </p:nvSpPr>
          <p:spPr bwMode="auto">
            <a:xfrm>
              <a:off x="1688374" y="1645305"/>
              <a:ext cx="1305293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AC71A73-D482-4EE2-9ECB-6EBD06C3AAAD}"/>
                </a:ext>
              </a:extLst>
            </p:cNvPr>
            <p:cNvSpPr/>
            <p:nvPr/>
          </p:nvSpPr>
          <p:spPr bwMode="auto">
            <a:xfrm>
              <a:off x="1681748" y="1818909"/>
              <a:ext cx="569797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DCDFA62-CB99-48E6-8C22-8D6B5C8C567C}"/>
              </a:ext>
            </a:extLst>
          </p:cNvPr>
          <p:cNvGrpSpPr/>
          <p:nvPr/>
        </p:nvGrpSpPr>
        <p:grpSpPr>
          <a:xfrm>
            <a:off x="1687048" y="2641868"/>
            <a:ext cx="1382155" cy="345174"/>
            <a:chOff x="1681748" y="1645305"/>
            <a:chExt cx="1382155" cy="345174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1A14D87-2421-479C-B756-B7FE0EB067AD}"/>
                </a:ext>
              </a:extLst>
            </p:cNvPr>
            <p:cNvSpPr/>
            <p:nvPr/>
          </p:nvSpPr>
          <p:spPr bwMode="auto">
            <a:xfrm>
              <a:off x="1688374" y="1645305"/>
              <a:ext cx="1375529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31C0EDA-5E1D-4C56-BB6B-99115B6AFE58}"/>
                </a:ext>
              </a:extLst>
            </p:cNvPr>
            <p:cNvSpPr/>
            <p:nvPr/>
          </p:nvSpPr>
          <p:spPr bwMode="auto">
            <a:xfrm>
              <a:off x="1681748" y="1818909"/>
              <a:ext cx="1212528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D3FFDE7-61F3-4B1A-B37F-5A8BEBF79B93}"/>
              </a:ext>
            </a:extLst>
          </p:cNvPr>
          <p:cNvGrpSpPr/>
          <p:nvPr/>
        </p:nvGrpSpPr>
        <p:grpSpPr>
          <a:xfrm>
            <a:off x="1688373" y="3141475"/>
            <a:ext cx="545945" cy="345174"/>
            <a:chOff x="1681748" y="1645305"/>
            <a:chExt cx="545945" cy="345174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8FF7FA4-535B-4ADB-842D-C19AD47DC6F1}"/>
                </a:ext>
              </a:extLst>
            </p:cNvPr>
            <p:cNvSpPr/>
            <p:nvPr/>
          </p:nvSpPr>
          <p:spPr bwMode="auto">
            <a:xfrm>
              <a:off x="1688375" y="1645305"/>
              <a:ext cx="539318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3F0B5E1-5395-446C-AC52-11848C8C5A75}"/>
                </a:ext>
              </a:extLst>
            </p:cNvPr>
            <p:cNvSpPr/>
            <p:nvPr/>
          </p:nvSpPr>
          <p:spPr bwMode="auto">
            <a:xfrm>
              <a:off x="1681748" y="1818909"/>
              <a:ext cx="477032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CF1D1F5-4C27-4FD1-A2D9-CDB2B1AEEAD9}"/>
              </a:ext>
            </a:extLst>
          </p:cNvPr>
          <p:cNvGrpSpPr/>
          <p:nvPr/>
        </p:nvGrpSpPr>
        <p:grpSpPr>
          <a:xfrm>
            <a:off x="1680270" y="3635781"/>
            <a:ext cx="1447072" cy="345174"/>
            <a:chOff x="1681747" y="1645305"/>
            <a:chExt cx="1447072" cy="34517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546FF06-CFD5-4C7B-8A27-E055AA3EF0B5}"/>
                </a:ext>
              </a:extLst>
            </p:cNvPr>
            <p:cNvSpPr/>
            <p:nvPr/>
          </p:nvSpPr>
          <p:spPr bwMode="auto">
            <a:xfrm>
              <a:off x="1688375" y="1645305"/>
              <a:ext cx="1440444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FDD74C2-7079-4A62-A2B2-C4B6C92350DF}"/>
                </a:ext>
              </a:extLst>
            </p:cNvPr>
            <p:cNvSpPr/>
            <p:nvPr/>
          </p:nvSpPr>
          <p:spPr bwMode="auto">
            <a:xfrm>
              <a:off x="1681747" y="1818909"/>
              <a:ext cx="874393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97178CDD-43FC-4673-A5C1-732802E3BC99}"/>
              </a:ext>
            </a:extLst>
          </p:cNvPr>
          <p:cNvSpPr/>
          <p:nvPr/>
        </p:nvSpPr>
        <p:spPr bwMode="auto">
          <a:xfrm>
            <a:off x="1692351" y="4143339"/>
            <a:ext cx="698341" cy="17157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3A356A3-8D02-443A-9DD3-792FBFBD4EF8}"/>
              </a:ext>
            </a:extLst>
          </p:cNvPr>
          <p:cNvGrpSpPr/>
          <p:nvPr/>
        </p:nvGrpSpPr>
        <p:grpSpPr>
          <a:xfrm>
            <a:off x="1685723" y="4641621"/>
            <a:ext cx="2809413" cy="345174"/>
            <a:chOff x="1681748" y="1645305"/>
            <a:chExt cx="2809413" cy="345174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9D65BFF-EEE2-4205-BF49-5F8D9604FDE3}"/>
                </a:ext>
              </a:extLst>
            </p:cNvPr>
            <p:cNvSpPr/>
            <p:nvPr/>
          </p:nvSpPr>
          <p:spPr bwMode="auto">
            <a:xfrm>
              <a:off x="1688374" y="1645305"/>
              <a:ext cx="2802787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FC89CF4-7627-40D1-BB35-B74C46E7F1F8}"/>
                </a:ext>
              </a:extLst>
            </p:cNvPr>
            <p:cNvSpPr/>
            <p:nvPr/>
          </p:nvSpPr>
          <p:spPr bwMode="auto">
            <a:xfrm>
              <a:off x="1681748" y="1818909"/>
              <a:ext cx="469080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DA8F1B1-3F9B-43F6-988E-2BF2559FE6B4}"/>
              </a:ext>
            </a:extLst>
          </p:cNvPr>
          <p:cNvGrpSpPr/>
          <p:nvPr/>
        </p:nvGrpSpPr>
        <p:grpSpPr>
          <a:xfrm>
            <a:off x="1684398" y="5146531"/>
            <a:ext cx="1859234" cy="345174"/>
            <a:chOff x="1681747" y="1645305"/>
            <a:chExt cx="1859234" cy="345174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D77E01-3F60-4D95-BDF0-B38836EC6312}"/>
                </a:ext>
              </a:extLst>
            </p:cNvPr>
            <p:cNvSpPr/>
            <p:nvPr/>
          </p:nvSpPr>
          <p:spPr bwMode="auto">
            <a:xfrm>
              <a:off x="1688375" y="1645305"/>
              <a:ext cx="1852606" cy="171570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73A95872-3971-4D0D-9EA0-FB213737A355}"/>
                </a:ext>
              </a:extLst>
            </p:cNvPr>
            <p:cNvSpPr/>
            <p:nvPr/>
          </p:nvSpPr>
          <p:spPr bwMode="auto">
            <a:xfrm>
              <a:off x="1681747" y="1818909"/>
              <a:ext cx="629431" cy="171570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DF2EEB6-A14C-4941-BAA7-AE667E93892F}"/>
              </a:ext>
            </a:extLst>
          </p:cNvPr>
          <p:cNvSpPr txBox="1"/>
          <p:nvPr/>
        </p:nvSpPr>
        <p:spPr bwMode="auto">
          <a:xfrm>
            <a:off x="4431528" y="1558456"/>
            <a:ext cx="15531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0.84 (9.17-13.08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3A4D50C-24C5-4A7D-A2AC-E38CDBA464C0}"/>
              </a:ext>
            </a:extLst>
          </p:cNvPr>
          <p:cNvSpPr txBox="1"/>
          <p:nvPr/>
        </p:nvSpPr>
        <p:spPr bwMode="auto">
          <a:xfrm>
            <a:off x="2543093" y="1750612"/>
            <a:ext cx="15531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.48 (1.74-3.65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BEC0103-96C3-46AF-A7F9-C516579BEC16}"/>
              </a:ext>
            </a:extLst>
          </p:cNvPr>
          <p:cNvSpPr txBox="1"/>
          <p:nvPr/>
        </p:nvSpPr>
        <p:spPr bwMode="auto">
          <a:xfrm>
            <a:off x="2947853" y="2051436"/>
            <a:ext cx="15531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.09 (3.61-5.52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B2BF0D9-9C7E-45AD-96BF-8BB3F50618D2}"/>
              </a:ext>
            </a:extLst>
          </p:cNvPr>
          <p:cNvSpPr txBox="1"/>
          <p:nvPr/>
        </p:nvSpPr>
        <p:spPr bwMode="auto">
          <a:xfrm>
            <a:off x="2209706" y="2243593"/>
            <a:ext cx="13822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.20 (1.71-4.83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A3EEEF7-07B0-455A-8882-0312C163810C}"/>
              </a:ext>
            </a:extLst>
          </p:cNvPr>
          <p:cNvSpPr txBox="1"/>
          <p:nvPr/>
        </p:nvSpPr>
        <p:spPr bwMode="auto">
          <a:xfrm>
            <a:off x="3016258" y="2555018"/>
            <a:ext cx="13822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.36 (3.61-6.21)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6A7BBB8-65E0-4AAA-826E-29D0DAE0F0A1}"/>
              </a:ext>
            </a:extLst>
          </p:cNvPr>
          <p:cNvSpPr txBox="1"/>
          <p:nvPr/>
        </p:nvSpPr>
        <p:spPr bwMode="auto">
          <a:xfrm>
            <a:off x="2839943" y="2755126"/>
            <a:ext cx="13822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.70 (1.84-7.26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B1BE72D-843B-4FAC-B12C-7F7F9B796DFF}"/>
              </a:ext>
            </a:extLst>
          </p:cNvPr>
          <p:cNvSpPr txBox="1"/>
          <p:nvPr/>
        </p:nvSpPr>
        <p:spPr bwMode="auto">
          <a:xfrm>
            <a:off x="2181372" y="3066553"/>
            <a:ext cx="13822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.07 (1.38-5.52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3BB8685-8688-4EAD-9CFA-8154BFCC9625}"/>
              </a:ext>
            </a:extLst>
          </p:cNvPr>
          <p:cNvSpPr txBox="1"/>
          <p:nvPr/>
        </p:nvSpPr>
        <p:spPr bwMode="auto">
          <a:xfrm>
            <a:off x="2103184" y="3250757"/>
            <a:ext cx="13822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.84 (1.71-3.71)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B10A70D-F29C-44DA-8580-DD25AF45F442}"/>
              </a:ext>
            </a:extLst>
          </p:cNvPr>
          <p:cNvSpPr txBox="1"/>
          <p:nvPr/>
        </p:nvSpPr>
        <p:spPr bwMode="auto">
          <a:xfrm>
            <a:off x="3079869" y="3562184"/>
            <a:ext cx="161941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5.59 (1.64-11.99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060DC43-5D3D-444E-803F-6F5BEF2CCDC7}"/>
              </a:ext>
            </a:extLst>
          </p:cNvPr>
          <p:cNvSpPr txBox="1"/>
          <p:nvPr/>
        </p:nvSpPr>
        <p:spPr bwMode="auto">
          <a:xfrm>
            <a:off x="2508700" y="3759641"/>
            <a:ext cx="161941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3.35 (1.38-NR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86A05D8-5C9F-4B22-9DD1-572DBD4B40D1}"/>
              </a:ext>
            </a:extLst>
          </p:cNvPr>
          <p:cNvSpPr txBox="1"/>
          <p:nvPr/>
        </p:nvSpPr>
        <p:spPr bwMode="auto">
          <a:xfrm>
            <a:off x="2343079" y="4081669"/>
            <a:ext cx="161941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.69 (1.77-3.91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6DF72D3-799F-4C9E-8799-61F948D4A4AB}"/>
              </a:ext>
            </a:extLst>
          </p:cNvPr>
          <p:cNvSpPr txBox="1"/>
          <p:nvPr/>
        </p:nvSpPr>
        <p:spPr bwMode="auto">
          <a:xfrm>
            <a:off x="1633994" y="4287078"/>
            <a:ext cx="4731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N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6869AE1-7671-4A04-9489-DC4885E88F21}"/>
              </a:ext>
            </a:extLst>
          </p:cNvPr>
          <p:cNvSpPr txBox="1"/>
          <p:nvPr/>
        </p:nvSpPr>
        <p:spPr bwMode="auto">
          <a:xfrm>
            <a:off x="4442129" y="4556097"/>
            <a:ext cx="157170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0.89 (1.61-14.75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FC3966B-B27E-46CF-8254-A47B4B69BB95}"/>
              </a:ext>
            </a:extLst>
          </p:cNvPr>
          <p:cNvSpPr txBox="1"/>
          <p:nvPr/>
        </p:nvSpPr>
        <p:spPr bwMode="auto">
          <a:xfrm>
            <a:off x="2092612" y="4758855"/>
            <a:ext cx="5393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.77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E8B86E0-5A40-4657-9184-E72A84C6640D}"/>
              </a:ext>
            </a:extLst>
          </p:cNvPr>
          <p:cNvSpPr txBox="1"/>
          <p:nvPr/>
        </p:nvSpPr>
        <p:spPr bwMode="auto">
          <a:xfrm>
            <a:off x="3488066" y="5070281"/>
            <a:ext cx="14126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7.20 (3.71-7.39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DF62A47-B88E-495B-898B-C81D21A4C5F0}"/>
              </a:ext>
            </a:extLst>
          </p:cNvPr>
          <p:cNvSpPr txBox="1"/>
          <p:nvPr/>
        </p:nvSpPr>
        <p:spPr bwMode="auto">
          <a:xfrm>
            <a:off x="2264890" y="5265088"/>
            <a:ext cx="14126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.41 (1.81-3.02)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0FB6CA0-C16B-422D-B298-6CDF5FEE43DB}"/>
              </a:ext>
            </a:extLst>
          </p:cNvPr>
          <p:cNvCxnSpPr>
            <a:cxnSpLocks/>
          </p:cNvCxnSpPr>
          <p:nvPr/>
        </p:nvCxnSpPr>
        <p:spPr bwMode="auto">
          <a:xfrm>
            <a:off x="1680376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01C7F4F-EFEB-441A-BB3C-19357645C455}"/>
              </a:ext>
            </a:extLst>
          </p:cNvPr>
          <p:cNvCxnSpPr>
            <a:cxnSpLocks/>
          </p:cNvCxnSpPr>
          <p:nvPr/>
        </p:nvCxnSpPr>
        <p:spPr bwMode="auto">
          <a:xfrm>
            <a:off x="2200920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751E35A-5752-4BEA-BAAB-89E7283E3FC0}"/>
              </a:ext>
            </a:extLst>
          </p:cNvPr>
          <p:cNvCxnSpPr>
            <a:cxnSpLocks/>
          </p:cNvCxnSpPr>
          <p:nvPr/>
        </p:nvCxnSpPr>
        <p:spPr bwMode="auto">
          <a:xfrm>
            <a:off x="2705564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3FA825E-8596-4394-A8FA-BB47C1EF8B85}"/>
              </a:ext>
            </a:extLst>
          </p:cNvPr>
          <p:cNvCxnSpPr>
            <a:cxnSpLocks/>
          </p:cNvCxnSpPr>
          <p:nvPr/>
        </p:nvCxnSpPr>
        <p:spPr bwMode="auto">
          <a:xfrm>
            <a:off x="3202257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6B71929-85AD-4037-ACE4-5EB2262D2605}"/>
              </a:ext>
            </a:extLst>
          </p:cNvPr>
          <p:cNvCxnSpPr>
            <a:cxnSpLocks/>
          </p:cNvCxnSpPr>
          <p:nvPr/>
        </p:nvCxnSpPr>
        <p:spPr bwMode="auto">
          <a:xfrm>
            <a:off x="3701597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58577BC-E016-48B7-8E3A-048F667F2C32}"/>
              </a:ext>
            </a:extLst>
          </p:cNvPr>
          <p:cNvCxnSpPr>
            <a:cxnSpLocks/>
          </p:cNvCxnSpPr>
          <p:nvPr/>
        </p:nvCxnSpPr>
        <p:spPr bwMode="auto">
          <a:xfrm>
            <a:off x="4243347" y="5565914"/>
            <a:ext cx="0" cy="92765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2ACBCBDC-3931-43E2-ACC1-0D297EC93274}"/>
              </a:ext>
            </a:extLst>
          </p:cNvPr>
          <p:cNvSpPr txBox="1"/>
          <p:nvPr/>
        </p:nvSpPr>
        <p:spPr bwMode="auto">
          <a:xfrm>
            <a:off x="1545729" y="5599364"/>
            <a:ext cx="2724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725EB1C-8BDF-420E-B8BD-26AF260B69E1}"/>
              </a:ext>
            </a:extLst>
          </p:cNvPr>
          <p:cNvSpPr txBox="1"/>
          <p:nvPr/>
        </p:nvSpPr>
        <p:spPr bwMode="auto">
          <a:xfrm>
            <a:off x="2071840" y="5616592"/>
            <a:ext cx="2724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D1D4D2E-9242-4238-A069-E6548FFB92D0}"/>
              </a:ext>
            </a:extLst>
          </p:cNvPr>
          <p:cNvSpPr txBox="1"/>
          <p:nvPr/>
        </p:nvSpPr>
        <p:spPr bwMode="auto">
          <a:xfrm>
            <a:off x="2563495" y="5612617"/>
            <a:ext cx="2724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65C4DC2-3898-4F12-80F8-BFDFDAC1DC3D}"/>
              </a:ext>
            </a:extLst>
          </p:cNvPr>
          <p:cNvSpPr txBox="1"/>
          <p:nvPr/>
        </p:nvSpPr>
        <p:spPr bwMode="auto">
          <a:xfrm>
            <a:off x="3061776" y="5620568"/>
            <a:ext cx="2724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F8D6EBD-AA10-4744-A63F-21D3A6A333A7}"/>
              </a:ext>
            </a:extLst>
          </p:cNvPr>
          <p:cNvSpPr txBox="1"/>
          <p:nvPr/>
        </p:nvSpPr>
        <p:spPr bwMode="auto">
          <a:xfrm>
            <a:off x="3560057" y="5620568"/>
            <a:ext cx="2724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25C9BEA-2798-44CA-9963-B7F799BBE4E2}"/>
              </a:ext>
            </a:extLst>
          </p:cNvPr>
          <p:cNvSpPr txBox="1"/>
          <p:nvPr/>
        </p:nvSpPr>
        <p:spPr bwMode="auto">
          <a:xfrm>
            <a:off x="4055688" y="5620568"/>
            <a:ext cx="378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400" b="0" dirty="0">
                <a:solidFill>
                  <a:schemeClr val="bg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B560CB2-E194-4009-96BA-A0B5EF22686C}"/>
              </a:ext>
            </a:extLst>
          </p:cNvPr>
          <p:cNvSpPr/>
          <p:nvPr/>
        </p:nvSpPr>
        <p:spPr bwMode="auto">
          <a:xfrm>
            <a:off x="4733824" y="5585374"/>
            <a:ext cx="151075" cy="151075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901AD98-0012-4AAE-89E4-9459E49B6E21}"/>
              </a:ext>
            </a:extLst>
          </p:cNvPr>
          <p:cNvSpPr/>
          <p:nvPr/>
        </p:nvSpPr>
        <p:spPr bwMode="auto">
          <a:xfrm>
            <a:off x="4732499" y="5862345"/>
            <a:ext cx="151075" cy="151075"/>
          </a:xfrm>
          <a:prstGeom prst="rect">
            <a:avLst/>
          </a:prstGeom>
          <a:solidFill>
            <a:schemeClr val="accent3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C5386A4-01F4-429D-8841-38D0F0156645}"/>
              </a:ext>
            </a:extLst>
          </p:cNvPr>
          <p:cNvSpPr txBox="1"/>
          <p:nvPr/>
        </p:nvSpPr>
        <p:spPr bwMode="auto">
          <a:xfrm>
            <a:off x="4869824" y="5492859"/>
            <a:ext cx="10487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  <a:t>Olaparib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0" dirty="0">
                <a:solidFill>
                  <a:schemeClr val="bg1"/>
                </a:solidFill>
                <a:latin typeface="Calibri" panose="020F0502020204030204" pitchFamily="34" charset="0"/>
              </a:rPr>
              <a:t>Contro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51088B-B446-4014-9EA1-F7F2F67C85A9}"/>
              </a:ext>
            </a:extLst>
          </p:cNvPr>
          <p:cNvSpPr txBox="1"/>
          <p:nvPr/>
        </p:nvSpPr>
        <p:spPr bwMode="auto">
          <a:xfrm>
            <a:off x="6370646" y="841212"/>
            <a:ext cx="111719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Subgrou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5D5DAE4-CD5E-4EAF-A67E-01BC3C986A9E}"/>
              </a:ext>
            </a:extLst>
          </p:cNvPr>
          <p:cNvSpPr txBox="1"/>
          <p:nvPr/>
        </p:nvSpPr>
        <p:spPr bwMode="auto">
          <a:xfrm>
            <a:off x="8503674" y="834513"/>
            <a:ext cx="31881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HR for Progression or Death (95% Cl)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5E99C39-F578-4CC9-BAA9-995CD2C9FA30}"/>
              </a:ext>
            </a:extLst>
          </p:cNvPr>
          <p:cNvSpPr txBox="1"/>
          <p:nvPr/>
        </p:nvSpPr>
        <p:spPr bwMode="auto">
          <a:xfrm>
            <a:off x="6349182" y="987966"/>
            <a:ext cx="150064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All patient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Previous taxane us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B1DB5B8-7743-43FE-836F-D57BCE441DE6}"/>
              </a:ext>
            </a:extLst>
          </p:cNvPr>
          <p:cNvSpPr txBox="1"/>
          <p:nvPr/>
        </p:nvSpPr>
        <p:spPr bwMode="auto">
          <a:xfrm>
            <a:off x="6501582" y="1295224"/>
            <a:ext cx="6476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Ye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No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20C026C-25C6-4EEE-8BD8-2ADB9F1D10C7}"/>
              </a:ext>
            </a:extLst>
          </p:cNvPr>
          <p:cNvSpPr txBox="1"/>
          <p:nvPr/>
        </p:nvSpPr>
        <p:spPr bwMode="auto">
          <a:xfrm>
            <a:off x="6361472" y="1600200"/>
            <a:ext cx="21630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Measurable disease at baselin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4E6408E-BCC2-444B-89EC-5A121727747D}"/>
              </a:ext>
            </a:extLst>
          </p:cNvPr>
          <p:cNvSpPr txBox="1"/>
          <p:nvPr/>
        </p:nvSpPr>
        <p:spPr bwMode="auto">
          <a:xfrm>
            <a:off x="6491750" y="1728019"/>
            <a:ext cx="6476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Ye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N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6C0A70C-C95B-4C99-BD41-FA14DDD06936}"/>
              </a:ext>
            </a:extLst>
          </p:cNvPr>
          <p:cNvSpPr txBox="1"/>
          <p:nvPr/>
        </p:nvSpPr>
        <p:spPr bwMode="auto">
          <a:xfrm>
            <a:off x="6377449" y="2040193"/>
            <a:ext cx="21630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Metastases at baseline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19EDD9E-055F-480A-ACD8-68D9D0FAF240}"/>
              </a:ext>
            </a:extLst>
          </p:cNvPr>
          <p:cNvSpPr txBox="1"/>
          <p:nvPr/>
        </p:nvSpPr>
        <p:spPr bwMode="auto">
          <a:xfrm>
            <a:off x="6478230" y="2164501"/>
            <a:ext cx="119461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Bone only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Viscer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Other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0276144-275B-4752-82FA-9C95144D8977}"/>
              </a:ext>
            </a:extLst>
          </p:cNvPr>
          <p:cNvSpPr txBox="1"/>
          <p:nvPr/>
        </p:nvSpPr>
        <p:spPr bwMode="auto">
          <a:xfrm>
            <a:off x="6363929" y="2660016"/>
            <a:ext cx="21630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ECOG PS at baselin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6CBACBD-3576-4C01-BC54-005F88369909}"/>
              </a:ext>
            </a:extLst>
          </p:cNvPr>
          <p:cNvSpPr txBox="1"/>
          <p:nvPr/>
        </p:nvSpPr>
        <p:spPr bwMode="auto">
          <a:xfrm>
            <a:off x="6501581" y="2777437"/>
            <a:ext cx="3711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5824842-6D1B-478A-80B4-81A9D7B13873}"/>
              </a:ext>
            </a:extLst>
          </p:cNvPr>
          <p:cNvSpPr txBox="1"/>
          <p:nvPr/>
        </p:nvSpPr>
        <p:spPr bwMode="auto">
          <a:xfrm>
            <a:off x="6357784" y="3239944"/>
            <a:ext cx="21630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Age at randomization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3F71461-F913-473C-BB20-61B0883D413A}"/>
              </a:ext>
            </a:extLst>
          </p:cNvPr>
          <p:cNvSpPr txBox="1"/>
          <p:nvPr/>
        </p:nvSpPr>
        <p:spPr bwMode="auto">
          <a:xfrm>
            <a:off x="6524931" y="3354028"/>
            <a:ext cx="71283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&lt;65 yr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≥65 yr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4276B8E-C932-46A3-A3E0-07A6011BE119}"/>
              </a:ext>
            </a:extLst>
          </p:cNvPr>
          <p:cNvSpPr txBox="1"/>
          <p:nvPr/>
        </p:nvSpPr>
        <p:spPr bwMode="auto">
          <a:xfrm>
            <a:off x="6366389" y="3667215"/>
            <a:ext cx="80870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Region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A392802-0874-4B12-85B7-515D4360CDE2}"/>
              </a:ext>
            </a:extLst>
          </p:cNvPr>
          <p:cNvSpPr txBox="1"/>
          <p:nvPr/>
        </p:nvSpPr>
        <p:spPr bwMode="auto">
          <a:xfrm>
            <a:off x="6474541" y="3797709"/>
            <a:ext cx="181036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Asia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Europe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North and South America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2D91DE4-7BF3-4FC3-B0DD-38E0EB1E464A}"/>
              </a:ext>
            </a:extLst>
          </p:cNvPr>
          <p:cNvSpPr txBox="1"/>
          <p:nvPr/>
        </p:nvSpPr>
        <p:spPr bwMode="auto">
          <a:xfrm>
            <a:off x="6366387" y="4293009"/>
            <a:ext cx="21630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PSA at baseline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8AA15A44-40A1-4B46-86E6-A2BC4E917937}"/>
              </a:ext>
            </a:extLst>
          </p:cNvPr>
          <p:cNvSpPr txBox="1"/>
          <p:nvPr/>
        </p:nvSpPr>
        <p:spPr bwMode="auto">
          <a:xfrm>
            <a:off x="6516329" y="4428202"/>
            <a:ext cx="119707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≥Median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&lt;Median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25585CD-5EFF-482F-BA4D-2C99F2985DDB}"/>
              </a:ext>
            </a:extLst>
          </p:cNvPr>
          <p:cNvSpPr txBox="1"/>
          <p:nvPr/>
        </p:nvSpPr>
        <p:spPr bwMode="auto">
          <a:xfrm>
            <a:off x="6356556" y="4733003"/>
            <a:ext cx="12499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Gene alteration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A98750F-BE7C-4A7A-9AAD-BCE3E290E5F2}"/>
              </a:ext>
            </a:extLst>
          </p:cNvPr>
          <p:cNvSpPr txBox="1"/>
          <p:nvPr/>
        </p:nvSpPr>
        <p:spPr bwMode="auto">
          <a:xfrm>
            <a:off x="6490520" y="4878030"/>
            <a:ext cx="12499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BRCA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5C32D03-45F0-4BE8-AF32-52A1579FA7E0}"/>
              </a:ext>
            </a:extLst>
          </p:cNvPr>
          <p:cNvSpPr txBox="1"/>
          <p:nvPr/>
        </p:nvSpPr>
        <p:spPr bwMode="auto">
          <a:xfrm>
            <a:off x="6484374" y="5181600"/>
            <a:ext cx="5026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ATM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3435D2CC-E4F9-4CE6-93D7-F9FF2BEE06F0}"/>
              </a:ext>
            </a:extLst>
          </p:cNvPr>
          <p:cNvSpPr txBox="1"/>
          <p:nvPr/>
        </p:nvSpPr>
        <p:spPr bwMode="auto">
          <a:xfrm>
            <a:off x="6486833" y="5036575"/>
            <a:ext cx="12499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BRCA2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ED169D1-7ACA-439D-8C39-BC5D74E04AA8}"/>
              </a:ext>
            </a:extLst>
          </p:cNvPr>
          <p:cNvSpPr txBox="1"/>
          <p:nvPr/>
        </p:nvSpPr>
        <p:spPr bwMode="auto">
          <a:xfrm>
            <a:off x="6492977" y="5334000"/>
            <a:ext cx="7447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CDK12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6DD2F97-1284-47D9-AB30-3FDBC664FECF}"/>
              </a:ext>
            </a:extLst>
          </p:cNvPr>
          <p:cNvSpPr txBox="1"/>
          <p:nvPr/>
        </p:nvSpPr>
        <p:spPr bwMode="auto">
          <a:xfrm>
            <a:off x="6490518" y="5475339"/>
            <a:ext cx="7447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CHEK2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F26D0D1-8A3D-4758-B4AE-9EFA79123CA6}"/>
              </a:ext>
            </a:extLst>
          </p:cNvPr>
          <p:cNvSpPr txBox="1"/>
          <p:nvPr/>
        </p:nvSpPr>
        <p:spPr bwMode="auto">
          <a:xfrm>
            <a:off x="6491746" y="5620365"/>
            <a:ext cx="9119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PPP2R2A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0A05E88F-D68C-4D65-8A87-9A3AEFB7C26B}"/>
              </a:ext>
            </a:extLst>
          </p:cNvPr>
          <p:cNvSpPr txBox="1"/>
          <p:nvPr/>
        </p:nvSpPr>
        <p:spPr bwMode="auto">
          <a:xfrm>
            <a:off x="6485600" y="5772766"/>
            <a:ext cx="9119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i="1" dirty="0">
                <a:solidFill>
                  <a:schemeClr val="bg1"/>
                </a:solidFill>
                <a:latin typeface="Calibri" panose="020F0502020204030204" pitchFamily="34" charset="0"/>
              </a:rPr>
              <a:t>RAD54L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ECE9B54B-42AA-40FF-8D22-9EB8E1607AD6}"/>
              </a:ext>
            </a:extLst>
          </p:cNvPr>
          <p:cNvCxnSpPr>
            <a:cxnSpLocks/>
          </p:cNvCxnSpPr>
          <p:nvPr/>
        </p:nvCxnSpPr>
        <p:spPr bwMode="auto">
          <a:xfrm flipH="1">
            <a:off x="8195733" y="6220178"/>
            <a:ext cx="1080913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6CF9A39-7AE7-497A-8BCB-E5E849889CFB}"/>
              </a:ext>
            </a:extLst>
          </p:cNvPr>
          <p:cNvCxnSpPr>
            <a:cxnSpLocks/>
          </p:cNvCxnSpPr>
          <p:nvPr/>
        </p:nvCxnSpPr>
        <p:spPr bwMode="auto">
          <a:xfrm>
            <a:off x="9378245" y="6223000"/>
            <a:ext cx="1063977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74" name="Straight Connector 3073">
            <a:extLst>
              <a:ext uri="{FF2B5EF4-FFF2-40B4-BE49-F238E27FC236}">
                <a16:creationId xmlns:a16="http://schemas.microsoft.com/office/drawing/2014/main" id="{5C602499-95F3-4A38-90A4-3F382A4FEB2D}"/>
              </a:ext>
            </a:extLst>
          </p:cNvPr>
          <p:cNvCxnSpPr/>
          <p:nvPr/>
        </p:nvCxnSpPr>
        <p:spPr bwMode="auto">
          <a:xfrm>
            <a:off x="8283222" y="5988756"/>
            <a:ext cx="2127956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77" name="Straight Connector 3076">
            <a:extLst>
              <a:ext uri="{FF2B5EF4-FFF2-40B4-BE49-F238E27FC236}">
                <a16:creationId xmlns:a16="http://schemas.microsoft.com/office/drawing/2014/main" id="{46659AD9-0A19-4AF7-A099-D96B4A870736}"/>
              </a:ext>
            </a:extLst>
          </p:cNvPr>
          <p:cNvCxnSpPr>
            <a:cxnSpLocks/>
          </p:cNvCxnSpPr>
          <p:nvPr/>
        </p:nvCxnSpPr>
        <p:spPr bwMode="auto">
          <a:xfrm>
            <a:off x="8286752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490A8B7D-DF8F-4997-820F-A60907DDD57F}"/>
              </a:ext>
            </a:extLst>
          </p:cNvPr>
          <p:cNvCxnSpPr>
            <a:cxnSpLocks/>
          </p:cNvCxnSpPr>
          <p:nvPr/>
        </p:nvCxnSpPr>
        <p:spPr bwMode="auto">
          <a:xfrm>
            <a:off x="8551336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36F20FB-A09F-4B08-B2E4-A4694C3DA703}"/>
              </a:ext>
            </a:extLst>
          </p:cNvPr>
          <p:cNvCxnSpPr>
            <a:cxnSpLocks/>
          </p:cNvCxnSpPr>
          <p:nvPr/>
        </p:nvCxnSpPr>
        <p:spPr bwMode="auto">
          <a:xfrm>
            <a:off x="8813802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DDE6D4E5-D7DC-49E8-8CD5-81082E06A4CB}"/>
              </a:ext>
            </a:extLst>
          </p:cNvPr>
          <p:cNvCxnSpPr>
            <a:cxnSpLocks/>
          </p:cNvCxnSpPr>
          <p:nvPr/>
        </p:nvCxnSpPr>
        <p:spPr bwMode="auto">
          <a:xfrm>
            <a:off x="9076268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1C0C6DDE-55C3-4FBA-80E2-47480BFC33EE}"/>
              </a:ext>
            </a:extLst>
          </p:cNvPr>
          <p:cNvCxnSpPr>
            <a:cxnSpLocks/>
          </p:cNvCxnSpPr>
          <p:nvPr/>
        </p:nvCxnSpPr>
        <p:spPr bwMode="auto">
          <a:xfrm>
            <a:off x="9334501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5EE985F1-0473-4E24-B2F2-6F96DCAF9891}"/>
              </a:ext>
            </a:extLst>
          </p:cNvPr>
          <p:cNvCxnSpPr>
            <a:cxnSpLocks/>
          </p:cNvCxnSpPr>
          <p:nvPr/>
        </p:nvCxnSpPr>
        <p:spPr bwMode="auto">
          <a:xfrm>
            <a:off x="9601201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0E907053-62C1-4F2F-8035-D273B503CBEF}"/>
              </a:ext>
            </a:extLst>
          </p:cNvPr>
          <p:cNvCxnSpPr>
            <a:cxnSpLocks/>
          </p:cNvCxnSpPr>
          <p:nvPr/>
        </p:nvCxnSpPr>
        <p:spPr bwMode="auto">
          <a:xfrm>
            <a:off x="9874251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D9832DB-74B9-4A85-945C-FA48D6AE07C5}"/>
              </a:ext>
            </a:extLst>
          </p:cNvPr>
          <p:cNvCxnSpPr>
            <a:cxnSpLocks/>
          </p:cNvCxnSpPr>
          <p:nvPr/>
        </p:nvCxnSpPr>
        <p:spPr bwMode="auto">
          <a:xfrm>
            <a:off x="10149417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CEC35D6-9445-439B-AFE8-5F1AF186946A}"/>
              </a:ext>
            </a:extLst>
          </p:cNvPr>
          <p:cNvCxnSpPr>
            <a:cxnSpLocks/>
          </p:cNvCxnSpPr>
          <p:nvPr/>
        </p:nvCxnSpPr>
        <p:spPr bwMode="auto">
          <a:xfrm>
            <a:off x="10407651" y="5975350"/>
            <a:ext cx="0" cy="7620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81" name="TextBox 3080">
            <a:extLst>
              <a:ext uri="{FF2B5EF4-FFF2-40B4-BE49-F238E27FC236}">
                <a16:creationId xmlns:a16="http://schemas.microsoft.com/office/drawing/2014/main" id="{1E2BCF99-602C-4CAE-969E-D0CE269BF4AA}"/>
              </a:ext>
            </a:extLst>
          </p:cNvPr>
          <p:cNvSpPr txBox="1"/>
          <p:nvPr/>
        </p:nvSpPr>
        <p:spPr bwMode="auto">
          <a:xfrm>
            <a:off x="8056034" y="5973233"/>
            <a:ext cx="8043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06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4FDE77B-181D-41D9-AD3D-F8D27481E9DA}"/>
              </a:ext>
            </a:extLst>
          </p:cNvPr>
          <p:cNvSpPr txBox="1"/>
          <p:nvPr/>
        </p:nvSpPr>
        <p:spPr bwMode="auto">
          <a:xfrm>
            <a:off x="8589434" y="5973233"/>
            <a:ext cx="4974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25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8CEF4C60-EF36-4951-9A29-BAED62FBED14}"/>
              </a:ext>
            </a:extLst>
          </p:cNvPr>
          <p:cNvSpPr txBox="1"/>
          <p:nvPr/>
        </p:nvSpPr>
        <p:spPr bwMode="auto">
          <a:xfrm>
            <a:off x="9103681" y="5971116"/>
            <a:ext cx="4713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1.00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C4F6E9BF-0408-4DC1-B993-2240C562EF06}"/>
              </a:ext>
            </a:extLst>
          </p:cNvPr>
          <p:cNvSpPr txBox="1"/>
          <p:nvPr/>
        </p:nvSpPr>
        <p:spPr bwMode="auto">
          <a:xfrm>
            <a:off x="9653214" y="5974549"/>
            <a:ext cx="4594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4.00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AEBDA8F4-AE25-4D36-8FD9-F82481190616}"/>
              </a:ext>
            </a:extLst>
          </p:cNvPr>
          <p:cNvSpPr txBox="1"/>
          <p:nvPr/>
        </p:nvSpPr>
        <p:spPr bwMode="auto">
          <a:xfrm>
            <a:off x="10146341" y="5978829"/>
            <a:ext cx="68468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16.00</a:t>
            </a:r>
          </a:p>
        </p:txBody>
      </p:sp>
      <p:sp>
        <p:nvSpPr>
          <p:cNvPr id="3082" name="TextBox 3081">
            <a:extLst>
              <a:ext uri="{FF2B5EF4-FFF2-40B4-BE49-F238E27FC236}">
                <a16:creationId xmlns:a16="http://schemas.microsoft.com/office/drawing/2014/main" id="{EBFB7002-0D51-4610-B6F4-85706C735F84}"/>
              </a:ext>
            </a:extLst>
          </p:cNvPr>
          <p:cNvSpPr txBox="1"/>
          <p:nvPr/>
        </p:nvSpPr>
        <p:spPr bwMode="auto">
          <a:xfrm>
            <a:off x="10496550" y="1005416"/>
            <a:ext cx="15065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9 (0.38-0.63)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BD84FE0-C61F-4FFA-8B78-69C99788FA7E}"/>
              </a:ext>
            </a:extLst>
          </p:cNvPr>
          <p:cNvSpPr txBox="1"/>
          <p:nvPr/>
        </p:nvSpPr>
        <p:spPr bwMode="auto">
          <a:xfrm>
            <a:off x="10511366" y="1295701"/>
            <a:ext cx="12001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39 (0.29-0.53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77 (0.50-1.22)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EB595834-8B92-4237-AC5E-C0C1EC31CFA3}"/>
              </a:ext>
            </a:extLst>
          </p:cNvPr>
          <p:cNvSpPr txBox="1"/>
          <p:nvPr/>
        </p:nvSpPr>
        <p:spPr bwMode="auto">
          <a:xfrm>
            <a:off x="10502899" y="1731431"/>
            <a:ext cx="12001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1 (0.30-0.56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64 (0.43-0.98)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CE0A280F-A318-4C6B-B29E-E366A190FF30}"/>
              </a:ext>
            </a:extLst>
          </p:cNvPr>
          <p:cNvSpPr txBox="1"/>
          <p:nvPr/>
        </p:nvSpPr>
        <p:spPr bwMode="auto">
          <a:xfrm>
            <a:off x="10507132" y="2167464"/>
            <a:ext cx="12001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57 (0.35-0.94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2 (0.28-0.64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57 (0.37-0.90)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67CC340-66F4-439F-BDB4-8FBC933DA654}"/>
              </a:ext>
            </a:extLst>
          </p:cNvPr>
          <p:cNvSpPr txBox="1"/>
          <p:nvPr/>
        </p:nvSpPr>
        <p:spPr bwMode="auto">
          <a:xfrm>
            <a:off x="10502898" y="2770713"/>
            <a:ext cx="12001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67 (0.46-1.00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5 (0.32-0.64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31 (0.10-1.13)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8E27932-A106-45BC-881C-A8E970263D04}"/>
              </a:ext>
            </a:extLst>
          </p:cNvPr>
          <p:cNvSpPr txBox="1"/>
          <p:nvPr/>
        </p:nvSpPr>
        <p:spPr bwMode="auto">
          <a:xfrm>
            <a:off x="10498666" y="3373963"/>
            <a:ext cx="12001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53 (0.34-0.85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52 (0.39-0.70)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DA789636-B55F-4B08-B057-7EC1CD10C24F}"/>
              </a:ext>
            </a:extLst>
          </p:cNvPr>
          <p:cNvSpPr txBox="1"/>
          <p:nvPr/>
        </p:nvSpPr>
        <p:spPr bwMode="auto">
          <a:xfrm>
            <a:off x="10507133" y="3807879"/>
            <a:ext cx="12001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67 (0.44-1.04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8 (0.33-0.71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3 (0.26-0.73)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B51ACE2D-53D2-4808-AD08-B0DAD6ED1DB8}"/>
              </a:ext>
            </a:extLst>
          </p:cNvPr>
          <p:cNvSpPr txBox="1"/>
          <p:nvPr/>
        </p:nvSpPr>
        <p:spPr bwMode="auto">
          <a:xfrm>
            <a:off x="10500782" y="4430481"/>
            <a:ext cx="12001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6 (0.33-0.65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65 (0.44-0.96)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FA3C5DC7-E85E-4D3C-B8E4-D8748E4ED02B}"/>
              </a:ext>
            </a:extLst>
          </p:cNvPr>
          <p:cNvSpPr txBox="1"/>
          <p:nvPr/>
        </p:nvSpPr>
        <p:spPr bwMode="auto">
          <a:xfrm>
            <a:off x="10500783" y="4876795"/>
            <a:ext cx="12001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41 (0.13-1.39)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7AFDBA8B-FC4A-49E8-BFC5-4F1C1713D524}"/>
              </a:ext>
            </a:extLst>
          </p:cNvPr>
          <p:cNvSpPr txBox="1"/>
          <p:nvPr/>
        </p:nvSpPr>
        <p:spPr bwMode="auto">
          <a:xfrm>
            <a:off x="10507133" y="5031311"/>
            <a:ext cx="12001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21 (0.13-0.32)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898C2B57-6AE9-4383-9878-FD1A9557DF4F}"/>
              </a:ext>
            </a:extLst>
          </p:cNvPr>
          <p:cNvSpPr txBox="1"/>
          <p:nvPr/>
        </p:nvSpPr>
        <p:spPr bwMode="auto">
          <a:xfrm>
            <a:off x="10507134" y="5173128"/>
            <a:ext cx="12001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1.04 (0.61-1.87)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EE863AFC-1282-4821-A99B-EC7FA56A94B6}"/>
              </a:ext>
            </a:extLst>
          </p:cNvPr>
          <p:cNvSpPr txBox="1"/>
          <p:nvPr/>
        </p:nvSpPr>
        <p:spPr bwMode="auto">
          <a:xfrm>
            <a:off x="10498668" y="5327644"/>
            <a:ext cx="12001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74 (0.44-1.31)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68B71996-0779-4F94-814E-571017A15087}"/>
              </a:ext>
            </a:extLst>
          </p:cNvPr>
          <p:cNvSpPr txBox="1"/>
          <p:nvPr/>
        </p:nvSpPr>
        <p:spPr bwMode="auto">
          <a:xfrm>
            <a:off x="10500784" y="5477930"/>
            <a:ext cx="12001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87 (0.23-4.13)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624AFC35-41AE-446B-B159-592D9F271EBA}"/>
              </a:ext>
            </a:extLst>
          </p:cNvPr>
          <p:cNvSpPr txBox="1"/>
          <p:nvPr/>
        </p:nvSpPr>
        <p:spPr bwMode="auto">
          <a:xfrm>
            <a:off x="10488084" y="5623981"/>
            <a:ext cx="147954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6.61 (1.41-46.41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360FFF0-8102-404B-8B52-80532B9B0927}"/>
              </a:ext>
            </a:extLst>
          </p:cNvPr>
          <p:cNvSpPr txBox="1"/>
          <p:nvPr/>
        </p:nvSpPr>
        <p:spPr bwMode="auto">
          <a:xfrm>
            <a:off x="10505016" y="5778498"/>
            <a:ext cx="128270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0.33 (0.05-2.54)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789B1AB-25E1-43E2-A221-BC949F4186FA}"/>
              </a:ext>
            </a:extLst>
          </p:cNvPr>
          <p:cNvSpPr/>
          <p:nvPr/>
        </p:nvSpPr>
        <p:spPr bwMode="auto">
          <a:xfrm>
            <a:off x="1681456" y="1590449"/>
            <a:ext cx="2864542" cy="3982624"/>
          </a:xfrm>
          <a:custGeom>
            <a:avLst/>
            <a:gdLst>
              <a:gd name="connsiteX0" fmla="*/ 0 w 2864542"/>
              <a:gd name="connsiteY0" fmla="*/ 0 h 3982624"/>
              <a:gd name="connsiteX1" fmla="*/ 0 w 2864542"/>
              <a:gd name="connsiteY1" fmla="*/ 3982624 h 3982624"/>
              <a:gd name="connsiteX2" fmla="*/ 2864542 w 2864542"/>
              <a:gd name="connsiteY2" fmla="*/ 3982624 h 3982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64542" h="3982624">
                <a:moveTo>
                  <a:pt x="0" y="0"/>
                </a:moveTo>
                <a:lnTo>
                  <a:pt x="0" y="3982624"/>
                </a:lnTo>
                <a:lnTo>
                  <a:pt x="2864542" y="3982624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C4DE0A6-4059-498D-82DE-529E84544BB1}"/>
              </a:ext>
            </a:extLst>
          </p:cNvPr>
          <p:cNvSpPr txBox="1"/>
          <p:nvPr/>
        </p:nvSpPr>
        <p:spPr bwMode="auto">
          <a:xfrm>
            <a:off x="8191485" y="6187618"/>
            <a:ext cx="15006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accent1"/>
                </a:solidFill>
                <a:latin typeface="Calibri" panose="020F0502020204030204" pitchFamily="34" charset="0"/>
              </a:rPr>
              <a:t>Olaparib</a:t>
            </a: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 Bett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32ABEA01-A0F8-4508-BA0A-004A8125E99A}"/>
              </a:ext>
            </a:extLst>
          </p:cNvPr>
          <p:cNvSpPr txBox="1"/>
          <p:nvPr/>
        </p:nvSpPr>
        <p:spPr bwMode="auto">
          <a:xfrm>
            <a:off x="9362457" y="6187632"/>
            <a:ext cx="113192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b="0" dirty="0">
                <a:solidFill>
                  <a:schemeClr val="accent3"/>
                </a:solidFill>
                <a:latin typeface="Calibri" panose="020F0502020204030204" pitchFamily="34" charset="0"/>
              </a:rPr>
              <a:t>Control</a:t>
            </a:r>
            <a:r>
              <a:rPr lang="en-US" sz="1200" b="0" dirty="0">
                <a:solidFill>
                  <a:schemeClr val="bg1"/>
                </a:solidFill>
                <a:latin typeface="Calibri" panose="020F0502020204030204" pitchFamily="34" charset="0"/>
              </a:rPr>
              <a:t> Better</a:t>
            </a:r>
          </a:p>
        </p:txBody>
      </p:sp>
      <p:cxnSp>
        <p:nvCxnSpPr>
          <p:cNvPr id="3085" name="Straight Connector 3084">
            <a:extLst>
              <a:ext uri="{FF2B5EF4-FFF2-40B4-BE49-F238E27FC236}">
                <a16:creationId xmlns:a16="http://schemas.microsoft.com/office/drawing/2014/main" id="{2E794E63-7423-4906-B6BF-4CC59CEB4955}"/>
              </a:ext>
            </a:extLst>
          </p:cNvPr>
          <p:cNvCxnSpPr>
            <a:cxnSpLocks/>
          </p:cNvCxnSpPr>
          <p:nvPr/>
        </p:nvCxnSpPr>
        <p:spPr bwMode="auto">
          <a:xfrm>
            <a:off x="9336947" y="1063893"/>
            <a:ext cx="0" cy="4942624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88" name="Straight Connector 3087">
            <a:extLst>
              <a:ext uri="{FF2B5EF4-FFF2-40B4-BE49-F238E27FC236}">
                <a16:creationId xmlns:a16="http://schemas.microsoft.com/office/drawing/2014/main" id="{40DE9E16-6E8E-4BF1-90A2-B5BD84DF59D5}"/>
              </a:ext>
            </a:extLst>
          </p:cNvPr>
          <p:cNvCxnSpPr/>
          <p:nvPr/>
        </p:nvCxnSpPr>
        <p:spPr bwMode="auto">
          <a:xfrm flipH="1">
            <a:off x="8951588" y="1145648"/>
            <a:ext cx="222421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4A63BA65-0160-496C-B0AA-3E3CF3BD505C}"/>
              </a:ext>
            </a:extLst>
          </p:cNvPr>
          <p:cNvCxnSpPr>
            <a:cxnSpLocks/>
          </p:cNvCxnSpPr>
          <p:nvPr/>
        </p:nvCxnSpPr>
        <p:spPr bwMode="auto">
          <a:xfrm flipH="1">
            <a:off x="8832140" y="1446329"/>
            <a:ext cx="262433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F86C13B-66C0-4720-A6C1-7FB0BC3A62BC}"/>
              </a:ext>
            </a:extLst>
          </p:cNvPr>
          <p:cNvCxnSpPr>
            <a:cxnSpLocks/>
          </p:cNvCxnSpPr>
          <p:nvPr/>
        </p:nvCxnSpPr>
        <p:spPr bwMode="auto">
          <a:xfrm flipH="1">
            <a:off x="9062798" y="1587845"/>
            <a:ext cx="367763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3EF78570-4C8B-4FCF-BC0A-4973ECDCD6F0}"/>
              </a:ext>
            </a:extLst>
          </p:cNvPr>
          <p:cNvCxnSpPr>
            <a:cxnSpLocks/>
          </p:cNvCxnSpPr>
          <p:nvPr/>
        </p:nvCxnSpPr>
        <p:spPr bwMode="auto">
          <a:xfrm flipH="1">
            <a:off x="8839200" y="1888526"/>
            <a:ext cx="28361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FBD0FF43-621F-4FCE-B0DA-526D486AD3B7}"/>
              </a:ext>
            </a:extLst>
          </p:cNvPr>
          <p:cNvCxnSpPr>
            <a:cxnSpLocks/>
          </p:cNvCxnSpPr>
          <p:nvPr/>
        </p:nvCxnSpPr>
        <p:spPr bwMode="auto">
          <a:xfrm flipH="1">
            <a:off x="8999249" y="2040926"/>
            <a:ext cx="33245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B47F619-A64D-43E9-98FE-45FC08AB7450}"/>
              </a:ext>
            </a:extLst>
          </p:cNvPr>
          <p:cNvCxnSpPr>
            <a:cxnSpLocks/>
          </p:cNvCxnSpPr>
          <p:nvPr/>
        </p:nvCxnSpPr>
        <p:spPr bwMode="auto">
          <a:xfrm flipH="1">
            <a:off x="8911576" y="2338077"/>
            <a:ext cx="40718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3D716AEE-B963-4727-BD9F-56DBCF839A55}"/>
              </a:ext>
            </a:extLst>
          </p:cNvPr>
          <p:cNvCxnSpPr>
            <a:cxnSpLocks/>
          </p:cNvCxnSpPr>
          <p:nvPr/>
        </p:nvCxnSpPr>
        <p:spPr bwMode="auto">
          <a:xfrm flipH="1">
            <a:off x="8808015" y="2486947"/>
            <a:ext cx="35363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C2A69920-62B0-44D8-875F-8F72EF7E2190}"/>
              </a:ext>
            </a:extLst>
          </p:cNvPr>
          <p:cNvCxnSpPr>
            <a:cxnSpLocks/>
          </p:cNvCxnSpPr>
          <p:nvPr/>
        </p:nvCxnSpPr>
        <p:spPr bwMode="auto">
          <a:xfrm flipH="1">
            <a:off x="8937467" y="2635816"/>
            <a:ext cx="360110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A3F80A94-F926-411F-ACF2-0851574EFE0E}"/>
              </a:ext>
            </a:extLst>
          </p:cNvPr>
          <p:cNvCxnSpPr>
            <a:cxnSpLocks/>
          </p:cNvCxnSpPr>
          <p:nvPr/>
        </p:nvCxnSpPr>
        <p:spPr bwMode="auto">
          <a:xfrm flipH="1">
            <a:off x="9024552" y="2932966"/>
            <a:ext cx="327748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E2695945-D005-49F9-B9A3-DD78C2172AD1}"/>
              </a:ext>
            </a:extLst>
          </p:cNvPr>
          <p:cNvCxnSpPr>
            <a:cxnSpLocks/>
          </p:cNvCxnSpPr>
          <p:nvPr/>
        </p:nvCxnSpPr>
        <p:spPr bwMode="auto">
          <a:xfrm flipH="1">
            <a:off x="8873329" y="3080070"/>
            <a:ext cx="293619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0AC34BA3-8AC2-4E91-8303-1B7EBDFC28E8}"/>
              </a:ext>
            </a:extLst>
          </p:cNvPr>
          <p:cNvCxnSpPr>
            <a:cxnSpLocks/>
          </p:cNvCxnSpPr>
          <p:nvPr/>
        </p:nvCxnSpPr>
        <p:spPr bwMode="auto">
          <a:xfrm flipH="1">
            <a:off x="8409657" y="3232470"/>
            <a:ext cx="993835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5975CA9-F844-4792-8EB8-1F4D226F7A40}"/>
              </a:ext>
            </a:extLst>
          </p:cNvPr>
          <p:cNvCxnSpPr>
            <a:cxnSpLocks/>
          </p:cNvCxnSpPr>
          <p:nvPr/>
        </p:nvCxnSpPr>
        <p:spPr bwMode="auto">
          <a:xfrm flipH="1">
            <a:off x="8892160" y="3527855"/>
            <a:ext cx="38423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E1A5BE17-23CE-4891-A66C-23E88BED644B}"/>
              </a:ext>
            </a:extLst>
          </p:cNvPr>
          <p:cNvCxnSpPr>
            <a:cxnSpLocks/>
          </p:cNvCxnSpPr>
          <p:nvPr/>
        </p:nvCxnSpPr>
        <p:spPr bwMode="auto">
          <a:xfrm flipH="1">
            <a:off x="8952767" y="3680255"/>
            <a:ext cx="25301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5FED9E1A-FB88-493D-A27F-D018A45C593F}"/>
              </a:ext>
            </a:extLst>
          </p:cNvPr>
          <p:cNvCxnSpPr>
            <a:cxnSpLocks/>
          </p:cNvCxnSpPr>
          <p:nvPr/>
        </p:nvCxnSpPr>
        <p:spPr bwMode="auto">
          <a:xfrm flipH="1">
            <a:off x="9009844" y="3975640"/>
            <a:ext cx="34951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F7ADC316-AE27-42CB-8AAC-0DA1802C6C9F}"/>
              </a:ext>
            </a:extLst>
          </p:cNvPr>
          <p:cNvCxnSpPr>
            <a:cxnSpLocks/>
          </p:cNvCxnSpPr>
          <p:nvPr/>
        </p:nvCxnSpPr>
        <p:spPr bwMode="auto">
          <a:xfrm flipH="1">
            <a:off x="8886866" y="4126275"/>
            <a:ext cx="31362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C34A3A2A-C4DB-48C7-9D25-D7D5F8EE9DC1}"/>
              </a:ext>
            </a:extLst>
          </p:cNvPr>
          <p:cNvCxnSpPr>
            <a:cxnSpLocks/>
          </p:cNvCxnSpPr>
          <p:nvPr/>
        </p:nvCxnSpPr>
        <p:spPr bwMode="auto">
          <a:xfrm flipH="1">
            <a:off x="8779774" y="4276910"/>
            <a:ext cx="44013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0734F3F6-790A-4C4E-9BD7-F590AC04BBC1}"/>
              </a:ext>
            </a:extLst>
          </p:cNvPr>
          <p:cNvCxnSpPr>
            <a:cxnSpLocks/>
          </p:cNvCxnSpPr>
          <p:nvPr/>
        </p:nvCxnSpPr>
        <p:spPr bwMode="auto">
          <a:xfrm flipH="1">
            <a:off x="8880982" y="4574061"/>
            <a:ext cx="29302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E8431374-771A-4000-8DC3-292016D31B7D}"/>
              </a:ext>
            </a:extLst>
          </p:cNvPr>
          <p:cNvCxnSpPr>
            <a:cxnSpLocks/>
          </p:cNvCxnSpPr>
          <p:nvPr/>
        </p:nvCxnSpPr>
        <p:spPr bwMode="auto">
          <a:xfrm flipH="1">
            <a:off x="9001608" y="4717635"/>
            <a:ext cx="336570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96508B9E-DABD-4799-95CA-F3B433258A81}"/>
              </a:ext>
            </a:extLst>
          </p:cNvPr>
          <p:cNvCxnSpPr>
            <a:cxnSpLocks/>
          </p:cNvCxnSpPr>
          <p:nvPr/>
        </p:nvCxnSpPr>
        <p:spPr bwMode="auto">
          <a:xfrm flipH="1">
            <a:off x="8555588" y="5018316"/>
            <a:ext cx="916749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65680D8E-846F-446B-96F2-74A89755CB81}"/>
              </a:ext>
            </a:extLst>
          </p:cNvPr>
          <p:cNvCxnSpPr>
            <a:cxnSpLocks/>
          </p:cNvCxnSpPr>
          <p:nvPr/>
        </p:nvCxnSpPr>
        <p:spPr bwMode="auto">
          <a:xfrm flipH="1">
            <a:off x="8556172" y="5168951"/>
            <a:ext cx="360111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0FC9056-97D2-4C97-8A17-5A89A759B45B}"/>
              </a:ext>
            </a:extLst>
          </p:cNvPr>
          <p:cNvCxnSpPr>
            <a:cxnSpLocks/>
          </p:cNvCxnSpPr>
          <p:nvPr/>
        </p:nvCxnSpPr>
        <p:spPr bwMode="auto">
          <a:xfrm flipH="1">
            <a:off x="9149296" y="5317821"/>
            <a:ext cx="44013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CD33815F-B4DC-42F0-889A-D6DE02AABC3E}"/>
              </a:ext>
            </a:extLst>
          </p:cNvPr>
          <p:cNvCxnSpPr>
            <a:cxnSpLocks/>
          </p:cNvCxnSpPr>
          <p:nvPr/>
        </p:nvCxnSpPr>
        <p:spPr bwMode="auto">
          <a:xfrm flipH="1">
            <a:off x="9019257" y="5466691"/>
            <a:ext cx="431897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A8DFCDAE-4130-4502-AE21-864C6F397154}"/>
              </a:ext>
            </a:extLst>
          </p:cNvPr>
          <p:cNvCxnSpPr>
            <a:cxnSpLocks/>
          </p:cNvCxnSpPr>
          <p:nvPr/>
        </p:nvCxnSpPr>
        <p:spPr bwMode="auto">
          <a:xfrm flipH="1">
            <a:off x="8775063" y="5615561"/>
            <a:ext cx="1115639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92B60EEF-0848-4F83-9DD5-3C1EE1ACCFAB}"/>
              </a:ext>
            </a:extLst>
          </p:cNvPr>
          <p:cNvCxnSpPr>
            <a:cxnSpLocks/>
          </p:cNvCxnSpPr>
          <p:nvPr/>
        </p:nvCxnSpPr>
        <p:spPr bwMode="auto">
          <a:xfrm>
            <a:off x="9463510" y="5765310"/>
            <a:ext cx="932053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CAAE3B77-7BB8-4044-9D98-D153D2408D46}"/>
              </a:ext>
            </a:extLst>
          </p:cNvPr>
          <p:cNvCxnSpPr>
            <a:cxnSpLocks/>
          </p:cNvCxnSpPr>
          <p:nvPr/>
        </p:nvCxnSpPr>
        <p:spPr bwMode="auto">
          <a:xfrm flipH="1">
            <a:off x="8296680" y="5917710"/>
            <a:ext cx="1412200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3" name="Oval 172">
            <a:extLst>
              <a:ext uri="{FF2B5EF4-FFF2-40B4-BE49-F238E27FC236}">
                <a16:creationId xmlns:a16="http://schemas.microsoft.com/office/drawing/2014/main" id="{E9562421-0DA6-4400-9FB3-60702708DBF4}"/>
              </a:ext>
            </a:extLst>
          </p:cNvPr>
          <p:cNvSpPr/>
          <p:nvPr/>
        </p:nvSpPr>
        <p:spPr bwMode="auto">
          <a:xfrm>
            <a:off x="8993954" y="1076804"/>
            <a:ext cx="130629" cy="130629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F0860792-A8F3-44C9-8859-804D7A92D99F}"/>
              </a:ext>
            </a:extLst>
          </p:cNvPr>
          <p:cNvSpPr/>
          <p:nvPr/>
        </p:nvSpPr>
        <p:spPr bwMode="auto">
          <a:xfrm>
            <a:off x="8913342" y="1399257"/>
            <a:ext cx="101796" cy="101796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28339A1A-91FF-476A-996B-10E87133AC4E}"/>
              </a:ext>
            </a:extLst>
          </p:cNvPr>
          <p:cNvSpPr/>
          <p:nvPr/>
        </p:nvSpPr>
        <p:spPr bwMode="auto">
          <a:xfrm>
            <a:off x="9210493" y="1553865"/>
            <a:ext cx="72962" cy="72962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AE80CE70-E16D-4A12-84F4-7A64DFE07D10}"/>
              </a:ext>
            </a:extLst>
          </p:cNvPr>
          <p:cNvSpPr/>
          <p:nvPr/>
        </p:nvSpPr>
        <p:spPr bwMode="auto">
          <a:xfrm>
            <a:off x="8931583" y="1835863"/>
            <a:ext cx="101796" cy="101796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3A987C01-1608-42F0-88CD-62A0C3D8D7E7}"/>
              </a:ext>
            </a:extLst>
          </p:cNvPr>
          <p:cNvSpPr/>
          <p:nvPr/>
        </p:nvSpPr>
        <p:spPr bwMode="auto">
          <a:xfrm>
            <a:off x="9138118" y="2005918"/>
            <a:ext cx="71196" cy="71196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8DCBCFA3-D78C-47C0-95A3-497FE5D31883}"/>
              </a:ext>
            </a:extLst>
          </p:cNvPr>
          <p:cNvSpPr/>
          <p:nvPr/>
        </p:nvSpPr>
        <p:spPr bwMode="auto">
          <a:xfrm>
            <a:off x="9076922" y="2306599"/>
            <a:ext cx="71196" cy="71196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954C1FFD-22A4-4BB8-A6E4-A152FB250851}"/>
              </a:ext>
            </a:extLst>
          </p:cNvPr>
          <p:cNvSpPr/>
          <p:nvPr/>
        </p:nvSpPr>
        <p:spPr bwMode="auto">
          <a:xfrm>
            <a:off x="8939821" y="2443112"/>
            <a:ext cx="82962" cy="82962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D2F95EC8-D5FE-447C-95C3-963E4BFEB728}"/>
              </a:ext>
            </a:extLst>
          </p:cNvPr>
          <p:cNvSpPr/>
          <p:nvPr/>
        </p:nvSpPr>
        <p:spPr bwMode="auto">
          <a:xfrm>
            <a:off x="9069273" y="2591982"/>
            <a:ext cx="82962" cy="82962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1A447AA0-DADD-4FD6-A1A5-8B57CF741EFB}"/>
              </a:ext>
            </a:extLst>
          </p:cNvPr>
          <p:cNvSpPr/>
          <p:nvPr/>
        </p:nvSpPr>
        <p:spPr bwMode="auto">
          <a:xfrm>
            <a:off x="9128113" y="2890895"/>
            <a:ext cx="97087" cy="97087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86A3D0CA-057F-4435-A442-2043D701106E}"/>
              </a:ext>
            </a:extLst>
          </p:cNvPr>
          <p:cNvSpPr/>
          <p:nvPr/>
        </p:nvSpPr>
        <p:spPr bwMode="auto">
          <a:xfrm>
            <a:off x="8966298" y="3032703"/>
            <a:ext cx="97087" cy="97087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DBD03351-02D7-4E09-960A-778BADAE9A5F}"/>
              </a:ext>
            </a:extLst>
          </p:cNvPr>
          <p:cNvSpPr/>
          <p:nvPr/>
        </p:nvSpPr>
        <p:spPr bwMode="auto">
          <a:xfrm>
            <a:off x="8825668" y="3202165"/>
            <a:ext cx="57076" cy="57076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DE7BCDF4-59C7-48F8-923B-E104B9FDB104}"/>
              </a:ext>
            </a:extLst>
          </p:cNvPr>
          <p:cNvSpPr/>
          <p:nvPr/>
        </p:nvSpPr>
        <p:spPr bwMode="auto">
          <a:xfrm>
            <a:off x="9046913" y="3489315"/>
            <a:ext cx="70608" cy="70608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AB6766EE-759E-4C51-94BC-8F7B566D71F1}"/>
              </a:ext>
            </a:extLst>
          </p:cNvPr>
          <p:cNvSpPr/>
          <p:nvPr/>
        </p:nvSpPr>
        <p:spPr bwMode="auto">
          <a:xfrm>
            <a:off x="9003370" y="3599349"/>
            <a:ext cx="148280" cy="148280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CA767A59-6720-42CA-A24E-76130993307C}"/>
              </a:ext>
            </a:extLst>
          </p:cNvPr>
          <p:cNvSpPr/>
          <p:nvPr/>
        </p:nvSpPr>
        <p:spPr bwMode="auto">
          <a:xfrm>
            <a:off x="9138706" y="3934746"/>
            <a:ext cx="81199" cy="81199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C489DBB0-2995-4719-A550-2AFE84128847}"/>
              </a:ext>
            </a:extLst>
          </p:cNvPr>
          <p:cNvSpPr/>
          <p:nvPr/>
        </p:nvSpPr>
        <p:spPr bwMode="auto">
          <a:xfrm>
            <a:off x="9001605" y="4080085"/>
            <a:ext cx="81199" cy="81199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D276FE9-BAFA-43E4-A3CA-41FC7DF2E367}"/>
              </a:ext>
            </a:extLst>
          </p:cNvPr>
          <p:cNvSpPr/>
          <p:nvPr/>
        </p:nvSpPr>
        <p:spPr bwMode="auto">
          <a:xfrm>
            <a:off x="8958062" y="4230719"/>
            <a:ext cx="76493" cy="76493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383579F0-CF15-4613-8511-4C2DBF4633C6}"/>
              </a:ext>
            </a:extLst>
          </p:cNvPr>
          <p:cNvSpPr/>
          <p:nvPr/>
        </p:nvSpPr>
        <p:spPr bwMode="auto">
          <a:xfrm>
            <a:off x="8967477" y="4517276"/>
            <a:ext cx="109444" cy="109444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159802AD-9039-42AF-AFAB-706EC9D08374}"/>
              </a:ext>
            </a:extLst>
          </p:cNvPr>
          <p:cNvSpPr/>
          <p:nvPr/>
        </p:nvSpPr>
        <p:spPr bwMode="auto">
          <a:xfrm>
            <a:off x="9114581" y="4665556"/>
            <a:ext cx="97090" cy="97090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F0DE12FE-02FE-459F-A34F-606542D11395}"/>
              </a:ext>
            </a:extLst>
          </p:cNvPr>
          <p:cNvSpPr/>
          <p:nvPr/>
        </p:nvSpPr>
        <p:spPr bwMode="auto">
          <a:xfrm>
            <a:off x="8970419" y="4993896"/>
            <a:ext cx="48248" cy="48248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CA46930D-714A-43C8-BED4-E559B4BEF2E0}"/>
              </a:ext>
            </a:extLst>
          </p:cNvPr>
          <p:cNvSpPr/>
          <p:nvPr/>
        </p:nvSpPr>
        <p:spPr bwMode="auto">
          <a:xfrm>
            <a:off x="8704453" y="5128643"/>
            <a:ext cx="65313" cy="65313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D784974D-DE1F-467B-A290-8CA232FD098A}"/>
              </a:ext>
            </a:extLst>
          </p:cNvPr>
          <p:cNvSpPr/>
          <p:nvPr/>
        </p:nvSpPr>
        <p:spPr bwMode="auto">
          <a:xfrm>
            <a:off x="9331706" y="5291811"/>
            <a:ext cx="45719" cy="45719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21FA6E1D-387C-4375-B15A-A474B56F5F40}"/>
              </a:ext>
            </a:extLst>
          </p:cNvPr>
          <p:cNvSpPr/>
          <p:nvPr/>
        </p:nvSpPr>
        <p:spPr bwMode="auto">
          <a:xfrm>
            <a:off x="9196370" y="5431089"/>
            <a:ext cx="62371" cy="62371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D95F43C3-A137-46CA-A66E-82D7AEEE5024}"/>
              </a:ext>
            </a:extLst>
          </p:cNvPr>
          <p:cNvSpPr/>
          <p:nvPr/>
        </p:nvSpPr>
        <p:spPr bwMode="auto">
          <a:xfrm>
            <a:off x="9256977" y="5585254"/>
            <a:ext cx="62371" cy="62371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1DE044D0-E19C-4D3B-8EDD-F9BC6957EF9D}"/>
              </a:ext>
            </a:extLst>
          </p:cNvPr>
          <p:cNvSpPr/>
          <p:nvPr/>
        </p:nvSpPr>
        <p:spPr bwMode="auto">
          <a:xfrm>
            <a:off x="10037808" y="5733535"/>
            <a:ext cx="52368" cy="52368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DF33BF2B-FB8F-4085-8B23-0347E81C9763}"/>
              </a:ext>
            </a:extLst>
          </p:cNvPr>
          <p:cNvSpPr/>
          <p:nvPr/>
        </p:nvSpPr>
        <p:spPr bwMode="auto">
          <a:xfrm>
            <a:off x="8892158" y="5887111"/>
            <a:ext cx="52369" cy="52369"/>
          </a:xfrm>
          <a:prstGeom prst="ellipse">
            <a:avLst/>
          </a:prstGeom>
          <a:solidFill>
            <a:schemeClr val="bg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99638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9D8B22-BE49-564D-8A53-3E967BD57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FA047F-C0AA-7C4F-9D9D-3B5781B8D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167" y="0"/>
            <a:ext cx="117916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5336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69EF192-9D38-4AA8-BBEC-AA07433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RITON3: Rucaparib vs Physician’s Choice Therapy in mCRPC With HRR Gene Alteration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2A31BB7-9894-4D01-A0A0-C61D2CD3A9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053353"/>
          </a:xfrm>
        </p:spPr>
        <p:txBody>
          <a:bodyPr/>
          <a:lstStyle/>
          <a:p>
            <a:r>
              <a:rPr lang="en-US" sz="2600" dirty="0"/>
              <a:t>Randomized, ongoing, multicenter, open-label phase III study</a:t>
            </a:r>
          </a:p>
          <a:p>
            <a:endParaRPr lang="en-US" sz="2600" dirty="0"/>
          </a:p>
          <a:p>
            <a:endParaRPr lang="en-US" sz="2600" dirty="0"/>
          </a:p>
          <a:p>
            <a:endParaRPr lang="en-US" sz="2600" dirty="0"/>
          </a:p>
          <a:p>
            <a:endParaRPr lang="en-US" sz="2600" dirty="0"/>
          </a:p>
          <a:p>
            <a:endParaRPr lang="en-US" sz="2600" dirty="0"/>
          </a:p>
          <a:p>
            <a:endParaRPr lang="en-US" sz="2600" dirty="0"/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ary endpoints: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PFS by IRR</a:t>
            </a:r>
            <a:r>
              <a:rPr kumimoji="0" lang="en-US" altLang="en-US" sz="2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‡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00" b="0" i="0" u="non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condary Endpoints: ORR, </a:t>
            </a:r>
            <a:r>
              <a:rPr lang="en-US" sz="2600" b="0" kern="0" dirty="0">
                <a:solidFill>
                  <a:srgbClr val="000000"/>
                </a:solidFill>
                <a:cs typeface="Calibri" panose="020F0502020204030204" pitchFamily="34" charset="0"/>
              </a:rPr>
              <a:t>DoR, OS, safety</a:t>
            </a:r>
            <a:endParaRPr kumimoji="0" lang="en-US" sz="2600" b="0" i="0" u="non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endParaRPr lang="en-US" sz="2600" dirty="0"/>
          </a:p>
        </p:txBody>
      </p:sp>
      <p:sp>
        <p:nvSpPr>
          <p:cNvPr id="24" name="Text Box 15">
            <a:extLst>
              <a:ext uri="{FF2B5EF4-FFF2-40B4-BE49-F238E27FC236}">
                <a16:creationId xmlns:a16="http://schemas.microsoft.com/office/drawing/2014/main" id="{15D2D073-C557-4007-B529-6A84DD3A12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583" y="6361756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b="0" spc="-10" dirty="0">
                <a:solidFill>
                  <a:srgbClr val="4555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yan. ASCO GU 2018. Abstr TPS389. NCT02975934.</a:t>
            </a:r>
            <a:endParaRPr kumimoji="0" lang="en-US" altLang="en-US" sz="1200" b="0" i="0" u="none" strike="noStrike" kern="1200" cap="none" spc="-1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5" name="Group 7">
            <a:extLst>
              <a:ext uri="{FF2B5EF4-FFF2-40B4-BE49-F238E27FC236}">
                <a16:creationId xmlns:a16="http://schemas.microsoft.com/office/drawing/2014/main" id="{53CA033C-E613-4122-8D0F-A48C8D1EE19C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26" name="Picture 9">
              <a:extLst>
                <a:ext uri="{FF2B5EF4-FFF2-40B4-BE49-F238E27FC236}">
                  <a16:creationId xmlns:a16="http://schemas.microsoft.com/office/drawing/2014/main" id="{7E911B23-F9B9-4781-AAD8-DCE5A45778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8">
              <a:extLst>
                <a:ext uri="{FF2B5EF4-FFF2-40B4-BE49-F238E27FC236}">
                  <a16:creationId xmlns:a16="http://schemas.microsoft.com/office/drawing/2014/main" id="{5FC9A7D8-7125-47B7-BB8D-C0D2A6BFB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3" name="Text Box 45">
            <a:extLst>
              <a:ext uri="{FF2B5EF4-FFF2-40B4-BE49-F238E27FC236}">
                <a16:creationId xmlns:a16="http://schemas.microsoft.com/office/drawing/2014/main" id="{2361DBF7-E32D-41AF-835A-399F42CC44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835" y="2150958"/>
            <a:ext cx="3341567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with mCRPC; deleterious somatic or germline alteration in </a:t>
            </a:r>
            <a:r>
              <a:rPr kumimoji="0" lang="en-GB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RCA1/2</a:t>
            </a: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r </a:t>
            </a:r>
            <a:r>
              <a:rPr kumimoji="0" lang="en-GB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TM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 local or central genomic testing of blood, archival tumor tissue, or screening tumor tissue; progression on AR-directed tx</a:t>
            </a:r>
            <a:r>
              <a:rPr kumimoji="0" lang="en-GB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†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 PC; ECOG PS 0/1; no prior PARPi or CT for mCRP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planned N = 400)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Rectangle 46">
            <a:extLst>
              <a:ext uri="{FF2B5EF4-FFF2-40B4-BE49-F238E27FC236}">
                <a16:creationId xmlns:a16="http://schemas.microsoft.com/office/drawing/2014/main" id="{5808CA13-3184-4EC9-866E-70144DDF2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6113" y="2340250"/>
            <a:ext cx="3116157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ntil radiographic progression or discontinuation for other reas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Crossover from </a:t>
            </a:r>
            <a:r>
              <a:rPr lang="en-US" altLang="en-US" sz="1800" b="0" i="1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comparator </a:t>
            </a:r>
            <a:br>
              <a:rPr lang="en-US" altLang="en-US" sz="1800" b="0" i="1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</a:br>
            <a:r>
              <a:rPr lang="en-US" altLang="en-US" sz="1800" b="0" i="1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tx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to rucaparib optional following PD</a:t>
            </a:r>
            <a:endParaRPr kumimoji="0" lang="en-US" alt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tangle 49">
            <a:extLst>
              <a:ext uri="{FF2B5EF4-FFF2-40B4-BE49-F238E27FC236}">
                <a16:creationId xmlns:a16="http://schemas.microsoft.com/office/drawing/2014/main" id="{29C91F93-B838-49A9-8BA9-2B5313B55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9170" y="2467503"/>
            <a:ext cx="246888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ucaparib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600 mg BID </a:t>
            </a:r>
            <a:b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 28-day cycles</a:t>
            </a:r>
            <a:endParaRPr kumimoji="0" lang="en-US" altLang="en-US" sz="18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267)</a:t>
            </a:r>
          </a:p>
        </p:txBody>
      </p:sp>
      <p:sp>
        <p:nvSpPr>
          <p:cNvPr id="45" name="Line 52">
            <a:extLst>
              <a:ext uri="{FF2B5EF4-FFF2-40B4-BE49-F238E27FC236}">
                <a16:creationId xmlns:a16="http://schemas.microsoft.com/office/drawing/2014/main" id="{F5648E45-24BE-4D13-8713-4E4824F97D5C}"/>
              </a:ext>
            </a:extLst>
          </p:cNvPr>
          <p:cNvSpPr>
            <a:spLocks noChangeShapeType="1"/>
          </p:cNvSpPr>
          <p:nvPr/>
        </p:nvSpPr>
        <p:spPr bwMode="auto">
          <a:xfrm>
            <a:off x="7786688" y="3381554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Text Box 30">
            <a:extLst>
              <a:ext uri="{FF2B5EF4-FFF2-40B4-BE49-F238E27FC236}">
                <a16:creationId xmlns:a16="http://schemas.microsoft.com/office/drawing/2014/main" id="{6DE1630A-D1F5-47D4-93E9-69F64D9D75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8080" y="4411661"/>
            <a:ext cx="6263001" cy="951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Docetaxel + prednisone 75 mg/m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21-day cycles (max 10 cycles) or abiraterone + prednisone 1000 mg QD or enzalutamide 160 mg QD. 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†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raterone, enzalutamide, or investigational agent. 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‡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dified RECIST to document soft tissue disease and PCCTWG v.3 criteria to document radiographic progression of bone lesions.</a:t>
            </a:r>
            <a:endParaRPr kumimoji="0" lang="en-US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Rectangle 50">
            <a:extLst>
              <a:ext uri="{FF2B5EF4-FFF2-40B4-BE49-F238E27FC236}">
                <a16:creationId xmlns:a16="http://schemas.microsoft.com/office/drawing/2014/main" id="{ADC5823B-F5E8-4648-B124-C501D5BC0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9169" y="3443384"/>
            <a:ext cx="2468879" cy="784247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hysician’s Choice*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133)</a:t>
            </a:r>
          </a:p>
        </p:txBody>
      </p:sp>
      <p:sp>
        <p:nvSpPr>
          <p:cNvPr id="18" name="Line 53">
            <a:extLst>
              <a:ext uri="{FF2B5EF4-FFF2-40B4-BE49-F238E27FC236}">
                <a16:creationId xmlns:a16="http://schemas.microsoft.com/office/drawing/2014/main" id="{F9D94EA2-8C17-4C5E-A6C5-E2730BBE8BF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50914" y="3454849"/>
            <a:ext cx="466725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CBD3C8F5-D0A2-462E-BD1D-8BF7022CB9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7435" y="3196888"/>
            <a:ext cx="7000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8B3D9A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2:1</a:t>
            </a:r>
          </a:p>
        </p:txBody>
      </p:sp>
      <p:sp>
        <p:nvSpPr>
          <p:cNvPr id="22" name="Line 54">
            <a:extLst>
              <a:ext uri="{FF2B5EF4-FFF2-40B4-BE49-F238E27FC236}">
                <a16:creationId xmlns:a16="http://schemas.microsoft.com/office/drawing/2014/main" id="{D59ED416-F395-4545-BFAE-2E78AB710B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50913" y="2902407"/>
            <a:ext cx="466725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1493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5407A7C-F335-40FE-A9AD-50325E0CD5BA}"/>
              </a:ext>
            </a:extLst>
          </p:cNvPr>
          <p:cNvSpPr txBox="1">
            <a:spLocks/>
          </p:cNvSpPr>
          <p:nvPr/>
        </p:nvSpPr>
        <p:spPr bwMode="auto">
          <a:xfrm>
            <a:off x="2289630" y="82799"/>
            <a:ext cx="7679871" cy="782662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r>
              <a:rPr lang="en-US" dirty="0"/>
              <a:t>TRITON2 non-BRCA respons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3870947-62F5-4AD2-8662-987C6F2EC81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4ADD8B9-6D22-4E91-9790-5E19766E4B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32907AFA-DAF2-40C5-BB07-CC5B106B5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" name="Text Box 15">
            <a:extLst>
              <a:ext uri="{FF2B5EF4-FFF2-40B4-BE49-F238E27FC236}">
                <a16:creationId xmlns:a16="http://schemas.microsoft.com/office/drawing/2014/main" id="{D1F0E844-58C4-4B45-9C7C-D503A4E171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217" y="6361756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da</a:t>
            </a:r>
            <a:r>
              <a:rPr lang="en-US" altLang="en-US" sz="1200" b="0" spc="-10" dirty="0">
                <a:solidFill>
                  <a:srgbClr val="4555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lin Cancer Res. 2020;26:2487.</a:t>
            </a:r>
            <a:endParaRPr kumimoji="0" lang="en-US" altLang="en-US" sz="1200" b="0" i="0" u="none" strike="noStrike" kern="1200" cap="none" spc="-1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279FFF-FC07-4EAD-A743-9EDCC9F6B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TON2: PSA Responses Among Other </a:t>
            </a:r>
            <a:br>
              <a:rPr lang="en-US" dirty="0"/>
            </a:br>
            <a:r>
              <a:rPr lang="en-US" dirty="0"/>
              <a:t>Non-</a:t>
            </a:r>
            <a:r>
              <a:rPr lang="en-US" i="1" dirty="0"/>
              <a:t>BRCA</a:t>
            </a:r>
            <a:r>
              <a:rPr lang="en-US" dirty="0"/>
              <a:t> Mu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341D53-9385-4A59-9200-0EA29ADD31B9}"/>
              </a:ext>
            </a:extLst>
          </p:cNvPr>
          <p:cNvSpPr txBox="1"/>
          <p:nvPr/>
        </p:nvSpPr>
        <p:spPr bwMode="auto">
          <a:xfrm>
            <a:off x="1574840" y="1440153"/>
            <a:ext cx="247135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i="1" dirty="0">
                <a:solidFill>
                  <a:schemeClr val="bg1"/>
                </a:solidFill>
                <a:latin typeface="Calibri" panose="020F0502020204030204" pitchFamily="34" charset="0"/>
              </a:rPr>
              <a:t>CDK12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 Alt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577F08-C772-4A36-AC22-A8A5CC2CBD2D}"/>
              </a:ext>
            </a:extLst>
          </p:cNvPr>
          <p:cNvSpPr txBox="1"/>
          <p:nvPr/>
        </p:nvSpPr>
        <p:spPr bwMode="auto">
          <a:xfrm>
            <a:off x="4582805" y="1440153"/>
            <a:ext cx="24713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i="1" dirty="0">
                <a:solidFill>
                  <a:schemeClr val="bg1"/>
                </a:solidFill>
                <a:latin typeface="Calibri" panose="020F0502020204030204" pitchFamily="34" charset="0"/>
              </a:rPr>
              <a:t>CHEK2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 Alter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0F99-1CBB-48A8-80DD-21AE39B40292}"/>
              </a:ext>
            </a:extLst>
          </p:cNvPr>
          <p:cNvSpPr txBox="1"/>
          <p:nvPr/>
        </p:nvSpPr>
        <p:spPr bwMode="auto">
          <a:xfrm>
            <a:off x="7511142" y="1440153"/>
            <a:ext cx="25961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Other DDR Gene Alterations</a:t>
            </a:r>
          </a:p>
        </p:txBody>
      </p:sp>
      <p:graphicFrame>
        <p:nvGraphicFramePr>
          <p:cNvPr id="18" name="Table 2">
            <a:extLst>
              <a:ext uri="{FF2B5EF4-FFF2-40B4-BE49-F238E27FC236}">
                <a16:creationId xmlns:a16="http://schemas.microsoft.com/office/drawing/2014/main" id="{BDA2926B-E621-194E-978C-D297C5AAA250}"/>
              </a:ext>
            </a:extLst>
          </p:cNvPr>
          <p:cNvGraphicFramePr>
            <a:graphicFrameLocks noGrp="1"/>
          </p:cNvGraphicFramePr>
          <p:nvPr/>
        </p:nvGraphicFramePr>
        <p:xfrm>
          <a:off x="289636" y="4539152"/>
          <a:ext cx="3705747" cy="15727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4027">
                  <a:extLst>
                    <a:ext uri="{9D8B030D-6E8A-4147-A177-3AD203B41FA5}">
                      <a16:colId xmlns:a16="http://schemas.microsoft.com/office/drawing/2014/main" val="219594560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29894698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48741722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7633538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36987127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241417954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29345558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44110044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125156719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013344050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830964085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166149136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3997119152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934497031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2294327817"/>
                    </a:ext>
                  </a:extLst>
                </a:gridCol>
                <a:gridCol w="155448">
                  <a:extLst>
                    <a:ext uri="{9D8B030D-6E8A-4147-A177-3AD203B41FA5}">
                      <a16:colId xmlns:a16="http://schemas.microsoft.com/office/drawing/2014/main" val="1798439464"/>
                    </a:ext>
                  </a:extLst>
                </a:gridCol>
              </a:tblGrid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tient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33851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eatment duration (mo)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75897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iographic response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55937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st change in SLD (%)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728664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M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38165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IP1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000272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K1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43017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EK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84024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NCA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31208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BN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80720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LB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5901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1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9984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1B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42760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54L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957726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US" sz="8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CA2</a:t>
                      </a:r>
                    </a:p>
                  </a:txBody>
                  <a:tcPr marL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929698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9D585A3C-F224-5543-99B8-8421E08C4BD2}"/>
              </a:ext>
            </a:extLst>
          </p:cNvPr>
          <p:cNvGrpSpPr/>
          <p:nvPr/>
        </p:nvGrpSpPr>
        <p:grpSpPr>
          <a:xfrm>
            <a:off x="10161391" y="1908198"/>
            <a:ext cx="1883053" cy="2108269"/>
            <a:chOff x="10185374" y="2527439"/>
            <a:chExt cx="1883053" cy="2108269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8BD856F-C8BF-A244-828D-8391F7C39238}"/>
                </a:ext>
              </a:extLst>
            </p:cNvPr>
            <p:cNvSpPr txBox="1"/>
            <p:nvPr/>
          </p:nvSpPr>
          <p:spPr bwMode="auto">
            <a:xfrm>
              <a:off x="10185374" y="2527439"/>
              <a:ext cx="1883053" cy="2108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Measurable disease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endParaRPr lang="en-US" sz="1400" b="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Germline status: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Germline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Somat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	Unknown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endParaRPr lang="en-US" sz="1400" b="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Zygosity: 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B, biallel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M, monoallelic</a:t>
              </a:r>
            </a:p>
            <a:p>
              <a:pPr>
                <a:lnSpc>
                  <a:spcPct val="85000"/>
                </a:lnSpc>
                <a:spcBef>
                  <a:spcPts val="0"/>
                </a:spcBef>
                <a:spcAft>
                  <a:spcPct val="0"/>
                </a:spcAft>
                <a:buClrTx/>
                <a:buFontTx/>
                <a:buNone/>
                <a:tabLst>
                  <a:tab pos="225425" algn="l"/>
                </a:tabLst>
              </a:pPr>
              <a:r>
                <a:rPr lang="en-US" sz="1400" b="0" dirty="0">
                  <a:solidFill>
                    <a:schemeClr val="bg1"/>
                  </a:solidFill>
                  <a:latin typeface="Calibri" panose="020F0502020204030204" pitchFamily="34" charset="0"/>
                </a:rPr>
                <a:t>U, unknow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6D63AB8-5E15-3F41-AFA5-6F51DE9FCFA6}"/>
                </a:ext>
              </a:extLst>
            </p:cNvPr>
            <p:cNvSpPr/>
            <p:nvPr/>
          </p:nvSpPr>
          <p:spPr bwMode="auto">
            <a:xfrm>
              <a:off x="10278286" y="2585802"/>
              <a:ext cx="147442" cy="14744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1E0D23-4A86-1548-89F8-E2D4C521413B}"/>
                </a:ext>
              </a:extLst>
            </p:cNvPr>
            <p:cNvSpPr/>
            <p:nvPr/>
          </p:nvSpPr>
          <p:spPr bwMode="auto">
            <a:xfrm>
              <a:off x="10278286" y="3119752"/>
              <a:ext cx="147442" cy="14744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E27FF10-3CB6-424E-8B9D-7D935AF2FE90}"/>
                </a:ext>
              </a:extLst>
            </p:cNvPr>
            <p:cNvSpPr/>
            <p:nvPr/>
          </p:nvSpPr>
          <p:spPr bwMode="auto">
            <a:xfrm>
              <a:off x="10278286" y="3309973"/>
              <a:ext cx="147442" cy="14744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ABE0FA6-2D51-5D4B-BFE0-92918F64DA1D}"/>
                </a:ext>
              </a:extLst>
            </p:cNvPr>
            <p:cNvSpPr/>
            <p:nvPr/>
          </p:nvSpPr>
          <p:spPr bwMode="auto">
            <a:xfrm>
              <a:off x="10278286" y="3500194"/>
              <a:ext cx="147442" cy="147442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endParaRPr lang="en-US" sz="1800" b="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1D1388-8A5A-EC4C-A8CE-B57CE7EB6802}"/>
              </a:ext>
            </a:extLst>
          </p:cNvPr>
          <p:cNvGrpSpPr/>
          <p:nvPr/>
        </p:nvGrpSpPr>
        <p:grpSpPr>
          <a:xfrm>
            <a:off x="881794" y="1759386"/>
            <a:ext cx="3159306" cy="2650286"/>
            <a:chOff x="1008600" y="1759386"/>
            <a:chExt cx="3159306" cy="2650286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6A6C29BA-1DD1-4947-B52F-818DC3503F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97504" y="3917549"/>
              <a:ext cx="82296" cy="82296"/>
              <a:chOff x="2987854" y="2078752"/>
              <a:chExt cx="113388" cy="113388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5B0E53A-973D-FD41-B14B-B6F33B1315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044548" y="2078752"/>
                <a:ext cx="0" cy="113388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799AD9A2-C416-AE4F-8808-6818005D1D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16200000">
                <a:off x="3044548" y="2078752"/>
                <a:ext cx="0" cy="113388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8DF08A-000A-FA45-B921-8C675BE9946D}"/>
                </a:ext>
              </a:extLst>
            </p:cNvPr>
            <p:cNvGrpSpPr/>
            <p:nvPr/>
          </p:nvGrpSpPr>
          <p:grpSpPr>
            <a:xfrm>
              <a:off x="1774825" y="2659523"/>
              <a:ext cx="2308151" cy="1236733"/>
              <a:chOff x="1774825" y="2659523"/>
              <a:chExt cx="2308151" cy="1236733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736BB03D-3170-5A4C-B90F-E7731B260CE1}"/>
                  </a:ext>
                </a:extLst>
              </p:cNvPr>
              <p:cNvSpPr/>
              <p:nvPr/>
            </p:nvSpPr>
            <p:spPr bwMode="auto">
              <a:xfrm>
                <a:off x="1774825" y="2659523"/>
                <a:ext cx="85725" cy="374214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34F9BBCF-6794-9D4E-8923-BA1B421609DF}"/>
                  </a:ext>
                </a:extLst>
              </p:cNvPr>
              <p:cNvSpPr/>
              <p:nvPr/>
            </p:nvSpPr>
            <p:spPr bwMode="auto">
              <a:xfrm>
                <a:off x="1933570" y="2688361"/>
                <a:ext cx="85725" cy="345375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7D4414E4-4A3D-FD47-A5C0-4799E1F61768}"/>
                  </a:ext>
                </a:extLst>
              </p:cNvPr>
              <p:cNvSpPr/>
              <p:nvPr/>
            </p:nvSpPr>
            <p:spPr bwMode="auto">
              <a:xfrm>
                <a:off x="2092315" y="2793277"/>
                <a:ext cx="85725" cy="240459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3E16075-28F1-CF41-9738-BF1782E5C6D8}"/>
                  </a:ext>
                </a:extLst>
              </p:cNvPr>
              <p:cNvSpPr/>
              <p:nvPr/>
            </p:nvSpPr>
            <p:spPr bwMode="auto">
              <a:xfrm>
                <a:off x="2251060" y="2827829"/>
                <a:ext cx="85725" cy="205907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40DE14C7-76FE-8449-8E33-C18E51B2F908}"/>
                  </a:ext>
                </a:extLst>
              </p:cNvPr>
              <p:cNvSpPr/>
              <p:nvPr/>
            </p:nvSpPr>
            <p:spPr bwMode="auto">
              <a:xfrm>
                <a:off x="2409805" y="2910445"/>
                <a:ext cx="85725" cy="123292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598BFB42-9F1A-BB44-AB05-65CF8E7B507A}"/>
                  </a:ext>
                </a:extLst>
              </p:cNvPr>
              <p:cNvSpPr/>
              <p:nvPr/>
            </p:nvSpPr>
            <p:spPr bwMode="auto">
              <a:xfrm>
                <a:off x="2568550" y="2910443"/>
                <a:ext cx="85725" cy="123293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FBEBDA6C-2E43-A449-94FF-184245A1004D}"/>
                  </a:ext>
                </a:extLst>
              </p:cNvPr>
              <p:cNvSpPr/>
              <p:nvPr/>
            </p:nvSpPr>
            <p:spPr bwMode="auto">
              <a:xfrm>
                <a:off x="2727295" y="2947403"/>
                <a:ext cx="85725" cy="86334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6BCCE826-7125-374A-82D2-45FD60D5E009}"/>
                  </a:ext>
                </a:extLst>
              </p:cNvPr>
              <p:cNvSpPr/>
              <p:nvPr/>
            </p:nvSpPr>
            <p:spPr bwMode="auto">
              <a:xfrm>
                <a:off x="2886040" y="3029464"/>
                <a:ext cx="85725" cy="27432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4AE13E0A-640E-A141-85A8-573194E28C46}"/>
                  </a:ext>
                </a:extLst>
              </p:cNvPr>
              <p:cNvSpPr/>
              <p:nvPr/>
            </p:nvSpPr>
            <p:spPr bwMode="auto">
              <a:xfrm>
                <a:off x="3044785" y="3029464"/>
                <a:ext cx="85725" cy="202607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C7A56868-6092-C149-BE12-F9D638777314}"/>
                  </a:ext>
                </a:extLst>
              </p:cNvPr>
              <p:cNvSpPr/>
              <p:nvPr/>
            </p:nvSpPr>
            <p:spPr bwMode="auto">
              <a:xfrm>
                <a:off x="3203530" y="3029464"/>
                <a:ext cx="85725" cy="325374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916B6BE3-A5F3-3642-890C-0D65EF0DA303}"/>
                  </a:ext>
                </a:extLst>
              </p:cNvPr>
              <p:cNvSpPr/>
              <p:nvPr/>
            </p:nvSpPr>
            <p:spPr bwMode="auto">
              <a:xfrm>
                <a:off x="3362275" y="3029464"/>
                <a:ext cx="85725" cy="374214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A2587B54-2520-B64E-AE8E-F834B38C1709}"/>
                  </a:ext>
                </a:extLst>
              </p:cNvPr>
              <p:cNvSpPr/>
              <p:nvPr/>
            </p:nvSpPr>
            <p:spPr bwMode="auto">
              <a:xfrm>
                <a:off x="3521020" y="3029463"/>
                <a:ext cx="85725" cy="418201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283E6673-ED39-E64E-B733-77A27AAD5F20}"/>
                  </a:ext>
                </a:extLst>
              </p:cNvPr>
              <p:cNvSpPr/>
              <p:nvPr/>
            </p:nvSpPr>
            <p:spPr bwMode="auto">
              <a:xfrm>
                <a:off x="3679765" y="3029463"/>
                <a:ext cx="85725" cy="496405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75B24B63-D791-854F-8E4C-88616870750A}"/>
                  </a:ext>
                </a:extLst>
              </p:cNvPr>
              <p:cNvSpPr/>
              <p:nvPr/>
            </p:nvSpPr>
            <p:spPr bwMode="auto">
              <a:xfrm>
                <a:off x="3838510" y="3029463"/>
                <a:ext cx="85725" cy="866793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E6591C81-4E2F-4747-A37B-6424FBA41B38}"/>
                  </a:ext>
                </a:extLst>
              </p:cNvPr>
              <p:cNvSpPr/>
              <p:nvPr/>
            </p:nvSpPr>
            <p:spPr bwMode="auto">
              <a:xfrm>
                <a:off x="3997251" y="3029463"/>
                <a:ext cx="85725" cy="866791"/>
              </a:xfrm>
              <a:prstGeom prst="rect">
                <a:avLst/>
              </a:prstGeom>
              <a:solidFill>
                <a:schemeClr val="accent1"/>
              </a:solidFill>
              <a:ln w="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8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38AD218-4252-6E41-81C0-746426B780B9}"/>
                </a:ext>
              </a:extLst>
            </p:cNvPr>
            <p:cNvGrpSpPr/>
            <p:nvPr/>
          </p:nvGrpSpPr>
          <p:grpSpPr>
            <a:xfrm>
              <a:off x="1008600" y="1759386"/>
              <a:ext cx="3159306" cy="2650286"/>
              <a:chOff x="1019479" y="1746746"/>
              <a:chExt cx="3159306" cy="2650286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D1D257F-FBAF-B544-A70B-88084F0DA482}"/>
                  </a:ext>
                </a:extLst>
              </p:cNvPr>
              <p:cNvSpPr txBox="1"/>
              <p:nvPr/>
            </p:nvSpPr>
            <p:spPr bwMode="auto">
              <a:xfrm>
                <a:off x="1265320" y="1746746"/>
                <a:ext cx="424078" cy="2584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10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9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8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7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6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5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4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3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2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1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1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2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3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4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5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6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7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8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9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100</a:t>
                </a: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6F22973A-5F7C-7847-8FDE-13DCF9B39F8C}"/>
                  </a:ext>
                </a:extLst>
              </p:cNvPr>
              <p:cNvGrpSpPr/>
              <p:nvPr/>
            </p:nvGrpSpPr>
            <p:grpSpPr>
              <a:xfrm>
                <a:off x="1703307" y="1812120"/>
                <a:ext cx="2475478" cy="2584912"/>
                <a:chOff x="2603036" y="1621892"/>
                <a:chExt cx="8016429" cy="2979522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E7C2697B-0984-5248-BB05-C4B9F2766F76}"/>
                    </a:ext>
                  </a:extLst>
                </p:cNvPr>
                <p:cNvSpPr/>
                <p:nvPr/>
              </p:nvSpPr>
              <p:spPr bwMode="auto">
                <a:xfrm>
                  <a:off x="2609710" y="1621892"/>
                  <a:ext cx="8003081" cy="2979522"/>
                </a:xfrm>
                <a:prstGeom prst="rect">
                  <a:avLst/>
                </a:prstGeom>
                <a:noFill/>
                <a:ln w="22225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DABE79EE-848A-5746-BDB2-296174B6672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9710" y="3007738"/>
                  <a:ext cx="8003081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9671F859-F40C-FF4B-B3A8-56A88E5DE55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3036" y="2673743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8ED72BA7-7E8A-BC4B-A0B6-8F818CC22A9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16384" y="3692129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7DED3408-FE9A-8041-A64C-AC360447E17A}"/>
                  </a:ext>
                </a:extLst>
              </p:cNvPr>
              <p:cNvSpPr txBox="1"/>
              <p:nvPr/>
            </p:nvSpPr>
            <p:spPr bwMode="auto">
              <a:xfrm rot="16200000">
                <a:off x="6381" y="2839406"/>
                <a:ext cx="236475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algn="l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6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Change From Baseline (%)</a:t>
                </a: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64B169A2-03B1-C544-81B0-AD2E457269EF}"/>
                  </a:ext>
                </a:extLst>
              </p:cNvPr>
              <p:cNvGrpSpPr/>
              <p:nvPr/>
            </p:nvGrpSpPr>
            <p:grpSpPr>
              <a:xfrm>
                <a:off x="2835454" y="1865077"/>
                <a:ext cx="1337548" cy="564578"/>
                <a:chOff x="8013835" y="1711085"/>
                <a:chExt cx="1617965" cy="682943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C153E7E8-6557-7445-9EC9-9A5099ABCDB5}"/>
                    </a:ext>
                  </a:extLst>
                </p:cNvPr>
                <p:cNvSpPr txBox="1"/>
                <p:nvPr/>
              </p:nvSpPr>
              <p:spPr bwMode="auto">
                <a:xfrm>
                  <a:off x="8136865" y="1711085"/>
                  <a:ext cx="1494935" cy="68294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Bef>
                      <a:spcPts val="0"/>
                    </a:spcBef>
                    <a:spcAft>
                      <a:spcPct val="0"/>
                    </a:spcAft>
                    <a:buClrTx/>
                    <a:buFontTx/>
                    <a:buNone/>
                    <a:tabLst>
                      <a:tab pos="114300" algn="l"/>
                    </a:tabLst>
                  </a:pPr>
                  <a:r>
                    <a:rPr lang="en-US" sz="1200" b="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= Confirmed</a:t>
                  </a:r>
                  <a:br>
                    <a:rPr lang="en-US" sz="1200" b="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</a:br>
                  <a:r>
                    <a:rPr lang="en-US" sz="1200" b="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	PSA response</a:t>
                  </a:r>
                </a:p>
                <a:p>
                  <a:pPr>
                    <a:lnSpc>
                      <a:spcPct val="85000"/>
                    </a:lnSpc>
                    <a:spcBef>
                      <a:spcPts val="0"/>
                    </a:spcBef>
                    <a:spcAft>
                      <a:spcPct val="0"/>
                    </a:spcAft>
                    <a:buClrTx/>
                    <a:buFontTx/>
                    <a:buNone/>
                    <a:tabLst>
                      <a:tab pos="114300" algn="l"/>
                    </a:tabLst>
                  </a:pPr>
                  <a:r>
                    <a:rPr lang="en-US" sz="1200" b="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= Ongoing</a:t>
                  </a: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0B282977-32C4-CB4C-979F-75A5441DE227}"/>
                    </a:ext>
                  </a:extLst>
                </p:cNvPr>
                <p:cNvSpPr/>
                <p:nvPr/>
              </p:nvSpPr>
              <p:spPr bwMode="auto">
                <a:xfrm>
                  <a:off x="8019323" y="2156816"/>
                  <a:ext cx="137160" cy="137160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DC2F7FE4-06A4-1F43-B2A0-AF4128ED667F}"/>
                    </a:ext>
                  </a:extLst>
                </p:cNvPr>
                <p:cNvGrpSpPr/>
                <p:nvPr/>
              </p:nvGrpSpPr>
              <p:grpSpPr>
                <a:xfrm>
                  <a:off x="8013835" y="1785206"/>
                  <a:ext cx="137160" cy="137160"/>
                  <a:chOff x="7524490" y="1171741"/>
                  <a:chExt cx="173411" cy="173411"/>
                </a:xfrm>
              </p:grpSpPr>
              <p:cxnSp>
                <p:nvCxnSpPr>
                  <p:cNvPr id="57" name="Straight Connector 56">
                    <a:extLst>
                      <a:ext uri="{FF2B5EF4-FFF2-40B4-BE49-F238E27FC236}">
                        <a16:creationId xmlns:a16="http://schemas.microsoft.com/office/drawing/2014/main" id="{EED50825-C0F8-3245-A053-DC46A9C6236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7611196" y="1171741"/>
                    <a:ext cx="0" cy="173411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2FEC75D7-2BC9-5B4A-A4C7-1CACC96CB7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7611196" y="1171741"/>
                    <a:ext cx="0" cy="173411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6691B05B-9C62-2B4E-95A3-36BCCEE4C64D}"/>
                  </a:ext>
                </a:extLst>
              </p:cNvPr>
              <p:cNvGrpSpPr/>
              <p:nvPr/>
            </p:nvGrpSpPr>
            <p:grpSpPr>
              <a:xfrm>
                <a:off x="1637430" y="1843302"/>
                <a:ext cx="64008" cy="2343342"/>
                <a:chOff x="1637430" y="1840127"/>
                <a:chExt cx="64008" cy="2343342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E86BF30D-EC51-6B43-B712-319E2025FD5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84012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3088D8EC-10DF-3646-A11A-34F19208DF7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95729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96CBC66B-7FF3-C448-92BA-5AEF2C1E1F4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07446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E0661AFB-7CE6-9A46-9352-F762411B9C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19162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9D56134-0A51-F747-A5F3-C2CC3910809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30879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E526713F-7CA5-2440-B6F2-614F2B59789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42596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DA72173C-4412-2F43-A358-30B5C64CB39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66029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64EDEE4-550C-9A45-8728-0FF637E4C6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77746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639F8F2A-ED3A-BB4D-9E12-FFE5D679F1C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89463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B098D98B-4CA3-B04A-B004-04B8CA992D1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01179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11674E79-EADD-664A-87FA-663FF16AEB6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12896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C5FA58F-A73F-3647-936D-4A6BC4B6D2B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24613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D5857202-6CCE-A24D-B605-9BA2390E2A3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36329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AC662803-579E-D346-9020-C1D736CB7D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48046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79820DB0-880D-3B41-987E-651350E3A9D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59763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35090746-1C24-1047-A0C1-6ED5D6C5329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83196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E18B5DB4-DC75-D145-BDA8-9093025AAE3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71479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5433FA41-FA1A-6344-9178-18765F2FC64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94913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366B5BA7-636A-334A-88F5-5894D873AD7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54312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2AD6627C-7711-C64B-A45B-8BEAB0DE4A3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18346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690A9B11-EE81-C049-95A5-99053B9E160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06630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</p:grpSp>
      <p:graphicFrame>
        <p:nvGraphicFramePr>
          <p:cNvPr id="119" name="Table 2">
            <a:extLst>
              <a:ext uri="{FF2B5EF4-FFF2-40B4-BE49-F238E27FC236}">
                <a16:creationId xmlns:a16="http://schemas.microsoft.com/office/drawing/2014/main" id="{879A3527-57D1-C14A-BED9-E0D2E67D521D}"/>
              </a:ext>
            </a:extLst>
          </p:cNvPr>
          <p:cNvGraphicFramePr>
            <a:graphicFrameLocks noGrp="1"/>
          </p:cNvGraphicFramePr>
          <p:nvPr/>
        </p:nvGraphicFramePr>
        <p:xfrm>
          <a:off x="4676765" y="4539152"/>
          <a:ext cx="2331252" cy="15727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71">
                  <a:extLst>
                    <a:ext uri="{9D8B030D-6E8A-4147-A177-3AD203B41FA5}">
                      <a16:colId xmlns:a16="http://schemas.microsoft.com/office/drawing/2014/main" val="1298946982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3487417222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176335389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1369871279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2241417954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1293455586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2441100447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3125156719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1013344050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830964085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1166149136"/>
                    </a:ext>
                  </a:extLst>
                </a:gridCol>
                <a:gridCol w="194271">
                  <a:extLst>
                    <a:ext uri="{9D8B030D-6E8A-4147-A177-3AD203B41FA5}">
                      <a16:colId xmlns:a16="http://schemas.microsoft.com/office/drawing/2014/main" val="3997119152"/>
                    </a:ext>
                  </a:extLst>
                </a:gridCol>
              </a:tblGrid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33851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75897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55937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728664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38165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000272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43017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84024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31208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80720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5901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9984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42760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957726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929698"/>
                  </a:ext>
                </a:extLst>
              </a:tr>
            </a:tbl>
          </a:graphicData>
        </a:graphic>
      </p:graphicFrame>
      <p:sp>
        <p:nvSpPr>
          <p:cNvPr id="124" name="TextBox 123">
            <a:extLst>
              <a:ext uri="{FF2B5EF4-FFF2-40B4-BE49-F238E27FC236}">
                <a16:creationId xmlns:a16="http://schemas.microsoft.com/office/drawing/2014/main" id="{4D04D8DA-257F-D945-8CCA-59508DAC4F47}"/>
              </a:ext>
            </a:extLst>
          </p:cNvPr>
          <p:cNvSpPr txBox="1"/>
          <p:nvPr/>
        </p:nvSpPr>
        <p:spPr bwMode="auto">
          <a:xfrm>
            <a:off x="4146688" y="1759386"/>
            <a:ext cx="424078" cy="258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10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9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8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7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6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5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4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3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2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1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1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2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3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4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5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6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7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8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90</a:t>
            </a:r>
          </a:p>
          <a:p>
            <a:pPr algn="r">
              <a:lnSpc>
                <a:spcPct val="77000"/>
              </a:lnSpc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b="0" dirty="0">
                <a:solidFill>
                  <a:schemeClr val="bg1"/>
                </a:solidFill>
                <a:latin typeface="Calibri" panose="020F0502020204030204" pitchFamily="34" charset="0"/>
              </a:rPr>
              <a:t>-100</a:t>
            </a:r>
          </a:p>
        </p:txBody>
      </p:sp>
      <p:graphicFrame>
        <p:nvGraphicFramePr>
          <p:cNvPr id="176" name="Table 2">
            <a:extLst>
              <a:ext uri="{FF2B5EF4-FFF2-40B4-BE49-F238E27FC236}">
                <a16:creationId xmlns:a16="http://schemas.microsoft.com/office/drawing/2014/main" id="{C05FFA8B-3EF8-5948-8AA3-72E610AECC9B}"/>
              </a:ext>
            </a:extLst>
          </p:cNvPr>
          <p:cNvGraphicFramePr>
            <a:graphicFrameLocks noGrp="1"/>
          </p:cNvGraphicFramePr>
          <p:nvPr/>
        </p:nvGraphicFramePr>
        <p:xfrm>
          <a:off x="7638984" y="4539152"/>
          <a:ext cx="2419416" cy="15727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956">
                  <a:extLst>
                    <a:ext uri="{9D8B030D-6E8A-4147-A177-3AD203B41FA5}">
                      <a16:colId xmlns:a16="http://schemas.microsoft.com/office/drawing/2014/main" val="1298946982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3487417222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176335389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1369871279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2241417954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1293455586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2441100447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3125156719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1013344050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830964085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1166149136"/>
                    </a:ext>
                  </a:extLst>
                </a:gridCol>
                <a:gridCol w="169956">
                  <a:extLst>
                    <a:ext uri="{9D8B030D-6E8A-4147-A177-3AD203B41FA5}">
                      <a16:colId xmlns:a16="http://schemas.microsoft.com/office/drawing/2014/main" val="3997119152"/>
                    </a:ext>
                  </a:extLst>
                </a:gridCol>
                <a:gridCol w="206425">
                  <a:extLst>
                    <a:ext uri="{9D8B030D-6E8A-4147-A177-3AD203B41FA5}">
                      <a16:colId xmlns:a16="http://schemas.microsoft.com/office/drawing/2014/main" val="1934497031"/>
                    </a:ext>
                  </a:extLst>
                </a:gridCol>
                <a:gridCol w="173519">
                  <a:extLst>
                    <a:ext uri="{9D8B030D-6E8A-4147-A177-3AD203B41FA5}">
                      <a16:colId xmlns:a16="http://schemas.microsoft.com/office/drawing/2014/main" val="2294327817"/>
                    </a:ext>
                  </a:extLst>
                </a:gridCol>
              </a:tblGrid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33851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75897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55937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728664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38165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000272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43017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84024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31208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80720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59015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99841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427609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957726"/>
                  </a:ext>
                </a:extLst>
              </a:tr>
              <a:tr h="104851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929698"/>
                  </a:ext>
                </a:extLst>
              </a:tr>
            </a:tbl>
          </a:graphicData>
        </a:graphic>
      </p:graphicFrame>
      <p:grpSp>
        <p:nvGrpSpPr>
          <p:cNvPr id="65" name="Group 64">
            <a:extLst>
              <a:ext uri="{FF2B5EF4-FFF2-40B4-BE49-F238E27FC236}">
                <a16:creationId xmlns:a16="http://schemas.microsoft.com/office/drawing/2014/main" id="{5EE21A52-FF78-2C4B-BE2D-C5AC3C86D3BD}"/>
              </a:ext>
            </a:extLst>
          </p:cNvPr>
          <p:cNvGrpSpPr/>
          <p:nvPr/>
        </p:nvGrpSpPr>
        <p:grpSpPr>
          <a:xfrm>
            <a:off x="7148770" y="1759386"/>
            <a:ext cx="2913465" cy="2650290"/>
            <a:chOff x="7148770" y="1759386"/>
            <a:chExt cx="2913465" cy="2650290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7F6EF15B-74C7-4F4E-A822-C9DD68A66FF1}"/>
                </a:ext>
              </a:extLst>
            </p:cNvPr>
            <p:cNvGrpSpPr/>
            <p:nvPr/>
          </p:nvGrpSpPr>
          <p:grpSpPr>
            <a:xfrm>
              <a:off x="8718904" y="1877717"/>
              <a:ext cx="1337548" cy="564578"/>
              <a:chOff x="8013835" y="1711085"/>
              <a:chExt cx="1617965" cy="682943"/>
            </a:xfrm>
          </p:grpSpPr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86F22389-7915-4246-9031-CF447640BE65}"/>
                  </a:ext>
                </a:extLst>
              </p:cNvPr>
              <p:cNvSpPr txBox="1"/>
              <p:nvPr/>
            </p:nvSpPr>
            <p:spPr bwMode="auto">
              <a:xfrm>
                <a:off x="8136865" y="1711085"/>
                <a:ext cx="1494935" cy="6829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5000"/>
                  </a:lnSpc>
                  <a:spcBef>
                    <a:spcPts val="0"/>
                  </a:spcBef>
                  <a:tabLst>
                    <a:tab pos="114300" algn="l"/>
                  </a:tabLst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= Confirmed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	PSA response</a:t>
                </a:r>
              </a:p>
              <a:p>
                <a:pPr>
                  <a:lnSpc>
                    <a:spcPct val="85000"/>
                  </a:lnSpc>
                  <a:spcBef>
                    <a:spcPts val="0"/>
                  </a:spcBef>
                  <a:tabLst>
                    <a:tab pos="114300" algn="l"/>
                  </a:tabLst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= Ongoing</a:t>
                </a: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5B17400-AEEB-C947-82E2-A6DFE65FB6CC}"/>
                  </a:ext>
                </a:extLst>
              </p:cNvPr>
              <p:cNvSpPr/>
              <p:nvPr/>
            </p:nvSpPr>
            <p:spPr bwMode="auto">
              <a:xfrm>
                <a:off x="8019323" y="2156816"/>
                <a:ext cx="137160" cy="137160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208" name="Group 207">
                <a:extLst>
                  <a:ext uri="{FF2B5EF4-FFF2-40B4-BE49-F238E27FC236}">
                    <a16:creationId xmlns:a16="http://schemas.microsoft.com/office/drawing/2014/main" id="{0517644E-FF55-B840-9DD6-7AA05EA1A4CC}"/>
                  </a:ext>
                </a:extLst>
              </p:cNvPr>
              <p:cNvGrpSpPr/>
              <p:nvPr/>
            </p:nvGrpSpPr>
            <p:grpSpPr>
              <a:xfrm>
                <a:off x="8013835" y="1785206"/>
                <a:ext cx="137160" cy="137160"/>
                <a:chOff x="7524490" y="1171741"/>
                <a:chExt cx="173411" cy="173411"/>
              </a:xfrm>
            </p:grpSpPr>
            <p:cxnSp>
              <p:nvCxnSpPr>
                <p:cNvPr id="209" name="Straight Connector 208">
                  <a:extLst>
                    <a:ext uri="{FF2B5EF4-FFF2-40B4-BE49-F238E27FC236}">
                      <a16:creationId xmlns:a16="http://schemas.microsoft.com/office/drawing/2014/main" id="{752A4B01-4929-DA42-AF64-DACF0B4CD37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11196" y="1171741"/>
                  <a:ext cx="0" cy="173411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0" name="Straight Connector 209">
                  <a:extLst>
                    <a:ext uri="{FF2B5EF4-FFF2-40B4-BE49-F238E27FC236}">
                      <a16:creationId xmlns:a16="http://schemas.microsoft.com/office/drawing/2014/main" id="{8FE0D4B7-F3BE-AD4E-85AD-4C2EEA9FF36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7611196" y="1171741"/>
                  <a:ext cx="0" cy="173411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752272A-FD2B-AF42-A2F4-B90805C20F75}"/>
                </a:ext>
              </a:extLst>
            </p:cNvPr>
            <p:cNvGrpSpPr/>
            <p:nvPr/>
          </p:nvGrpSpPr>
          <p:grpSpPr>
            <a:xfrm>
              <a:off x="7148770" y="1759386"/>
              <a:ext cx="2913465" cy="2650290"/>
              <a:chOff x="7148770" y="1759386"/>
              <a:chExt cx="2913465" cy="2650290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8B674BCC-595F-FF47-8480-10337E3DBDB6}"/>
                  </a:ext>
                </a:extLst>
              </p:cNvPr>
              <p:cNvGrpSpPr/>
              <p:nvPr/>
            </p:nvGrpSpPr>
            <p:grpSpPr>
              <a:xfrm>
                <a:off x="7678678" y="1870510"/>
                <a:ext cx="2336431" cy="2302687"/>
                <a:chOff x="1774825" y="1870510"/>
                <a:chExt cx="2149410" cy="2302687"/>
              </a:xfrm>
            </p:grpSpPr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3BFEE372-A57E-8540-9C50-53DC834F93A1}"/>
                    </a:ext>
                  </a:extLst>
                </p:cNvPr>
                <p:cNvSpPr/>
                <p:nvPr/>
              </p:nvSpPr>
              <p:spPr bwMode="auto">
                <a:xfrm>
                  <a:off x="1774825" y="1870510"/>
                  <a:ext cx="85725" cy="1163227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A6D6763-62F5-964C-82DE-DFC443A1765F}"/>
                    </a:ext>
                  </a:extLst>
                </p:cNvPr>
                <p:cNvSpPr/>
                <p:nvPr/>
              </p:nvSpPr>
              <p:spPr bwMode="auto">
                <a:xfrm>
                  <a:off x="1933570" y="2647953"/>
                  <a:ext cx="85725" cy="385783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02F70D87-E31A-AC41-905F-286179F47E7F}"/>
                    </a:ext>
                  </a:extLst>
                </p:cNvPr>
                <p:cNvSpPr/>
                <p:nvPr/>
              </p:nvSpPr>
              <p:spPr bwMode="auto">
                <a:xfrm>
                  <a:off x="2092315" y="2752579"/>
                  <a:ext cx="85725" cy="281158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26642974-C785-4B40-AEBB-8372316FD6FF}"/>
                    </a:ext>
                  </a:extLst>
                </p:cNvPr>
                <p:cNvSpPr/>
                <p:nvPr/>
              </p:nvSpPr>
              <p:spPr bwMode="auto">
                <a:xfrm>
                  <a:off x="2251060" y="2915662"/>
                  <a:ext cx="85725" cy="118074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C75AAAA9-2A3F-E149-A145-FEB7B961D7B9}"/>
                    </a:ext>
                  </a:extLst>
                </p:cNvPr>
                <p:cNvSpPr/>
                <p:nvPr/>
              </p:nvSpPr>
              <p:spPr bwMode="auto">
                <a:xfrm>
                  <a:off x="2409805" y="2954437"/>
                  <a:ext cx="85725" cy="79299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Rectangle 219">
                  <a:extLst>
                    <a:ext uri="{FF2B5EF4-FFF2-40B4-BE49-F238E27FC236}">
                      <a16:creationId xmlns:a16="http://schemas.microsoft.com/office/drawing/2014/main" id="{61083940-6B12-784A-9054-3FDB5AF3BD9A}"/>
                    </a:ext>
                  </a:extLst>
                </p:cNvPr>
                <p:cNvSpPr/>
                <p:nvPr/>
              </p:nvSpPr>
              <p:spPr bwMode="auto">
                <a:xfrm>
                  <a:off x="2568550" y="2988002"/>
                  <a:ext cx="85725" cy="45734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Rectangle 220">
                  <a:extLst>
                    <a:ext uri="{FF2B5EF4-FFF2-40B4-BE49-F238E27FC236}">
                      <a16:creationId xmlns:a16="http://schemas.microsoft.com/office/drawing/2014/main" id="{1DF64C54-234E-9947-A97A-61F43E4BB168}"/>
                    </a:ext>
                  </a:extLst>
                </p:cNvPr>
                <p:cNvSpPr/>
                <p:nvPr/>
              </p:nvSpPr>
              <p:spPr bwMode="auto">
                <a:xfrm>
                  <a:off x="2727295" y="3026591"/>
                  <a:ext cx="85725" cy="245532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Rectangle 221">
                  <a:extLst>
                    <a:ext uri="{FF2B5EF4-FFF2-40B4-BE49-F238E27FC236}">
                      <a16:creationId xmlns:a16="http://schemas.microsoft.com/office/drawing/2014/main" id="{4BD54B07-2D9D-634F-9D26-E8E1938E1B9B}"/>
                    </a:ext>
                  </a:extLst>
                </p:cNvPr>
                <p:cNvSpPr/>
                <p:nvPr/>
              </p:nvSpPr>
              <p:spPr bwMode="auto">
                <a:xfrm>
                  <a:off x="2886040" y="3029464"/>
                  <a:ext cx="85725" cy="272083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Rectangle 222">
                  <a:extLst>
                    <a:ext uri="{FF2B5EF4-FFF2-40B4-BE49-F238E27FC236}">
                      <a16:creationId xmlns:a16="http://schemas.microsoft.com/office/drawing/2014/main" id="{5CB0D5B8-A5B6-3745-91E9-66C5B5A7649D}"/>
                    </a:ext>
                  </a:extLst>
                </p:cNvPr>
                <p:cNvSpPr/>
                <p:nvPr/>
              </p:nvSpPr>
              <p:spPr bwMode="auto">
                <a:xfrm>
                  <a:off x="3044785" y="3029464"/>
                  <a:ext cx="85725" cy="568119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Rectangle 223">
                  <a:extLst>
                    <a:ext uri="{FF2B5EF4-FFF2-40B4-BE49-F238E27FC236}">
                      <a16:creationId xmlns:a16="http://schemas.microsoft.com/office/drawing/2014/main" id="{7A8CC234-55DA-DE46-8A5C-2F04D2D86E09}"/>
                    </a:ext>
                  </a:extLst>
                </p:cNvPr>
                <p:cNvSpPr/>
                <p:nvPr/>
              </p:nvSpPr>
              <p:spPr bwMode="auto">
                <a:xfrm>
                  <a:off x="3203530" y="3029463"/>
                  <a:ext cx="85725" cy="801465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606532EF-1482-0E45-8357-2CC2AE706B6A}"/>
                    </a:ext>
                  </a:extLst>
                </p:cNvPr>
                <p:cNvSpPr/>
                <p:nvPr/>
              </p:nvSpPr>
              <p:spPr bwMode="auto">
                <a:xfrm>
                  <a:off x="3362275" y="3029463"/>
                  <a:ext cx="85725" cy="1050041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C33B0349-9B94-554A-994F-E56C02914493}"/>
                    </a:ext>
                  </a:extLst>
                </p:cNvPr>
                <p:cNvSpPr/>
                <p:nvPr/>
              </p:nvSpPr>
              <p:spPr bwMode="auto">
                <a:xfrm>
                  <a:off x="3521020" y="3029463"/>
                  <a:ext cx="85725" cy="1100701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Rectangle 226">
                  <a:extLst>
                    <a:ext uri="{FF2B5EF4-FFF2-40B4-BE49-F238E27FC236}">
                      <a16:creationId xmlns:a16="http://schemas.microsoft.com/office/drawing/2014/main" id="{83A023BA-88D0-9A45-935E-0F772D34E7D4}"/>
                    </a:ext>
                  </a:extLst>
                </p:cNvPr>
                <p:cNvSpPr/>
                <p:nvPr/>
              </p:nvSpPr>
              <p:spPr bwMode="auto">
                <a:xfrm>
                  <a:off x="3679765" y="3029463"/>
                  <a:ext cx="85725" cy="1143734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4618BE64-5426-EC4C-9D7A-A477E2DA5294}"/>
                    </a:ext>
                  </a:extLst>
                </p:cNvPr>
                <p:cNvSpPr/>
                <p:nvPr/>
              </p:nvSpPr>
              <p:spPr bwMode="auto">
                <a:xfrm>
                  <a:off x="3838510" y="3029463"/>
                  <a:ext cx="85725" cy="1143728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5421D375-C561-D645-A154-47296CB8C11B}"/>
                  </a:ext>
                </a:extLst>
              </p:cNvPr>
              <p:cNvSpPr txBox="1"/>
              <p:nvPr/>
            </p:nvSpPr>
            <p:spPr bwMode="auto">
              <a:xfrm>
                <a:off x="7148770" y="1759386"/>
                <a:ext cx="424078" cy="2584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10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9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8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7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6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5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4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3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2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1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1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2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3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4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5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6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7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8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90</a:t>
                </a:r>
              </a:p>
              <a:p>
                <a:pPr algn="r">
                  <a:lnSpc>
                    <a:spcPct val="77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sz="10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-100</a:t>
                </a:r>
              </a:p>
            </p:txBody>
          </p: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A6CBE4F3-33C6-6744-8BE2-19751565545A}"/>
                  </a:ext>
                </a:extLst>
              </p:cNvPr>
              <p:cNvGrpSpPr/>
              <p:nvPr/>
            </p:nvGrpSpPr>
            <p:grpSpPr>
              <a:xfrm>
                <a:off x="7586757" y="1824759"/>
                <a:ext cx="2475478" cy="2584917"/>
                <a:chOff x="2603036" y="1621891"/>
                <a:chExt cx="8016429" cy="2979529"/>
              </a:xfrm>
            </p:grpSpPr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92A1D8F7-B09B-D445-8FF5-8DB3AF55C51B}"/>
                    </a:ext>
                  </a:extLst>
                </p:cNvPr>
                <p:cNvSpPr/>
                <p:nvPr/>
              </p:nvSpPr>
              <p:spPr bwMode="auto">
                <a:xfrm>
                  <a:off x="2609710" y="1621891"/>
                  <a:ext cx="8003081" cy="2979529"/>
                </a:xfrm>
                <a:prstGeom prst="rect">
                  <a:avLst/>
                </a:prstGeom>
                <a:noFill/>
                <a:ln w="22225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212" name="Straight Connector 211">
                  <a:extLst>
                    <a:ext uri="{FF2B5EF4-FFF2-40B4-BE49-F238E27FC236}">
                      <a16:creationId xmlns:a16="http://schemas.microsoft.com/office/drawing/2014/main" id="{D2006403-C7B9-AD46-9F56-B8000750481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9710" y="3007738"/>
                  <a:ext cx="8003081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3" name="Straight Connector 212">
                  <a:extLst>
                    <a:ext uri="{FF2B5EF4-FFF2-40B4-BE49-F238E27FC236}">
                      <a16:creationId xmlns:a16="http://schemas.microsoft.com/office/drawing/2014/main" id="{DDBDF7DA-BF9F-B649-8D70-D1FB038F8D5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3036" y="2673743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0808C15E-0EA2-1F40-9CD9-ED4EF88FD1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16384" y="3692129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5FB6B63E-8DAD-F447-AA43-8E5F8FEB49AD}"/>
                  </a:ext>
                </a:extLst>
              </p:cNvPr>
              <p:cNvGrpSpPr/>
              <p:nvPr/>
            </p:nvGrpSpPr>
            <p:grpSpPr>
              <a:xfrm>
                <a:off x="7520880" y="1855942"/>
                <a:ext cx="64008" cy="2343342"/>
                <a:chOff x="1637430" y="1840127"/>
                <a:chExt cx="64008" cy="2343342"/>
              </a:xfrm>
            </p:grpSpPr>
            <p:cxnSp>
              <p:nvCxnSpPr>
                <p:cNvPr id="185" name="Straight Connector 184">
                  <a:extLst>
                    <a:ext uri="{FF2B5EF4-FFF2-40B4-BE49-F238E27FC236}">
                      <a16:creationId xmlns:a16="http://schemas.microsoft.com/office/drawing/2014/main" id="{69CEF8AB-CCD1-764D-8D7B-5EEE231D4E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84012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6" name="Straight Connector 185">
                  <a:extLst>
                    <a:ext uri="{FF2B5EF4-FFF2-40B4-BE49-F238E27FC236}">
                      <a16:creationId xmlns:a16="http://schemas.microsoft.com/office/drawing/2014/main" id="{E26649C2-14D1-134F-BBB9-B78588BB373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95729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7" name="Straight Connector 186">
                  <a:extLst>
                    <a:ext uri="{FF2B5EF4-FFF2-40B4-BE49-F238E27FC236}">
                      <a16:creationId xmlns:a16="http://schemas.microsoft.com/office/drawing/2014/main" id="{F30C4190-DEE6-7A4B-AFA6-5453F7E556D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07446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8" name="Straight Connector 187">
                  <a:extLst>
                    <a:ext uri="{FF2B5EF4-FFF2-40B4-BE49-F238E27FC236}">
                      <a16:creationId xmlns:a16="http://schemas.microsoft.com/office/drawing/2014/main" id="{40B8A528-00F4-844F-BBC9-7EBB0FC4095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19162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9" name="Straight Connector 188">
                  <a:extLst>
                    <a:ext uri="{FF2B5EF4-FFF2-40B4-BE49-F238E27FC236}">
                      <a16:creationId xmlns:a16="http://schemas.microsoft.com/office/drawing/2014/main" id="{59A73A44-07B7-994F-A632-22818B447C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30879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ECAF025E-0473-D145-AF7F-06AB357A80E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42596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1" name="Straight Connector 190">
                  <a:extLst>
                    <a:ext uri="{FF2B5EF4-FFF2-40B4-BE49-F238E27FC236}">
                      <a16:creationId xmlns:a16="http://schemas.microsoft.com/office/drawing/2014/main" id="{66359012-639C-0F45-A631-9F77D889EF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66029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2" name="Straight Connector 191">
                  <a:extLst>
                    <a:ext uri="{FF2B5EF4-FFF2-40B4-BE49-F238E27FC236}">
                      <a16:creationId xmlns:a16="http://schemas.microsoft.com/office/drawing/2014/main" id="{24F52850-91E2-9E48-B520-3CC6824C12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77746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3" name="Straight Connector 192">
                  <a:extLst>
                    <a:ext uri="{FF2B5EF4-FFF2-40B4-BE49-F238E27FC236}">
                      <a16:creationId xmlns:a16="http://schemas.microsoft.com/office/drawing/2014/main" id="{CB6E7E4C-4931-B745-A6AE-160BE5C8299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89463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4" name="Straight Connector 193">
                  <a:extLst>
                    <a:ext uri="{FF2B5EF4-FFF2-40B4-BE49-F238E27FC236}">
                      <a16:creationId xmlns:a16="http://schemas.microsoft.com/office/drawing/2014/main" id="{321ECD1B-1BA5-7045-BDAF-F1C7920E493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01179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9E16A9A1-A566-154A-BA0B-4C3FD3A07ED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12896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6" name="Straight Connector 195">
                  <a:extLst>
                    <a:ext uri="{FF2B5EF4-FFF2-40B4-BE49-F238E27FC236}">
                      <a16:creationId xmlns:a16="http://schemas.microsoft.com/office/drawing/2014/main" id="{0788ACD4-2713-AB4B-B9EA-2AC7C8541AE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24613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7" name="Straight Connector 196">
                  <a:extLst>
                    <a:ext uri="{FF2B5EF4-FFF2-40B4-BE49-F238E27FC236}">
                      <a16:creationId xmlns:a16="http://schemas.microsoft.com/office/drawing/2014/main" id="{A911915C-394C-2545-A223-EA60493135E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36329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8" name="Straight Connector 197">
                  <a:extLst>
                    <a:ext uri="{FF2B5EF4-FFF2-40B4-BE49-F238E27FC236}">
                      <a16:creationId xmlns:a16="http://schemas.microsoft.com/office/drawing/2014/main" id="{2518545E-B929-074F-B36A-83D2E597FE5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48046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B4636093-ED6E-7849-83A2-BFFB749A20E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59763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BF36E47E-33E6-664D-807B-B94394F3A6D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83196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1" name="Straight Connector 200">
                  <a:extLst>
                    <a:ext uri="{FF2B5EF4-FFF2-40B4-BE49-F238E27FC236}">
                      <a16:creationId xmlns:a16="http://schemas.microsoft.com/office/drawing/2014/main" id="{9B499646-B0D8-5644-97F5-19F6B7F6D1F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71479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2" name="Straight Connector 201">
                  <a:extLst>
                    <a:ext uri="{FF2B5EF4-FFF2-40B4-BE49-F238E27FC236}">
                      <a16:creationId xmlns:a16="http://schemas.microsoft.com/office/drawing/2014/main" id="{E413EFDB-5509-2C4F-87B1-831C16D3D07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94913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3" name="Straight Connector 202">
                  <a:extLst>
                    <a:ext uri="{FF2B5EF4-FFF2-40B4-BE49-F238E27FC236}">
                      <a16:creationId xmlns:a16="http://schemas.microsoft.com/office/drawing/2014/main" id="{A3EA2B56-5BD0-694E-AFAF-616C50AA23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54312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4" name="Straight Connector 203">
                  <a:extLst>
                    <a:ext uri="{FF2B5EF4-FFF2-40B4-BE49-F238E27FC236}">
                      <a16:creationId xmlns:a16="http://schemas.microsoft.com/office/drawing/2014/main" id="{90BD51CB-5FB0-124B-9757-A21612A3AB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18346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5" name="Straight Connector 204">
                  <a:extLst>
                    <a:ext uri="{FF2B5EF4-FFF2-40B4-BE49-F238E27FC236}">
                      <a16:creationId xmlns:a16="http://schemas.microsoft.com/office/drawing/2014/main" id="{60189509-534D-CE4D-8F84-FB2CC680219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06630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2E2E6D99-580F-3845-9878-6909D4802E9A}"/>
                  </a:ext>
                </a:extLst>
              </p:cNvPr>
              <p:cNvGrpSpPr/>
              <p:nvPr/>
            </p:nvGrpSpPr>
            <p:grpSpPr>
              <a:xfrm>
                <a:off x="9932816" y="4199112"/>
                <a:ext cx="82625" cy="185053"/>
                <a:chOff x="7123991" y="3952146"/>
                <a:chExt cx="82625" cy="185053"/>
              </a:xfrm>
            </p:grpSpPr>
            <p:grpSp>
              <p:nvGrpSpPr>
                <p:cNvPr id="239" name="Group 238">
                  <a:extLst>
                    <a:ext uri="{FF2B5EF4-FFF2-40B4-BE49-F238E27FC236}">
                      <a16:creationId xmlns:a16="http://schemas.microsoft.com/office/drawing/2014/main" id="{9C1A69CF-FAB4-DE4B-AE11-445FE96FB3B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41" name="Straight Connector 240">
                    <a:extLst>
                      <a:ext uri="{FF2B5EF4-FFF2-40B4-BE49-F238E27FC236}">
                        <a16:creationId xmlns:a16="http://schemas.microsoft.com/office/drawing/2014/main" id="{C836B5CC-5C89-6944-894B-109C2012B2E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42" name="Straight Connector 241">
                    <a:extLst>
                      <a:ext uri="{FF2B5EF4-FFF2-40B4-BE49-F238E27FC236}">
                        <a16:creationId xmlns:a16="http://schemas.microsoft.com/office/drawing/2014/main" id="{E9EDCD57-D7FC-7F45-A7BB-77CF2E99992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40" name="Oval 239">
                  <a:extLst>
                    <a:ext uri="{FF2B5EF4-FFF2-40B4-BE49-F238E27FC236}">
                      <a16:creationId xmlns:a16="http://schemas.microsoft.com/office/drawing/2014/main" id="{B7359022-2CF6-DB47-A1C7-78930B89EFB5}"/>
                    </a:ext>
                  </a:extLst>
                </p:cNvPr>
                <p:cNvSpPr/>
                <p:nvPr/>
              </p:nvSpPr>
              <p:spPr bwMode="auto">
                <a:xfrm>
                  <a:off x="7124320" y="4054903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43" name="Group 242">
                <a:extLst>
                  <a:ext uri="{FF2B5EF4-FFF2-40B4-BE49-F238E27FC236}">
                    <a16:creationId xmlns:a16="http://schemas.microsoft.com/office/drawing/2014/main" id="{E78A0863-AEFA-C044-B6DC-60CC67B17C9A}"/>
                  </a:ext>
                </a:extLst>
              </p:cNvPr>
              <p:cNvGrpSpPr/>
              <p:nvPr/>
            </p:nvGrpSpPr>
            <p:grpSpPr>
              <a:xfrm>
                <a:off x="9742316" y="4183237"/>
                <a:ext cx="82625" cy="188228"/>
                <a:chOff x="7123991" y="3952146"/>
                <a:chExt cx="82625" cy="188228"/>
              </a:xfrm>
            </p:grpSpPr>
            <p:grpSp>
              <p:nvGrpSpPr>
                <p:cNvPr id="244" name="Group 243">
                  <a:extLst>
                    <a:ext uri="{FF2B5EF4-FFF2-40B4-BE49-F238E27FC236}">
                      <a16:creationId xmlns:a16="http://schemas.microsoft.com/office/drawing/2014/main" id="{179CA2C6-656A-EB4E-9636-0B03A6EC9F6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46" name="Straight Connector 245">
                    <a:extLst>
                      <a:ext uri="{FF2B5EF4-FFF2-40B4-BE49-F238E27FC236}">
                        <a16:creationId xmlns:a16="http://schemas.microsoft.com/office/drawing/2014/main" id="{553D2B87-E883-5448-B39F-32C7AED7AB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47" name="Straight Connector 246">
                    <a:extLst>
                      <a:ext uri="{FF2B5EF4-FFF2-40B4-BE49-F238E27FC236}">
                        <a16:creationId xmlns:a16="http://schemas.microsoft.com/office/drawing/2014/main" id="{D284AE14-6C62-F549-912F-BCEB40B13C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45" name="Oval 244">
                  <a:extLst>
                    <a:ext uri="{FF2B5EF4-FFF2-40B4-BE49-F238E27FC236}">
                      <a16:creationId xmlns:a16="http://schemas.microsoft.com/office/drawing/2014/main" id="{7C433846-05A0-3641-A7AA-C00FF3FAFB18}"/>
                    </a:ext>
                  </a:extLst>
                </p:cNvPr>
                <p:cNvSpPr/>
                <p:nvPr/>
              </p:nvSpPr>
              <p:spPr bwMode="auto">
                <a:xfrm>
                  <a:off x="7124320" y="4058078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899A20E0-F234-A444-B65B-212814F9200A}"/>
                  </a:ext>
                </a:extLst>
              </p:cNvPr>
              <p:cNvGrpSpPr/>
              <p:nvPr/>
            </p:nvGrpSpPr>
            <p:grpSpPr>
              <a:xfrm>
                <a:off x="9570866" y="4141962"/>
                <a:ext cx="82625" cy="188228"/>
                <a:chOff x="7123991" y="3952146"/>
                <a:chExt cx="82625" cy="188228"/>
              </a:xfrm>
            </p:grpSpPr>
            <p:grpSp>
              <p:nvGrpSpPr>
                <p:cNvPr id="249" name="Group 248">
                  <a:extLst>
                    <a:ext uri="{FF2B5EF4-FFF2-40B4-BE49-F238E27FC236}">
                      <a16:creationId xmlns:a16="http://schemas.microsoft.com/office/drawing/2014/main" id="{7F54D950-7380-A94D-9A1C-50D1FF91DC8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51" name="Straight Connector 250">
                    <a:extLst>
                      <a:ext uri="{FF2B5EF4-FFF2-40B4-BE49-F238E27FC236}">
                        <a16:creationId xmlns:a16="http://schemas.microsoft.com/office/drawing/2014/main" id="{4658CB15-BD01-6B4F-B8E0-AF4A0910BC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52" name="Straight Connector 251">
                    <a:extLst>
                      <a:ext uri="{FF2B5EF4-FFF2-40B4-BE49-F238E27FC236}">
                        <a16:creationId xmlns:a16="http://schemas.microsoft.com/office/drawing/2014/main" id="{71020FDE-2777-E24D-B2F7-9FD1F185C2A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50" name="Oval 249">
                  <a:extLst>
                    <a:ext uri="{FF2B5EF4-FFF2-40B4-BE49-F238E27FC236}">
                      <a16:creationId xmlns:a16="http://schemas.microsoft.com/office/drawing/2014/main" id="{4A585541-8A81-9F46-8ABD-10C29A236D37}"/>
                    </a:ext>
                  </a:extLst>
                </p:cNvPr>
                <p:cNvSpPr/>
                <p:nvPr/>
              </p:nvSpPr>
              <p:spPr bwMode="auto">
                <a:xfrm>
                  <a:off x="7124320" y="4058078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AA3DF898-3924-8E4F-AF61-2FCB37ED69FE}"/>
                  </a:ext>
                </a:extLst>
              </p:cNvPr>
              <p:cNvGrpSpPr/>
              <p:nvPr/>
            </p:nvGrpSpPr>
            <p:grpSpPr>
              <a:xfrm>
                <a:off x="9405766" y="4097512"/>
                <a:ext cx="82625" cy="188228"/>
                <a:chOff x="7123991" y="3952146"/>
                <a:chExt cx="82625" cy="188228"/>
              </a:xfrm>
            </p:grpSpPr>
            <p:grpSp>
              <p:nvGrpSpPr>
                <p:cNvPr id="254" name="Group 253">
                  <a:extLst>
                    <a:ext uri="{FF2B5EF4-FFF2-40B4-BE49-F238E27FC236}">
                      <a16:creationId xmlns:a16="http://schemas.microsoft.com/office/drawing/2014/main" id="{E9BA69FD-D88E-E44E-AC5E-A06F55C2167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56" name="Straight Connector 255">
                    <a:extLst>
                      <a:ext uri="{FF2B5EF4-FFF2-40B4-BE49-F238E27FC236}">
                        <a16:creationId xmlns:a16="http://schemas.microsoft.com/office/drawing/2014/main" id="{895E1D8A-6C8F-1844-84A4-9CA15EE25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57" name="Straight Connector 256">
                    <a:extLst>
                      <a:ext uri="{FF2B5EF4-FFF2-40B4-BE49-F238E27FC236}">
                        <a16:creationId xmlns:a16="http://schemas.microsoft.com/office/drawing/2014/main" id="{F873878E-1C13-6B4A-A049-8A082076675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88D5745A-63A5-0B4C-91A9-4E19DF56E61F}"/>
                    </a:ext>
                  </a:extLst>
                </p:cNvPr>
                <p:cNvSpPr/>
                <p:nvPr/>
              </p:nvSpPr>
              <p:spPr bwMode="auto">
                <a:xfrm>
                  <a:off x="7124320" y="4058078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69" name="Group 268">
                <a:extLst>
                  <a:ext uri="{FF2B5EF4-FFF2-40B4-BE49-F238E27FC236}">
                    <a16:creationId xmlns:a16="http://schemas.microsoft.com/office/drawing/2014/main" id="{F7B8DCB8-81D2-D741-A512-96F751CDCFB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236649" y="3908424"/>
                <a:ext cx="82296" cy="82296"/>
                <a:chOff x="2987854" y="2078752"/>
                <a:chExt cx="113388" cy="113388"/>
              </a:xfrm>
            </p:grpSpPr>
            <p:cxnSp>
              <p:nvCxnSpPr>
                <p:cNvPr id="271" name="Straight Connector 270">
                  <a:extLst>
                    <a:ext uri="{FF2B5EF4-FFF2-40B4-BE49-F238E27FC236}">
                      <a16:creationId xmlns:a16="http://schemas.microsoft.com/office/drawing/2014/main" id="{FBB84243-E3EF-124B-827E-201222EC59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044548" y="2078752"/>
                  <a:ext cx="0" cy="113388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" name="Straight Connector 271">
                  <a:extLst>
                    <a:ext uri="{FF2B5EF4-FFF2-40B4-BE49-F238E27FC236}">
                      <a16:creationId xmlns:a16="http://schemas.microsoft.com/office/drawing/2014/main" id="{F64AB44C-CD64-074F-9F54-863A1023AC7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044548" y="2078752"/>
                  <a:ext cx="0" cy="113388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A3393DA5-4B22-C44B-9096-479448FB38F4}"/>
                  </a:ext>
                </a:extLst>
              </p:cNvPr>
              <p:cNvSpPr/>
              <p:nvPr/>
            </p:nvSpPr>
            <p:spPr bwMode="auto">
              <a:xfrm>
                <a:off x="8719153" y="3302034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DCA16AC0-CA7D-5848-983E-7A1D65576B01}"/>
                  </a:ext>
                </a:extLst>
              </p:cNvPr>
              <p:cNvSpPr/>
              <p:nvPr/>
            </p:nvSpPr>
            <p:spPr bwMode="auto">
              <a:xfrm>
                <a:off x="8376253" y="2838484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5C33D7B4-678D-7E40-A7A9-9418F74B0C59}"/>
                  </a:ext>
                </a:extLst>
              </p:cNvPr>
              <p:cNvSpPr/>
              <p:nvPr/>
            </p:nvSpPr>
            <p:spPr bwMode="auto">
              <a:xfrm>
                <a:off x="8033353" y="2622584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5D52BA37-B1CD-5F46-BF80-EF56F531113E}"/>
              </a:ext>
            </a:extLst>
          </p:cNvPr>
          <p:cNvGrpSpPr/>
          <p:nvPr/>
        </p:nvGrpSpPr>
        <p:grpSpPr>
          <a:xfrm>
            <a:off x="4518798" y="1824759"/>
            <a:ext cx="2541355" cy="2584913"/>
            <a:chOff x="4518798" y="1824759"/>
            <a:chExt cx="2541355" cy="2584913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151608E-1531-024F-8193-5E97FC6C4B70}"/>
                </a:ext>
              </a:extLst>
            </p:cNvPr>
            <p:cNvGrpSpPr/>
            <p:nvPr/>
          </p:nvGrpSpPr>
          <p:grpSpPr>
            <a:xfrm>
              <a:off x="5716822" y="1877717"/>
              <a:ext cx="1337548" cy="564578"/>
              <a:chOff x="8013835" y="1711085"/>
              <a:chExt cx="1617965" cy="682943"/>
            </a:xfrm>
          </p:grpSpPr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FAE16D7E-356E-4E4C-A764-4193B04172C0}"/>
                  </a:ext>
                </a:extLst>
              </p:cNvPr>
              <p:cNvSpPr txBox="1"/>
              <p:nvPr/>
            </p:nvSpPr>
            <p:spPr bwMode="auto">
              <a:xfrm>
                <a:off x="8136865" y="1711085"/>
                <a:ext cx="1494935" cy="6829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5000"/>
                  </a:lnSpc>
                  <a:spcBef>
                    <a:spcPts val="0"/>
                  </a:spcBef>
                  <a:tabLst>
                    <a:tab pos="114300" algn="l"/>
                  </a:tabLst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= Confirmed</a:t>
                </a:r>
                <a:b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</a:b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	PSA response</a:t>
                </a:r>
              </a:p>
              <a:p>
                <a:pPr>
                  <a:lnSpc>
                    <a:spcPct val="85000"/>
                  </a:lnSpc>
                  <a:spcBef>
                    <a:spcPts val="0"/>
                  </a:spcBef>
                  <a:tabLst>
                    <a:tab pos="114300" algn="l"/>
                  </a:tabLst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= Ongoing</a:t>
                </a: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4C0CEB75-82E2-D74D-8D2B-29E424F6E224}"/>
                  </a:ext>
                </a:extLst>
              </p:cNvPr>
              <p:cNvSpPr/>
              <p:nvPr/>
            </p:nvSpPr>
            <p:spPr bwMode="auto">
              <a:xfrm>
                <a:off x="8019323" y="2156816"/>
                <a:ext cx="137160" cy="137160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50D7CF0D-D7C8-4A48-BF25-6590BD686647}"/>
                  </a:ext>
                </a:extLst>
              </p:cNvPr>
              <p:cNvGrpSpPr/>
              <p:nvPr/>
            </p:nvGrpSpPr>
            <p:grpSpPr>
              <a:xfrm>
                <a:off x="8013835" y="1785206"/>
                <a:ext cx="137160" cy="137160"/>
                <a:chOff x="7524490" y="1171741"/>
                <a:chExt cx="173411" cy="173411"/>
              </a:xfrm>
            </p:grpSpPr>
            <p:cxnSp>
              <p:nvCxnSpPr>
                <p:cNvPr id="153" name="Straight Connector 152">
                  <a:extLst>
                    <a:ext uri="{FF2B5EF4-FFF2-40B4-BE49-F238E27FC236}">
                      <a16:creationId xmlns:a16="http://schemas.microsoft.com/office/drawing/2014/main" id="{860C8D03-25B1-404B-A4AA-2356A489CDF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11196" y="1171741"/>
                  <a:ext cx="0" cy="173411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4" name="Straight Connector 153">
                  <a:extLst>
                    <a:ext uri="{FF2B5EF4-FFF2-40B4-BE49-F238E27FC236}">
                      <a16:creationId xmlns:a16="http://schemas.microsoft.com/office/drawing/2014/main" id="{FA1E4359-90C0-8D42-81CE-F39366E894D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7611196" y="1171741"/>
                  <a:ext cx="0" cy="173411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9687F469-5935-FC4A-9988-AA627E9D3B45}"/>
                </a:ext>
              </a:extLst>
            </p:cNvPr>
            <p:cNvGrpSpPr/>
            <p:nvPr/>
          </p:nvGrpSpPr>
          <p:grpSpPr>
            <a:xfrm>
              <a:off x="4518798" y="1824759"/>
              <a:ext cx="2541355" cy="2584913"/>
              <a:chOff x="4518798" y="1824759"/>
              <a:chExt cx="2541355" cy="2584913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CFFB69D9-11F7-974E-852F-D9BAE9CF4355}"/>
                  </a:ext>
                </a:extLst>
              </p:cNvPr>
              <p:cNvGrpSpPr/>
              <p:nvPr/>
            </p:nvGrpSpPr>
            <p:grpSpPr>
              <a:xfrm>
                <a:off x="4667071" y="2286141"/>
                <a:ext cx="2304975" cy="1622278"/>
                <a:chOff x="1774825" y="2286141"/>
                <a:chExt cx="1831920" cy="1622278"/>
              </a:xfrm>
            </p:grpSpPr>
            <p:sp>
              <p:nvSpPr>
                <p:cNvPr id="159" name="Rectangle 158">
                  <a:extLst>
                    <a:ext uri="{FF2B5EF4-FFF2-40B4-BE49-F238E27FC236}">
                      <a16:creationId xmlns:a16="http://schemas.microsoft.com/office/drawing/2014/main" id="{BE025304-B246-2F4E-A179-7538FCD538CE}"/>
                    </a:ext>
                  </a:extLst>
                </p:cNvPr>
                <p:cNvSpPr/>
                <p:nvPr/>
              </p:nvSpPr>
              <p:spPr bwMode="auto">
                <a:xfrm>
                  <a:off x="1774825" y="2286141"/>
                  <a:ext cx="85725" cy="747596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C7BB7F95-A448-534A-9F5D-0FBA8BB848C8}"/>
                    </a:ext>
                  </a:extLst>
                </p:cNvPr>
                <p:cNvSpPr/>
                <p:nvPr/>
              </p:nvSpPr>
              <p:spPr bwMode="auto">
                <a:xfrm>
                  <a:off x="1933570" y="2402685"/>
                  <a:ext cx="85725" cy="631051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320976C3-1944-784D-A5B8-DDDD687C91BF}"/>
                    </a:ext>
                  </a:extLst>
                </p:cNvPr>
                <p:cNvSpPr/>
                <p:nvPr/>
              </p:nvSpPr>
              <p:spPr bwMode="auto">
                <a:xfrm>
                  <a:off x="2092315" y="2688361"/>
                  <a:ext cx="85725" cy="345375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3ED0476B-A7A5-F04C-BA15-A3FDF27347C8}"/>
                    </a:ext>
                  </a:extLst>
                </p:cNvPr>
                <p:cNvSpPr/>
                <p:nvPr/>
              </p:nvSpPr>
              <p:spPr bwMode="auto">
                <a:xfrm>
                  <a:off x="2251060" y="2910443"/>
                  <a:ext cx="85725" cy="123293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DB435C86-EBFD-B74D-A769-D59576A5E04F}"/>
                    </a:ext>
                  </a:extLst>
                </p:cNvPr>
                <p:cNvSpPr/>
                <p:nvPr/>
              </p:nvSpPr>
              <p:spPr bwMode="auto">
                <a:xfrm>
                  <a:off x="2409805" y="2954439"/>
                  <a:ext cx="85725" cy="79298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47EB6DF9-0376-FE46-AC34-CF4CB5AF5333}"/>
                    </a:ext>
                  </a:extLst>
                </p:cNvPr>
                <p:cNvSpPr/>
                <p:nvPr/>
              </p:nvSpPr>
              <p:spPr bwMode="auto">
                <a:xfrm>
                  <a:off x="2568550" y="3018951"/>
                  <a:ext cx="85725" cy="257725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71DB0A2-F903-A84D-B39E-2AF620E8B98A}"/>
                    </a:ext>
                  </a:extLst>
                </p:cNvPr>
                <p:cNvSpPr/>
                <p:nvPr/>
              </p:nvSpPr>
              <p:spPr bwMode="auto">
                <a:xfrm>
                  <a:off x="2727295" y="3018951"/>
                  <a:ext cx="85725" cy="292608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BF928FB2-A765-5349-BCC8-ECA1008B8514}"/>
                    </a:ext>
                  </a:extLst>
                </p:cNvPr>
                <p:cNvSpPr/>
                <p:nvPr/>
              </p:nvSpPr>
              <p:spPr bwMode="auto">
                <a:xfrm>
                  <a:off x="2886040" y="3029464"/>
                  <a:ext cx="85725" cy="292607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DE9FA8FC-7757-1744-894A-E3F7AF3CFE28}"/>
                    </a:ext>
                  </a:extLst>
                </p:cNvPr>
                <p:cNvSpPr/>
                <p:nvPr/>
              </p:nvSpPr>
              <p:spPr bwMode="auto">
                <a:xfrm>
                  <a:off x="3044785" y="3029464"/>
                  <a:ext cx="85725" cy="374214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2AABF0F6-02C1-384F-A4D3-0952FB3D0304}"/>
                    </a:ext>
                  </a:extLst>
                </p:cNvPr>
                <p:cNvSpPr/>
                <p:nvPr/>
              </p:nvSpPr>
              <p:spPr bwMode="auto">
                <a:xfrm>
                  <a:off x="3203530" y="3029463"/>
                  <a:ext cx="85725" cy="481543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A66C3F2A-52DB-454C-9A70-F30CBCBE0327}"/>
                    </a:ext>
                  </a:extLst>
                </p:cNvPr>
                <p:cNvSpPr/>
                <p:nvPr/>
              </p:nvSpPr>
              <p:spPr bwMode="auto">
                <a:xfrm>
                  <a:off x="3362275" y="3029463"/>
                  <a:ext cx="85725" cy="817205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47A5D8E2-D8D5-BD43-944F-37BC8CA5B9F0}"/>
                    </a:ext>
                  </a:extLst>
                </p:cNvPr>
                <p:cNvSpPr/>
                <p:nvPr/>
              </p:nvSpPr>
              <p:spPr bwMode="auto">
                <a:xfrm>
                  <a:off x="3521020" y="3029463"/>
                  <a:ext cx="85725" cy="878956"/>
                </a:xfrm>
                <a:prstGeom prst="rect">
                  <a:avLst/>
                </a:prstGeom>
                <a:solidFill>
                  <a:schemeClr val="accent1"/>
                </a:solidFill>
                <a:ln w="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45F6017E-E265-1748-AC3A-87302DB4E6CF}"/>
                  </a:ext>
                </a:extLst>
              </p:cNvPr>
              <p:cNvGrpSpPr/>
              <p:nvPr/>
            </p:nvGrpSpPr>
            <p:grpSpPr>
              <a:xfrm>
                <a:off x="4584675" y="1824759"/>
                <a:ext cx="2475478" cy="2584913"/>
                <a:chOff x="2603036" y="1621891"/>
                <a:chExt cx="8016429" cy="2979523"/>
              </a:xfrm>
            </p:grpSpPr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EF821017-9EC1-0B42-8DF0-737E2A148FB6}"/>
                    </a:ext>
                  </a:extLst>
                </p:cNvPr>
                <p:cNvSpPr/>
                <p:nvPr/>
              </p:nvSpPr>
              <p:spPr bwMode="auto">
                <a:xfrm>
                  <a:off x="2609710" y="1621891"/>
                  <a:ext cx="8003081" cy="2979523"/>
                </a:xfrm>
                <a:prstGeom prst="rect">
                  <a:avLst/>
                </a:prstGeom>
                <a:noFill/>
                <a:ln w="22225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8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BB880002-6660-8445-8CBF-14E048FC7D7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9710" y="3007738"/>
                  <a:ext cx="8003081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D89BBAD6-6F0E-934F-ABBE-7B70E7A804F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03036" y="2673743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8" name="Straight Connector 157">
                  <a:extLst>
                    <a:ext uri="{FF2B5EF4-FFF2-40B4-BE49-F238E27FC236}">
                      <a16:creationId xmlns:a16="http://schemas.microsoft.com/office/drawing/2014/main" id="{712C7337-5C4C-7F4C-A834-C1238020599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16384" y="3692129"/>
                  <a:ext cx="8003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chemeClr val="bg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EC822378-EC6E-AE4C-89CC-95252E62A14D}"/>
                  </a:ext>
                </a:extLst>
              </p:cNvPr>
              <p:cNvGrpSpPr/>
              <p:nvPr/>
            </p:nvGrpSpPr>
            <p:grpSpPr>
              <a:xfrm>
                <a:off x="4518798" y="1855942"/>
                <a:ext cx="64008" cy="2343342"/>
                <a:chOff x="1637430" y="1840127"/>
                <a:chExt cx="64008" cy="2343342"/>
              </a:xfrm>
            </p:grpSpPr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F5FB2EA2-B329-0A46-8DEC-E2B7183381A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84012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36F9FBFF-596E-FF45-9040-9DB4B3509A3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195729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E04399AB-38D6-FD48-A469-A76F61BB740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07446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87E8F988-03AE-A040-AAE0-C11A88F9CE9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19162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764E8FDE-0E52-4F4D-8858-D641DFF693B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30879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E764B952-F610-E64F-8CCB-B4047226EA8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42596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6DF3EA81-1D0A-7A4C-B675-D1EC6DF7687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66029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9F3755D5-4F98-FC4E-B58C-0154DC5740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77746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0068BCF0-0CEE-5F4A-BAC3-B6D9CEE2985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89463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F988A924-1FFA-2347-9483-8C3549810E9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011797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6F51A0B3-07E1-0B41-B4F9-EA7D66B65C4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128964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0" name="Straight Connector 139">
                  <a:extLst>
                    <a:ext uri="{FF2B5EF4-FFF2-40B4-BE49-F238E27FC236}">
                      <a16:creationId xmlns:a16="http://schemas.microsoft.com/office/drawing/2014/main" id="{B4A545B3-BC3A-0540-9EE3-3ABC10E4E0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246131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FC928756-AA0E-1E4C-8EFA-4CCCC3243AB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363298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431641B2-D801-9349-9C26-9F0DB279255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480465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80780D89-DBD3-AD4B-8E98-3C95AC55168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597632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D702DFB3-4DC2-DF47-8C7D-4AB89D1297E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831966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BAC1E38B-897A-714A-A2F8-94D8CD1333E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71479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75CEF6E9-585A-EA41-9759-5E712256C68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3949133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8CE5D393-A154-FC4D-89E1-D966F5C730F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254312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2C2B2ED8-2163-9E46-A11E-FB4DE2B2F06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183469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FC364DBE-C658-184E-BB30-946A50CC4E9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637430" y="4066300"/>
                  <a:ext cx="64008" cy="0"/>
                </a:xfrm>
                <a:prstGeom prst="line">
                  <a:avLst/>
                </a:prstGeom>
                <a:noFill/>
                <a:ln w="222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58" name="Group 257">
                <a:extLst>
                  <a:ext uri="{FF2B5EF4-FFF2-40B4-BE49-F238E27FC236}">
                    <a16:creationId xmlns:a16="http://schemas.microsoft.com/office/drawing/2014/main" id="{E7289CAD-208E-8D48-881D-0A1F909EAD8A}"/>
                  </a:ext>
                </a:extLst>
              </p:cNvPr>
              <p:cNvGrpSpPr/>
              <p:nvPr/>
            </p:nvGrpSpPr>
            <p:grpSpPr>
              <a:xfrm>
                <a:off x="6865766" y="3941937"/>
                <a:ext cx="82625" cy="188228"/>
                <a:chOff x="7123991" y="3952146"/>
                <a:chExt cx="82625" cy="188228"/>
              </a:xfrm>
            </p:grpSpPr>
            <p:grpSp>
              <p:nvGrpSpPr>
                <p:cNvPr id="259" name="Group 258">
                  <a:extLst>
                    <a:ext uri="{FF2B5EF4-FFF2-40B4-BE49-F238E27FC236}">
                      <a16:creationId xmlns:a16="http://schemas.microsoft.com/office/drawing/2014/main" id="{61E40CF8-11EA-7B4D-A3EA-BB80F086B56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61" name="Straight Connector 260">
                    <a:extLst>
                      <a:ext uri="{FF2B5EF4-FFF2-40B4-BE49-F238E27FC236}">
                        <a16:creationId xmlns:a16="http://schemas.microsoft.com/office/drawing/2014/main" id="{F181A082-EFED-8D43-9BC5-7E64900F35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62" name="Straight Connector 261">
                    <a:extLst>
                      <a:ext uri="{FF2B5EF4-FFF2-40B4-BE49-F238E27FC236}">
                        <a16:creationId xmlns:a16="http://schemas.microsoft.com/office/drawing/2014/main" id="{09C518F8-65D4-2E4D-BA9B-FB1F33791A0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C8BE9629-0A14-A04C-8C9A-9E1651A19FA1}"/>
                    </a:ext>
                  </a:extLst>
                </p:cNvPr>
                <p:cNvSpPr/>
                <p:nvPr/>
              </p:nvSpPr>
              <p:spPr bwMode="auto">
                <a:xfrm>
                  <a:off x="7124320" y="4058078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63" name="Group 262">
                <a:extLst>
                  <a:ext uri="{FF2B5EF4-FFF2-40B4-BE49-F238E27FC236}">
                    <a16:creationId xmlns:a16="http://schemas.microsoft.com/office/drawing/2014/main" id="{75322359-90AF-C44D-997B-392BE4E83452}"/>
                  </a:ext>
                </a:extLst>
              </p:cNvPr>
              <p:cNvGrpSpPr/>
              <p:nvPr/>
            </p:nvGrpSpPr>
            <p:grpSpPr>
              <a:xfrm>
                <a:off x="6665741" y="3878437"/>
                <a:ext cx="82625" cy="188228"/>
                <a:chOff x="7123991" y="3952146"/>
                <a:chExt cx="82625" cy="188228"/>
              </a:xfrm>
            </p:grpSpPr>
            <p:grpSp>
              <p:nvGrpSpPr>
                <p:cNvPr id="264" name="Group 263">
                  <a:extLst>
                    <a:ext uri="{FF2B5EF4-FFF2-40B4-BE49-F238E27FC236}">
                      <a16:creationId xmlns:a16="http://schemas.microsoft.com/office/drawing/2014/main" id="{77E4A73A-60EC-3D42-B09E-C61419443F4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123991" y="3952146"/>
                  <a:ext cx="82296" cy="82296"/>
                  <a:chOff x="2987854" y="2078752"/>
                  <a:chExt cx="113388" cy="113388"/>
                </a:xfrm>
              </p:grpSpPr>
              <p:cxnSp>
                <p:nvCxnSpPr>
                  <p:cNvPr id="266" name="Straight Connector 265">
                    <a:extLst>
                      <a:ext uri="{FF2B5EF4-FFF2-40B4-BE49-F238E27FC236}">
                        <a16:creationId xmlns:a16="http://schemas.microsoft.com/office/drawing/2014/main" id="{C149FB5A-018F-8348-A80C-A163E92F078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267" name="Straight Connector 266">
                    <a:extLst>
                      <a:ext uri="{FF2B5EF4-FFF2-40B4-BE49-F238E27FC236}">
                        <a16:creationId xmlns:a16="http://schemas.microsoft.com/office/drawing/2014/main" id="{7F83DFE8-5232-DF4C-9B32-299AEC4E69A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16200000">
                    <a:off x="3044548" y="2078752"/>
                    <a:ext cx="0" cy="113388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265" name="Oval 264">
                  <a:extLst>
                    <a:ext uri="{FF2B5EF4-FFF2-40B4-BE49-F238E27FC236}">
                      <a16:creationId xmlns:a16="http://schemas.microsoft.com/office/drawing/2014/main" id="{03F45A66-9D00-0644-BF64-34F4FAD4C33A}"/>
                    </a:ext>
                  </a:extLst>
                </p:cNvPr>
                <p:cNvSpPr/>
                <p:nvPr/>
              </p:nvSpPr>
              <p:spPr bwMode="auto">
                <a:xfrm>
                  <a:off x="7124320" y="4058078"/>
                  <a:ext cx="82296" cy="8229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algn="ctr" eaLnBrk="1" hangingPunct="1">
                    <a:spcBef>
                      <a:spcPct val="35000"/>
                    </a:spcBef>
                    <a:spcAft>
                      <a:spcPct val="25000"/>
                    </a:spcAft>
                    <a:buClr>
                      <a:schemeClr val="folHlink"/>
                    </a:buClr>
                    <a:buNone/>
                  </a:pPr>
                  <a:endParaRPr lang="en-US" sz="1400" b="0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5E7E5BD2-FAF3-5B44-85F1-8794BFCBA154}"/>
                  </a:ext>
                </a:extLst>
              </p:cNvPr>
              <p:cNvSpPr/>
              <p:nvPr/>
            </p:nvSpPr>
            <p:spPr bwMode="auto">
              <a:xfrm>
                <a:off x="5080603" y="2568609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61CE93D3-4D20-8240-A70A-4F479BDB9E02}"/>
                  </a:ext>
                </a:extLst>
              </p:cNvPr>
              <p:cNvSpPr/>
              <p:nvPr/>
            </p:nvSpPr>
            <p:spPr bwMode="auto">
              <a:xfrm>
                <a:off x="5477478" y="2838484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394F6018-6C6A-6043-91E0-A40157573900}"/>
                  </a:ext>
                </a:extLst>
              </p:cNvPr>
              <p:cNvSpPr/>
              <p:nvPr/>
            </p:nvSpPr>
            <p:spPr bwMode="auto">
              <a:xfrm>
                <a:off x="5667978" y="3311559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FC1DD748-2FCB-6847-973E-03CF5DD48544}"/>
                  </a:ext>
                </a:extLst>
              </p:cNvPr>
              <p:cNvSpPr/>
              <p:nvPr/>
            </p:nvSpPr>
            <p:spPr bwMode="auto">
              <a:xfrm>
                <a:off x="6077553" y="3356009"/>
                <a:ext cx="82296" cy="82296"/>
              </a:xfrm>
              <a:prstGeom prst="ellipse">
                <a:avLst/>
              </a:prstGeom>
              <a:solidFill>
                <a:schemeClr val="tx1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algn="ctr" eaLnBrk="1" hangingPunct="1">
                  <a:spcBef>
                    <a:spcPct val="35000"/>
                  </a:spcBef>
                  <a:spcAft>
                    <a:spcPct val="25000"/>
                  </a:spcAft>
                  <a:buClr>
                    <a:schemeClr val="folHlink"/>
                  </a:buClr>
                  <a:buNone/>
                </a:pPr>
                <a:endParaRPr lang="en-US" sz="1400" b="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3259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C174A7-5BA5-FC45-BB5A-9D03053E3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758" y="238127"/>
            <a:ext cx="11376295" cy="1103313"/>
          </a:xfrm>
        </p:spPr>
        <p:txBody>
          <a:bodyPr/>
          <a:lstStyle/>
          <a:p>
            <a:r>
              <a:rPr lang="en-GB" dirty="0"/>
              <a:t>PARPi Combinations Under Study in Prostate Canc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322314-2006-0848-BD06-711266018B99}"/>
              </a:ext>
            </a:extLst>
          </p:cNvPr>
          <p:cNvSpPr txBox="1"/>
          <p:nvPr/>
        </p:nvSpPr>
        <p:spPr bwMode="auto">
          <a:xfrm>
            <a:off x="609758" y="1495314"/>
            <a:ext cx="2334409" cy="3693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R targeting ag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22E5FC-D5B1-A148-AFA9-951C4A12A933}"/>
              </a:ext>
            </a:extLst>
          </p:cNvPr>
          <p:cNvSpPr txBox="1"/>
          <p:nvPr/>
        </p:nvSpPr>
        <p:spPr bwMode="auto">
          <a:xfrm>
            <a:off x="609758" y="1864646"/>
            <a:ext cx="4672247" cy="12464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1: synergy among active drug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2: AR-DDR and AR-PARP interaction: BRCAness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allenge: define target population and optimal disease st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B98A2E-4B77-244D-8091-57149FDE30CE}"/>
              </a:ext>
            </a:extLst>
          </p:cNvPr>
          <p:cNvSpPr txBox="1"/>
          <p:nvPr/>
        </p:nvSpPr>
        <p:spPr bwMode="auto">
          <a:xfrm>
            <a:off x="5764464" y="1495314"/>
            <a:ext cx="3530143" cy="36933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mmune checkpoint inhibito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B4C74C-25B5-6A4A-A0F6-9033F118FB7E}"/>
              </a:ext>
            </a:extLst>
          </p:cNvPr>
          <p:cNvSpPr txBox="1"/>
          <p:nvPr/>
        </p:nvSpPr>
        <p:spPr bwMode="auto">
          <a:xfrm>
            <a:off x="5764464" y="1864646"/>
            <a:ext cx="6047432" cy="10156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1: HRD tumors = genomic instability = higher neoantigen load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2: cGAS-STING activ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allenge: define target popul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27B318-0ECD-0D47-945B-4FC213D9B46D}"/>
              </a:ext>
            </a:extLst>
          </p:cNvPr>
          <p:cNvSpPr txBox="1"/>
          <p:nvPr/>
        </p:nvSpPr>
        <p:spPr bwMode="auto">
          <a:xfrm>
            <a:off x="609758" y="3500057"/>
            <a:ext cx="2334409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NA damaging ag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1B4FB1-57A5-534C-837D-505EBB82377F}"/>
              </a:ext>
            </a:extLst>
          </p:cNvPr>
          <p:cNvSpPr txBox="1"/>
          <p:nvPr/>
        </p:nvSpPr>
        <p:spPr bwMode="auto">
          <a:xfrm>
            <a:off x="609758" y="3869389"/>
            <a:ext cx="4672247" cy="6694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: collapse DNA repair system by overloa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allenge: no longer “selective” to tumor cells = toxicit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DE73B-E69D-644E-B678-DB30ADA9FAEE}"/>
              </a:ext>
            </a:extLst>
          </p:cNvPr>
          <p:cNvSpPr txBox="1"/>
          <p:nvPr/>
        </p:nvSpPr>
        <p:spPr bwMode="auto">
          <a:xfrm>
            <a:off x="609759" y="5108894"/>
            <a:ext cx="1870098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VEGF inhibito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79BA63-5250-A74D-9248-8D31C8409F95}"/>
              </a:ext>
            </a:extLst>
          </p:cNvPr>
          <p:cNvSpPr txBox="1"/>
          <p:nvPr/>
        </p:nvSpPr>
        <p:spPr bwMode="auto">
          <a:xfrm>
            <a:off x="609758" y="5478226"/>
            <a:ext cx="4672247" cy="9002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: hypoxic stress leads to HR impairment (BRCAnes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allenge: is VEGF a good target in prostate cancer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5689C3-9C1D-954D-9C63-3CAFA55C356A}"/>
              </a:ext>
            </a:extLst>
          </p:cNvPr>
          <p:cNvSpPr txBox="1"/>
          <p:nvPr/>
        </p:nvSpPr>
        <p:spPr bwMode="auto">
          <a:xfrm>
            <a:off x="5737728" y="3500057"/>
            <a:ext cx="3556879" cy="369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argeting replicative str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700202-04AA-3A41-8EED-37A4C559A1CC}"/>
              </a:ext>
            </a:extLst>
          </p:cNvPr>
          <p:cNvSpPr txBox="1"/>
          <p:nvPr/>
        </p:nvSpPr>
        <p:spPr bwMode="auto">
          <a:xfrm>
            <a:off x="5737728" y="3869389"/>
            <a:ext cx="6047432" cy="1015663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1: revert imperfect HR restoration in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RCA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mutated tumo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tional 2: synergistic effect of ATR-ATM l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allenge: no longer “selective” to tumor cells = toxiciti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09BD86C-CA37-4917-896A-110170DB63EB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C4E74B5-66BB-4AC6-A581-678455E768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id="{44BDD58A-D7CB-4C5D-8BE3-38DD1131B6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3520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DFA4F-F7D4-244A-BB9B-0A173B6ED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/>
              <a:t>Parp Inhibitors In Prostate Canc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0DBCF02-92F2-8542-BA9E-F141579C59E8}"/>
              </a:ext>
            </a:extLst>
          </p:cNvPr>
          <p:cNvSpPr txBox="1">
            <a:spLocks/>
          </p:cNvSpPr>
          <p:nvPr/>
        </p:nvSpPr>
        <p:spPr bwMode="auto">
          <a:xfrm>
            <a:off x="525472" y="3216854"/>
            <a:ext cx="11141055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kern="0"/>
              <a:t>Target Specific Mutations</a:t>
            </a:r>
          </a:p>
          <a:p>
            <a:endParaRPr lang="en-US" sz="2800" kern="0"/>
          </a:p>
          <a:p>
            <a:r>
              <a:rPr lang="en-US" sz="2800" kern="0"/>
              <a:t>Have benefits for the population</a:t>
            </a:r>
          </a:p>
          <a:p>
            <a:endParaRPr lang="en-US" sz="2800" kern="0"/>
          </a:p>
          <a:p>
            <a:r>
              <a:rPr lang="en-US" sz="2800" kern="0"/>
              <a:t>Profound benefits in some</a:t>
            </a:r>
          </a:p>
          <a:p>
            <a:endParaRPr lang="en-US" sz="2800" kern="0"/>
          </a:p>
          <a:p>
            <a:r>
              <a:rPr lang="en-US" sz="2800" kern="0"/>
              <a:t>Reasonbly well tolerated</a:t>
            </a:r>
          </a:p>
          <a:p>
            <a:endParaRPr lang="en-US" sz="2800" kern="0"/>
          </a:p>
          <a:p>
            <a:r>
              <a:rPr lang="en-US" sz="2800" kern="0"/>
              <a:t>More data to follow!</a:t>
            </a:r>
          </a:p>
        </p:txBody>
      </p:sp>
    </p:spTree>
    <p:extLst>
      <p:ext uri="{BB962C8B-B14F-4D97-AF65-F5344CB8AC3E}">
        <p14:creationId xmlns:p14="http://schemas.microsoft.com/office/powerpoint/2010/main" val="2420557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A088B3-729A-46F5-ADF6-D3EA4F2D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DNA Repair Work in Normal Cells?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A84439D8-DD13-9844-8D81-CEB13785DBBB}"/>
              </a:ext>
            </a:extLst>
          </p:cNvPr>
          <p:cNvSpPr/>
          <p:nvPr/>
        </p:nvSpPr>
        <p:spPr bwMode="auto">
          <a:xfrm>
            <a:off x="7600950" y="5063490"/>
            <a:ext cx="4591050" cy="1556741"/>
          </a:xfrm>
          <a:prstGeom prst="roundRect">
            <a:avLst/>
          </a:prstGeom>
          <a:solidFill>
            <a:schemeClr val="tx1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en-US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415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169">
            <a:extLst>
              <a:ext uri="{FF2B5EF4-FFF2-40B4-BE49-F238E27FC236}">
                <a16:creationId xmlns:a16="http://schemas.microsoft.com/office/drawing/2014/main" id="{F1E9D510-9F5D-4855-9918-0B8ED3BCE050}"/>
              </a:ext>
            </a:extLst>
          </p:cNvPr>
          <p:cNvGrpSpPr/>
          <p:nvPr/>
        </p:nvGrpSpPr>
        <p:grpSpPr>
          <a:xfrm rot="162851">
            <a:off x="6928194" y="1753340"/>
            <a:ext cx="2269583" cy="456241"/>
            <a:chOff x="648624" y="1869343"/>
            <a:chExt cx="2945541" cy="592125"/>
          </a:xfrm>
        </p:grpSpPr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3E87B14A-328F-4D86-A63F-329C49D010D5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191" name="Rectangle 4098">
                <a:extLst>
                  <a:ext uri="{FF2B5EF4-FFF2-40B4-BE49-F238E27FC236}">
                    <a16:creationId xmlns:a16="http://schemas.microsoft.com/office/drawing/2014/main" id="{17DB941D-2DB7-4AD3-809F-F5BB125B67D1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95A771F5-CAD0-43F6-8E35-2DBDBA41114B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194" name="Freeform 79">
                  <a:extLst>
                    <a:ext uri="{FF2B5EF4-FFF2-40B4-BE49-F238E27FC236}">
                      <a16:creationId xmlns:a16="http://schemas.microsoft.com/office/drawing/2014/main" id="{29B4BA06-D149-45BC-83F7-870DEDAC0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83">
                  <a:extLst>
                    <a:ext uri="{FF2B5EF4-FFF2-40B4-BE49-F238E27FC236}">
                      <a16:creationId xmlns:a16="http://schemas.microsoft.com/office/drawing/2014/main" id="{A6E66DA3-927B-4E98-9A9E-F828BD1DAB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84">
                  <a:extLst>
                    <a:ext uri="{FF2B5EF4-FFF2-40B4-BE49-F238E27FC236}">
                      <a16:creationId xmlns:a16="http://schemas.microsoft.com/office/drawing/2014/main" id="{C086B920-6C12-407C-9953-27FC1FBE4B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86">
                  <a:extLst>
                    <a:ext uri="{FF2B5EF4-FFF2-40B4-BE49-F238E27FC236}">
                      <a16:creationId xmlns:a16="http://schemas.microsoft.com/office/drawing/2014/main" id="{715EE8AF-7BAC-48A8-98C9-D20CAE158B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87">
                  <a:extLst>
                    <a:ext uri="{FF2B5EF4-FFF2-40B4-BE49-F238E27FC236}">
                      <a16:creationId xmlns:a16="http://schemas.microsoft.com/office/drawing/2014/main" id="{6D6A3948-6823-4588-97F8-C0C562658F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99" name="Group 198">
                  <a:extLst>
                    <a:ext uri="{FF2B5EF4-FFF2-40B4-BE49-F238E27FC236}">
                      <a16:creationId xmlns:a16="http://schemas.microsoft.com/office/drawing/2014/main" id="{E007FFE3-640F-41A3-9038-05230405ACB7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206" name="Rectangle 4098">
                    <a:extLst>
                      <a:ext uri="{FF2B5EF4-FFF2-40B4-BE49-F238E27FC236}">
                        <a16:creationId xmlns:a16="http://schemas.microsoft.com/office/drawing/2014/main" id="{ED70860A-1FBC-47A7-A562-CFAF8A820E6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Rectangle 68">
                    <a:extLst>
                      <a:ext uri="{FF2B5EF4-FFF2-40B4-BE49-F238E27FC236}">
                        <a16:creationId xmlns:a16="http://schemas.microsoft.com/office/drawing/2014/main" id="{9EDB7760-C307-414C-BE18-18C03B65785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Rectangle 4098">
                    <a:extLst>
                      <a:ext uri="{FF2B5EF4-FFF2-40B4-BE49-F238E27FC236}">
                        <a16:creationId xmlns:a16="http://schemas.microsoft.com/office/drawing/2014/main" id="{5970E5E4-E8E2-48B9-84CC-B5AADDA1C71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9" name="Rectangle 4098">
                    <a:extLst>
                      <a:ext uri="{FF2B5EF4-FFF2-40B4-BE49-F238E27FC236}">
                        <a16:creationId xmlns:a16="http://schemas.microsoft.com/office/drawing/2014/main" id="{DA2F0A63-7316-4432-8865-B5DC8FCAEC5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00" name="Group 199">
                  <a:extLst>
                    <a:ext uri="{FF2B5EF4-FFF2-40B4-BE49-F238E27FC236}">
                      <a16:creationId xmlns:a16="http://schemas.microsoft.com/office/drawing/2014/main" id="{8C0F6718-AFF5-455D-B5BD-D8696B315E18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202" name="Rectangle 4098">
                    <a:extLst>
                      <a:ext uri="{FF2B5EF4-FFF2-40B4-BE49-F238E27FC236}">
                        <a16:creationId xmlns:a16="http://schemas.microsoft.com/office/drawing/2014/main" id="{2F719637-1F52-41E9-A829-C977DC78AD7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Rectangle 68">
                    <a:extLst>
                      <a:ext uri="{FF2B5EF4-FFF2-40B4-BE49-F238E27FC236}">
                        <a16:creationId xmlns:a16="http://schemas.microsoft.com/office/drawing/2014/main" id="{F7B7009C-34D6-4B4D-AAF0-F58FCEB163C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Rectangle 4098">
                    <a:extLst>
                      <a:ext uri="{FF2B5EF4-FFF2-40B4-BE49-F238E27FC236}">
                        <a16:creationId xmlns:a16="http://schemas.microsoft.com/office/drawing/2014/main" id="{766263AD-E4EC-4F46-BE47-46B286B9957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Rectangle 4098">
                    <a:extLst>
                      <a:ext uri="{FF2B5EF4-FFF2-40B4-BE49-F238E27FC236}">
                        <a16:creationId xmlns:a16="http://schemas.microsoft.com/office/drawing/2014/main" id="{F0CD3FC7-9341-45DC-8EB4-68DFC29ECF2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01" name="Rectangle 4098">
                  <a:extLst>
                    <a:ext uri="{FF2B5EF4-FFF2-40B4-BE49-F238E27FC236}">
                      <a16:creationId xmlns:a16="http://schemas.microsoft.com/office/drawing/2014/main" id="{8542BE67-B27C-460E-8C91-591D297DC1A3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2BC9A2D2-6418-483F-A810-D1584C9DADDE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08F64239-64D9-4D58-8435-107C556B549B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6630084B-D561-4C06-B3EC-35968E766D93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175" name="Freeform 79">
                  <a:extLst>
                    <a:ext uri="{FF2B5EF4-FFF2-40B4-BE49-F238E27FC236}">
                      <a16:creationId xmlns:a16="http://schemas.microsoft.com/office/drawing/2014/main" id="{C3CE966B-5B50-4084-99C2-1AAAF1C552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83">
                  <a:extLst>
                    <a:ext uri="{FF2B5EF4-FFF2-40B4-BE49-F238E27FC236}">
                      <a16:creationId xmlns:a16="http://schemas.microsoft.com/office/drawing/2014/main" id="{75597CAE-EA8C-40D1-AE0C-B3DF6FDD38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84">
                  <a:extLst>
                    <a:ext uri="{FF2B5EF4-FFF2-40B4-BE49-F238E27FC236}">
                      <a16:creationId xmlns:a16="http://schemas.microsoft.com/office/drawing/2014/main" id="{4039A60D-81EE-43FA-B16C-97A223D5A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86">
                  <a:extLst>
                    <a:ext uri="{FF2B5EF4-FFF2-40B4-BE49-F238E27FC236}">
                      <a16:creationId xmlns:a16="http://schemas.microsoft.com/office/drawing/2014/main" id="{CA68256A-B3C0-4083-84B3-33F2C95A27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87">
                  <a:extLst>
                    <a:ext uri="{FF2B5EF4-FFF2-40B4-BE49-F238E27FC236}">
                      <a16:creationId xmlns:a16="http://schemas.microsoft.com/office/drawing/2014/main" id="{25DA1A3E-E389-4E49-BC34-88ED995D9A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80" name="Group 179">
                  <a:extLst>
                    <a:ext uri="{FF2B5EF4-FFF2-40B4-BE49-F238E27FC236}">
                      <a16:creationId xmlns:a16="http://schemas.microsoft.com/office/drawing/2014/main" id="{1C5AC21D-E66E-4AB5-8F56-C9997C84B2C4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187" name="Rectangle 4098">
                    <a:extLst>
                      <a:ext uri="{FF2B5EF4-FFF2-40B4-BE49-F238E27FC236}">
                        <a16:creationId xmlns:a16="http://schemas.microsoft.com/office/drawing/2014/main" id="{BE6DFFE7-11F2-4D2C-8600-64DF60D4E8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8" name="Rectangle 68">
                    <a:extLst>
                      <a:ext uri="{FF2B5EF4-FFF2-40B4-BE49-F238E27FC236}">
                        <a16:creationId xmlns:a16="http://schemas.microsoft.com/office/drawing/2014/main" id="{8E628D63-2ACC-4EAF-BE68-F5BA967AEA0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9" name="Rectangle 4098">
                    <a:extLst>
                      <a:ext uri="{FF2B5EF4-FFF2-40B4-BE49-F238E27FC236}">
                        <a16:creationId xmlns:a16="http://schemas.microsoft.com/office/drawing/2014/main" id="{913796ED-19F3-46A9-8566-059373195AA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0" name="Rectangle 4098">
                    <a:extLst>
                      <a:ext uri="{FF2B5EF4-FFF2-40B4-BE49-F238E27FC236}">
                        <a16:creationId xmlns:a16="http://schemas.microsoft.com/office/drawing/2014/main" id="{B8BD3A48-3F01-4988-B155-0AFA1FD0A23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1" name="Group 180">
                  <a:extLst>
                    <a:ext uri="{FF2B5EF4-FFF2-40B4-BE49-F238E27FC236}">
                      <a16:creationId xmlns:a16="http://schemas.microsoft.com/office/drawing/2014/main" id="{7D07D26E-404D-412B-BD84-CE0DB8CF442C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183" name="Rectangle 4098">
                    <a:extLst>
                      <a:ext uri="{FF2B5EF4-FFF2-40B4-BE49-F238E27FC236}">
                        <a16:creationId xmlns:a16="http://schemas.microsoft.com/office/drawing/2014/main" id="{A90C4270-EBC9-443A-9BA1-1A08F1483E5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" name="Rectangle 68">
                    <a:extLst>
                      <a:ext uri="{FF2B5EF4-FFF2-40B4-BE49-F238E27FC236}">
                        <a16:creationId xmlns:a16="http://schemas.microsoft.com/office/drawing/2014/main" id="{04F5B80B-5346-4196-9AD1-A475E2B4905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" name="Rectangle 4098">
                    <a:extLst>
                      <a:ext uri="{FF2B5EF4-FFF2-40B4-BE49-F238E27FC236}">
                        <a16:creationId xmlns:a16="http://schemas.microsoft.com/office/drawing/2014/main" id="{8A793BB9-CF79-443F-B522-00F6A9C177A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" name="Rectangle 4098">
                    <a:extLst>
                      <a:ext uri="{FF2B5EF4-FFF2-40B4-BE49-F238E27FC236}">
                        <a16:creationId xmlns:a16="http://schemas.microsoft.com/office/drawing/2014/main" id="{9C6DFB63-6556-42C1-AFF1-C08B82DCDA6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82" name="Rectangle 4098">
                  <a:extLst>
                    <a:ext uri="{FF2B5EF4-FFF2-40B4-BE49-F238E27FC236}">
                      <a16:creationId xmlns:a16="http://schemas.microsoft.com/office/drawing/2014/main" id="{E284B524-2E50-45D0-ADCA-9AEC4BD1FE1B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A9A1A570-CD63-4563-BCE3-98873BE99D8A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6F167408-BB5F-4BE9-BF70-06C3C41F75F8}"/>
              </a:ext>
            </a:extLst>
          </p:cNvPr>
          <p:cNvGrpSpPr/>
          <p:nvPr/>
        </p:nvGrpSpPr>
        <p:grpSpPr>
          <a:xfrm rot="162851">
            <a:off x="6923631" y="2358165"/>
            <a:ext cx="2269583" cy="456241"/>
            <a:chOff x="648624" y="1869343"/>
            <a:chExt cx="2945541" cy="592125"/>
          </a:xfrm>
        </p:grpSpPr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CC1A9088-1FE1-4CB0-99CF-A62BBD91E1A2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231" name="Rectangle 4098">
                <a:extLst>
                  <a:ext uri="{FF2B5EF4-FFF2-40B4-BE49-F238E27FC236}">
                    <a16:creationId xmlns:a16="http://schemas.microsoft.com/office/drawing/2014/main" id="{21586B71-4145-4C27-96E1-373BA7FECAAF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32" name="Group 231">
                <a:extLst>
                  <a:ext uri="{FF2B5EF4-FFF2-40B4-BE49-F238E27FC236}">
                    <a16:creationId xmlns:a16="http://schemas.microsoft.com/office/drawing/2014/main" id="{6DAF867C-4D7D-474E-AD6D-073BF0769C05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234" name="Freeform 79">
                  <a:extLst>
                    <a:ext uri="{FF2B5EF4-FFF2-40B4-BE49-F238E27FC236}">
                      <a16:creationId xmlns:a16="http://schemas.microsoft.com/office/drawing/2014/main" id="{26B2E80A-6E8B-4D4C-89E8-7D95A9CF6D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 83">
                  <a:extLst>
                    <a:ext uri="{FF2B5EF4-FFF2-40B4-BE49-F238E27FC236}">
                      <a16:creationId xmlns:a16="http://schemas.microsoft.com/office/drawing/2014/main" id="{E8472BA8-0A0E-4809-B632-14BDA380D0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reeform 84">
                  <a:extLst>
                    <a:ext uri="{FF2B5EF4-FFF2-40B4-BE49-F238E27FC236}">
                      <a16:creationId xmlns:a16="http://schemas.microsoft.com/office/drawing/2014/main" id="{502E6C9C-0451-427A-B570-11DF34DEF5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 86">
                  <a:extLst>
                    <a:ext uri="{FF2B5EF4-FFF2-40B4-BE49-F238E27FC236}">
                      <a16:creationId xmlns:a16="http://schemas.microsoft.com/office/drawing/2014/main" id="{A040595E-DB4A-4350-BAB4-FB9641DACA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 87">
                  <a:extLst>
                    <a:ext uri="{FF2B5EF4-FFF2-40B4-BE49-F238E27FC236}">
                      <a16:creationId xmlns:a16="http://schemas.microsoft.com/office/drawing/2014/main" id="{39B3BC8D-8F3C-4AAE-96C9-56DDB49914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9" name="Group 238">
                  <a:extLst>
                    <a:ext uri="{FF2B5EF4-FFF2-40B4-BE49-F238E27FC236}">
                      <a16:creationId xmlns:a16="http://schemas.microsoft.com/office/drawing/2014/main" id="{2131594D-DBFE-410C-9933-40C5B34DC16E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246" name="Rectangle 4098">
                    <a:extLst>
                      <a:ext uri="{FF2B5EF4-FFF2-40B4-BE49-F238E27FC236}">
                        <a16:creationId xmlns:a16="http://schemas.microsoft.com/office/drawing/2014/main" id="{C63B3725-BBB5-475B-B9E7-B16AE849429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Rectangle 68">
                    <a:extLst>
                      <a:ext uri="{FF2B5EF4-FFF2-40B4-BE49-F238E27FC236}">
                        <a16:creationId xmlns:a16="http://schemas.microsoft.com/office/drawing/2014/main" id="{6604EB03-509C-471B-B82F-0410275F484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Rectangle 4098">
                    <a:extLst>
                      <a:ext uri="{FF2B5EF4-FFF2-40B4-BE49-F238E27FC236}">
                        <a16:creationId xmlns:a16="http://schemas.microsoft.com/office/drawing/2014/main" id="{388327EF-14B2-4980-8C25-9413192ECD2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Rectangle 4098">
                    <a:extLst>
                      <a:ext uri="{FF2B5EF4-FFF2-40B4-BE49-F238E27FC236}">
                        <a16:creationId xmlns:a16="http://schemas.microsoft.com/office/drawing/2014/main" id="{661E0867-64A6-40DB-B58A-6D528227891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40" name="Group 239">
                  <a:extLst>
                    <a:ext uri="{FF2B5EF4-FFF2-40B4-BE49-F238E27FC236}">
                      <a16:creationId xmlns:a16="http://schemas.microsoft.com/office/drawing/2014/main" id="{04BF285B-0327-4C03-9C47-B4FB48CD011F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242" name="Rectangle 4098">
                    <a:extLst>
                      <a:ext uri="{FF2B5EF4-FFF2-40B4-BE49-F238E27FC236}">
                        <a16:creationId xmlns:a16="http://schemas.microsoft.com/office/drawing/2014/main" id="{7F06B7ED-A57D-4BF0-A03F-1C16B01ECEB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Rectangle 68">
                    <a:extLst>
                      <a:ext uri="{FF2B5EF4-FFF2-40B4-BE49-F238E27FC236}">
                        <a16:creationId xmlns:a16="http://schemas.microsoft.com/office/drawing/2014/main" id="{0A404EA1-494B-4E67-BE3A-5D895EA322E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Rectangle 4098">
                    <a:extLst>
                      <a:ext uri="{FF2B5EF4-FFF2-40B4-BE49-F238E27FC236}">
                        <a16:creationId xmlns:a16="http://schemas.microsoft.com/office/drawing/2014/main" id="{637B9C89-BF0F-4122-B4AD-6C3A288CE97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Rectangle 4098">
                    <a:extLst>
                      <a:ext uri="{FF2B5EF4-FFF2-40B4-BE49-F238E27FC236}">
                        <a16:creationId xmlns:a16="http://schemas.microsoft.com/office/drawing/2014/main" id="{068D8925-1CC5-4B01-8A66-6A6C8232568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41" name="Rectangle 4098">
                  <a:extLst>
                    <a:ext uri="{FF2B5EF4-FFF2-40B4-BE49-F238E27FC236}">
                      <a16:creationId xmlns:a16="http://schemas.microsoft.com/office/drawing/2014/main" id="{67659FAF-43C6-4DC1-977F-730C525878C3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7DE25DE7-B132-4FC7-B765-7D1EDC29777B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6E2914D2-9D47-4DD2-9CDF-BB116AC90DE6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213" name="Group 212">
                <a:extLst>
                  <a:ext uri="{FF2B5EF4-FFF2-40B4-BE49-F238E27FC236}">
                    <a16:creationId xmlns:a16="http://schemas.microsoft.com/office/drawing/2014/main" id="{1B79F1B1-6104-4920-807D-854E9815ADAE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215" name="Freeform 79">
                  <a:extLst>
                    <a:ext uri="{FF2B5EF4-FFF2-40B4-BE49-F238E27FC236}">
                      <a16:creationId xmlns:a16="http://schemas.microsoft.com/office/drawing/2014/main" id="{0034E0E5-A360-4EC7-B325-80000E9BBF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83">
                  <a:extLst>
                    <a:ext uri="{FF2B5EF4-FFF2-40B4-BE49-F238E27FC236}">
                      <a16:creationId xmlns:a16="http://schemas.microsoft.com/office/drawing/2014/main" id="{B45D2F42-B03B-4CA0-8B50-7BD9577A2E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84">
                  <a:extLst>
                    <a:ext uri="{FF2B5EF4-FFF2-40B4-BE49-F238E27FC236}">
                      <a16:creationId xmlns:a16="http://schemas.microsoft.com/office/drawing/2014/main" id="{2E0F0000-030D-4541-BF66-1D03A70414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86">
                  <a:extLst>
                    <a:ext uri="{FF2B5EF4-FFF2-40B4-BE49-F238E27FC236}">
                      <a16:creationId xmlns:a16="http://schemas.microsoft.com/office/drawing/2014/main" id="{176B267F-415E-47FB-844E-D85EB4EB53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87">
                  <a:extLst>
                    <a:ext uri="{FF2B5EF4-FFF2-40B4-BE49-F238E27FC236}">
                      <a16:creationId xmlns:a16="http://schemas.microsoft.com/office/drawing/2014/main" id="{2325B41A-E578-48DA-981C-227C41411F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0" name="Group 219">
                  <a:extLst>
                    <a:ext uri="{FF2B5EF4-FFF2-40B4-BE49-F238E27FC236}">
                      <a16:creationId xmlns:a16="http://schemas.microsoft.com/office/drawing/2014/main" id="{C2AF8461-8C82-4997-9BBF-C44F2C7B4ECD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227" name="Rectangle 4098">
                    <a:extLst>
                      <a:ext uri="{FF2B5EF4-FFF2-40B4-BE49-F238E27FC236}">
                        <a16:creationId xmlns:a16="http://schemas.microsoft.com/office/drawing/2014/main" id="{F28355EA-4667-4441-9848-2F7E5B25D98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8" name="Rectangle 68">
                    <a:extLst>
                      <a:ext uri="{FF2B5EF4-FFF2-40B4-BE49-F238E27FC236}">
                        <a16:creationId xmlns:a16="http://schemas.microsoft.com/office/drawing/2014/main" id="{6326BFEF-64FD-46B6-81BE-A3EF1D3847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9" name="Rectangle 4098">
                    <a:extLst>
                      <a:ext uri="{FF2B5EF4-FFF2-40B4-BE49-F238E27FC236}">
                        <a16:creationId xmlns:a16="http://schemas.microsoft.com/office/drawing/2014/main" id="{BD172942-10C6-4C26-A04E-9D32F32C4A8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0" name="Rectangle 4098">
                    <a:extLst>
                      <a:ext uri="{FF2B5EF4-FFF2-40B4-BE49-F238E27FC236}">
                        <a16:creationId xmlns:a16="http://schemas.microsoft.com/office/drawing/2014/main" id="{247AC9BF-7B23-4BB4-AD8A-5CEA09E6123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21" name="Group 220">
                  <a:extLst>
                    <a:ext uri="{FF2B5EF4-FFF2-40B4-BE49-F238E27FC236}">
                      <a16:creationId xmlns:a16="http://schemas.microsoft.com/office/drawing/2014/main" id="{B85CD6D4-9499-436B-BA45-F2B1617FDEBC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223" name="Rectangle 4098">
                    <a:extLst>
                      <a:ext uri="{FF2B5EF4-FFF2-40B4-BE49-F238E27FC236}">
                        <a16:creationId xmlns:a16="http://schemas.microsoft.com/office/drawing/2014/main" id="{A4227452-342A-430A-ABB4-B780B7E8240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4" name="Rectangle 68">
                    <a:extLst>
                      <a:ext uri="{FF2B5EF4-FFF2-40B4-BE49-F238E27FC236}">
                        <a16:creationId xmlns:a16="http://schemas.microsoft.com/office/drawing/2014/main" id="{082DB370-FE5A-4643-8162-3F0A2210A2C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5" name="Rectangle 4098">
                    <a:extLst>
                      <a:ext uri="{FF2B5EF4-FFF2-40B4-BE49-F238E27FC236}">
                        <a16:creationId xmlns:a16="http://schemas.microsoft.com/office/drawing/2014/main" id="{F2017B67-5F89-4DC5-A797-897D3EC6E86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6" name="Rectangle 4098">
                    <a:extLst>
                      <a:ext uri="{FF2B5EF4-FFF2-40B4-BE49-F238E27FC236}">
                        <a16:creationId xmlns:a16="http://schemas.microsoft.com/office/drawing/2014/main" id="{8BA915C2-0AD0-47B5-8951-626C47883BA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22" name="Rectangle 4098">
                  <a:extLst>
                    <a:ext uri="{FF2B5EF4-FFF2-40B4-BE49-F238E27FC236}">
                      <a16:creationId xmlns:a16="http://schemas.microsoft.com/office/drawing/2014/main" id="{4FD7BE15-724B-4B40-A148-132AC072CB68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C10DE712-BE5A-4317-B229-A4027B6AC047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6383F150-EE41-4CAB-A383-9A8C66F8895C}"/>
              </a:ext>
            </a:extLst>
          </p:cNvPr>
          <p:cNvGrpSpPr/>
          <p:nvPr/>
        </p:nvGrpSpPr>
        <p:grpSpPr>
          <a:xfrm rot="162851">
            <a:off x="6951327" y="3187930"/>
            <a:ext cx="2269583" cy="456241"/>
            <a:chOff x="648624" y="1869343"/>
            <a:chExt cx="2945541" cy="592125"/>
          </a:xfrm>
        </p:grpSpPr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B2352248-E01A-40E2-954F-D90CBF0FFCD7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351" name="Rectangle 4098">
                <a:extLst>
                  <a:ext uri="{FF2B5EF4-FFF2-40B4-BE49-F238E27FC236}">
                    <a16:creationId xmlns:a16="http://schemas.microsoft.com/office/drawing/2014/main" id="{4278F634-2C4F-401A-B46A-988DE21B4EF9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352" name="Group 351">
                <a:extLst>
                  <a:ext uri="{FF2B5EF4-FFF2-40B4-BE49-F238E27FC236}">
                    <a16:creationId xmlns:a16="http://schemas.microsoft.com/office/drawing/2014/main" id="{0157F63A-B49E-4A07-BC90-72E496D21696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354" name="Freeform 79">
                  <a:extLst>
                    <a:ext uri="{FF2B5EF4-FFF2-40B4-BE49-F238E27FC236}">
                      <a16:creationId xmlns:a16="http://schemas.microsoft.com/office/drawing/2014/main" id="{E924231D-B882-41B7-B786-D4E4AF4E4D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83">
                  <a:extLst>
                    <a:ext uri="{FF2B5EF4-FFF2-40B4-BE49-F238E27FC236}">
                      <a16:creationId xmlns:a16="http://schemas.microsoft.com/office/drawing/2014/main" id="{82902F5C-681D-4B29-9784-C0EBA96074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84">
                  <a:extLst>
                    <a:ext uri="{FF2B5EF4-FFF2-40B4-BE49-F238E27FC236}">
                      <a16:creationId xmlns:a16="http://schemas.microsoft.com/office/drawing/2014/main" id="{9154B4AB-1383-45EF-8966-F7CBE21116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86">
                  <a:extLst>
                    <a:ext uri="{FF2B5EF4-FFF2-40B4-BE49-F238E27FC236}">
                      <a16:creationId xmlns:a16="http://schemas.microsoft.com/office/drawing/2014/main" id="{09F271C2-9A9A-43C8-AC1D-EAB8278951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Freeform 87">
                  <a:extLst>
                    <a:ext uri="{FF2B5EF4-FFF2-40B4-BE49-F238E27FC236}">
                      <a16:creationId xmlns:a16="http://schemas.microsoft.com/office/drawing/2014/main" id="{FDCCA480-225C-41A4-AE1B-3AD7E4C274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9" name="Group 358">
                  <a:extLst>
                    <a:ext uri="{FF2B5EF4-FFF2-40B4-BE49-F238E27FC236}">
                      <a16:creationId xmlns:a16="http://schemas.microsoft.com/office/drawing/2014/main" id="{05ABE5A8-5E53-489C-B9F6-E3E1DA733CF2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366" name="Rectangle 4098">
                    <a:extLst>
                      <a:ext uri="{FF2B5EF4-FFF2-40B4-BE49-F238E27FC236}">
                        <a16:creationId xmlns:a16="http://schemas.microsoft.com/office/drawing/2014/main" id="{3DEAD013-E30C-4363-9BF2-5674EB4DE8C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7" name="Rectangle 68">
                    <a:extLst>
                      <a:ext uri="{FF2B5EF4-FFF2-40B4-BE49-F238E27FC236}">
                        <a16:creationId xmlns:a16="http://schemas.microsoft.com/office/drawing/2014/main" id="{8957686B-7B2D-44B7-A931-722D9421C44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8" name="Rectangle 4098">
                    <a:extLst>
                      <a:ext uri="{FF2B5EF4-FFF2-40B4-BE49-F238E27FC236}">
                        <a16:creationId xmlns:a16="http://schemas.microsoft.com/office/drawing/2014/main" id="{47BE0CD7-9C07-45CB-B02C-7A229AA6AAA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9" name="Rectangle 4098">
                    <a:extLst>
                      <a:ext uri="{FF2B5EF4-FFF2-40B4-BE49-F238E27FC236}">
                        <a16:creationId xmlns:a16="http://schemas.microsoft.com/office/drawing/2014/main" id="{2109E339-C4DF-45ED-A629-4DB7290FC71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60" name="Group 359">
                  <a:extLst>
                    <a:ext uri="{FF2B5EF4-FFF2-40B4-BE49-F238E27FC236}">
                      <a16:creationId xmlns:a16="http://schemas.microsoft.com/office/drawing/2014/main" id="{0E7CE374-8BE2-4AFC-B29E-8343DBA6D3BD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362" name="Rectangle 4098">
                    <a:extLst>
                      <a:ext uri="{FF2B5EF4-FFF2-40B4-BE49-F238E27FC236}">
                        <a16:creationId xmlns:a16="http://schemas.microsoft.com/office/drawing/2014/main" id="{5FD15287-CB3D-4B02-B7F7-44AE6F04D72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3" name="Rectangle 68">
                    <a:extLst>
                      <a:ext uri="{FF2B5EF4-FFF2-40B4-BE49-F238E27FC236}">
                        <a16:creationId xmlns:a16="http://schemas.microsoft.com/office/drawing/2014/main" id="{B99932E2-3B56-45FA-B816-C1BAB9D6522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4" name="Rectangle 4098">
                    <a:extLst>
                      <a:ext uri="{FF2B5EF4-FFF2-40B4-BE49-F238E27FC236}">
                        <a16:creationId xmlns:a16="http://schemas.microsoft.com/office/drawing/2014/main" id="{D11CA851-F773-45FA-8905-929ABD11A62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5" name="Rectangle 4098">
                    <a:extLst>
                      <a:ext uri="{FF2B5EF4-FFF2-40B4-BE49-F238E27FC236}">
                        <a16:creationId xmlns:a16="http://schemas.microsoft.com/office/drawing/2014/main" id="{B6211154-8EEE-4FC6-A780-46F12BFFC86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61" name="Rectangle 4098">
                  <a:extLst>
                    <a:ext uri="{FF2B5EF4-FFF2-40B4-BE49-F238E27FC236}">
                      <a16:creationId xmlns:a16="http://schemas.microsoft.com/office/drawing/2014/main" id="{F82D346F-9A6F-4D6F-A00B-DF93C88AFAE9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01630435-6EC1-4E7B-9DA6-BC351AF92E6C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A25DA178-0795-4452-A3C4-AEA67E567276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333" name="Group 332">
                <a:extLst>
                  <a:ext uri="{FF2B5EF4-FFF2-40B4-BE49-F238E27FC236}">
                    <a16:creationId xmlns:a16="http://schemas.microsoft.com/office/drawing/2014/main" id="{73D4CBF6-6A20-48E8-9071-73476C061F8D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335" name="Freeform 79">
                  <a:extLst>
                    <a:ext uri="{FF2B5EF4-FFF2-40B4-BE49-F238E27FC236}">
                      <a16:creationId xmlns:a16="http://schemas.microsoft.com/office/drawing/2014/main" id="{6B5504D3-29FB-440C-BF02-9A0472C399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Freeform 83">
                  <a:extLst>
                    <a:ext uri="{FF2B5EF4-FFF2-40B4-BE49-F238E27FC236}">
                      <a16:creationId xmlns:a16="http://schemas.microsoft.com/office/drawing/2014/main" id="{A69D6DC5-F618-4617-97E0-B7F22D9462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Freeform 84">
                  <a:extLst>
                    <a:ext uri="{FF2B5EF4-FFF2-40B4-BE49-F238E27FC236}">
                      <a16:creationId xmlns:a16="http://schemas.microsoft.com/office/drawing/2014/main" id="{DA864D2E-6DC7-468C-BF33-22F5C90E8E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Freeform 86">
                  <a:extLst>
                    <a:ext uri="{FF2B5EF4-FFF2-40B4-BE49-F238E27FC236}">
                      <a16:creationId xmlns:a16="http://schemas.microsoft.com/office/drawing/2014/main" id="{CC2A504A-149A-49EC-8780-9048141BC4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Freeform 87">
                  <a:extLst>
                    <a:ext uri="{FF2B5EF4-FFF2-40B4-BE49-F238E27FC236}">
                      <a16:creationId xmlns:a16="http://schemas.microsoft.com/office/drawing/2014/main" id="{FC0E5F65-AC79-4EFF-AD39-3E650279F0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340" name="Group 339">
                  <a:extLst>
                    <a:ext uri="{FF2B5EF4-FFF2-40B4-BE49-F238E27FC236}">
                      <a16:creationId xmlns:a16="http://schemas.microsoft.com/office/drawing/2014/main" id="{90CEAE1F-782C-417E-9C5E-138B3F1B5487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347" name="Rectangle 4098">
                    <a:extLst>
                      <a:ext uri="{FF2B5EF4-FFF2-40B4-BE49-F238E27FC236}">
                        <a16:creationId xmlns:a16="http://schemas.microsoft.com/office/drawing/2014/main" id="{A523F628-6F10-454E-869E-A7479D65175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8" name="Rectangle 68">
                    <a:extLst>
                      <a:ext uri="{FF2B5EF4-FFF2-40B4-BE49-F238E27FC236}">
                        <a16:creationId xmlns:a16="http://schemas.microsoft.com/office/drawing/2014/main" id="{21BDBF8C-29E7-4387-B2F0-39F165E2A99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9" name="Rectangle 4098">
                    <a:extLst>
                      <a:ext uri="{FF2B5EF4-FFF2-40B4-BE49-F238E27FC236}">
                        <a16:creationId xmlns:a16="http://schemas.microsoft.com/office/drawing/2014/main" id="{0F486329-E4C3-4CAF-B58D-5C23C362ECF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0" name="Rectangle 4098">
                    <a:extLst>
                      <a:ext uri="{FF2B5EF4-FFF2-40B4-BE49-F238E27FC236}">
                        <a16:creationId xmlns:a16="http://schemas.microsoft.com/office/drawing/2014/main" id="{35E9BD3C-DC27-41CC-A810-3C2F808F4F8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41" name="Group 340">
                  <a:extLst>
                    <a:ext uri="{FF2B5EF4-FFF2-40B4-BE49-F238E27FC236}">
                      <a16:creationId xmlns:a16="http://schemas.microsoft.com/office/drawing/2014/main" id="{DDF91170-CC61-476F-B359-DF89A8814F7E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343" name="Rectangle 4098">
                    <a:extLst>
                      <a:ext uri="{FF2B5EF4-FFF2-40B4-BE49-F238E27FC236}">
                        <a16:creationId xmlns:a16="http://schemas.microsoft.com/office/drawing/2014/main" id="{859F62C7-E14F-44DE-8009-76857E087A8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4" name="Rectangle 68">
                    <a:extLst>
                      <a:ext uri="{FF2B5EF4-FFF2-40B4-BE49-F238E27FC236}">
                        <a16:creationId xmlns:a16="http://schemas.microsoft.com/office/drawing/2014/main" id="{C442705F-A4E3-4189-A782-A1728C4181A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5" name="Rectangle 4098">
                    <a:extLst>
                      <a:ext uri="{FF2B5EF4-FFF2-40B4-BE49-F238E27FC236}">
                        <a16:creationId xmlns:a16="http://schemas.microsoft.com/office/drawing/2014/main" id="{A147062C-2851-4DCA-B3F5-EFFB6A820DE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6" name="Rectangle 4098">
                    <a:extLst>
                      <a:ext uri="{FF2B5EF4-FFF2-40B4-BE49-F238E27FC236}">
                        <a16:creationId xmlns:a16="http://schemas.microsoft.com/office/drawing/2014/main" id="{D35FE188-FA55-43AF-A816-794CFB65D91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42" name="Rectangle 4098">
                  <a:extLst>
                    <a:ext uri="{FF2B5EF4-FFF2-40B4-BE49-F238E27FC236}">
                      <a16:creationId xmlns:a16="http://schemas.microsoft.com/office/drawing/2014/main" id="{C7F93BCC-953C-4BFE-9B4C-24358482E33A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A4095CD0-A3F9-4E9C-8321-E1AA88753782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70" name="Group 369">
            <a:extLst>
              <a:ext uri="{FF2B5EF4-FFF2-40B4-BE49-F238E27FC236}">
                <a16:creationId xmlns:a16="http://schemas.microsoft.com/office/drawing/2014/main" id="{125BD532-5ACD-4B34-9A78-478F803E4F9C}"/>
              </a:ext>
            </a:extLst>
          </p:cNvPr>
          <p:cNvGrpSpPr/>
          <p:nvPr/>
        </p:nvGrpSpPr>
        <p:grpSpPr>
          <a:xfrm rot="162851">
            <a:off x="6946764" y="4022435"/>
            <a:ext cx="2269583" cy="456241"/>
            <a:chOff x="648624" y="1869343"/>
            <a:chExt cx="2945541" cy="592125"/>
          </a:xfrm>
        </p:grpSpPr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585B20CC-1A17-4F2E-A7B0-16E4D1AC8D4B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391" name="Rectangle 4098">
                <a:extLst>
                  <a:ext uri="{FF2B5EF4-FFF2-40B4-BE49-F238E27FC236}">
                    <a16:creationId xmlns:a16="http://schemas.microsoft.com/office/drawing/2014/main" id="{F2CE7B2C-5DC0-4C6B-83DC-3EE03C6DC309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392" name="Group 391">
                <a:extLst>
                  <a:ext uri="{FF2B5EF4-FFF2-40B4-BE49-F238E27FC236}">
                    <a16:creationId xmlns:a16="http://schemas.microsoft.com/office/drawing/2014/main" id="{2337FC58-6B78-499F-B16F-630EEB78138D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394" name="Freeform 79">
                  <a:extLst>
                    <a:ext uri="{FF2B5EF4-FFF2-40B4-BE49-F238E27FC236}">
                      <a16:creationId xmlns:a16="http://schemas.microsoft.com/office/drawing/2014/main" id="{8940EECB-75FC-4ACC-AA34-BE6BAF5C38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Freeform 83">
                  <a:extLst>
                    <a:ext uri="{FF2B5EF4-FFF2-40B4-BE49-F238E27FC236}">
                      <a16:creationId xmlns:a16="http://schemas.microsoft.com/office/drawing/2014/main" id="{89D3EBD9-870F-408B-89C1-0B00D49B1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Freeform 84">
                  <a:extLst>
                    <a:ext uri="{FF2B5EF4-FFF2-40B4-BE49-F238E27FC236}">
                      <a16:creationId xmlns:a16="http://schemas.microsoft.com/office/drawing/2014/main" id="{8D7D2341-961B-40ED-B6B1-2C1C3D36C5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Freeform 86">
                  <a:extLst>
                    <a:ext uri="{FF2B5EF4-FFF2-40B4-BE49-F238E27FC236}">
                      <a16:creationId xmlns:a16="http://schemas.microsoft.com/office/drawing/2014/main" id="{32A5FB4F-B2F9-4380-9665-14AA3897AA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87">
                  <a:extLst>
                    <a:ext uri="{FF2B5EF4-FFF2-40B4-BE49-F238E27FC236}">
                      <a16:creationId xmlns:a16="http://schemas.microsoft.com/office/drawing/2014/main" id="{A8199E2E-4E32-4D2C-8D6E-C43366F53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399" name="Group 398">
                  <a:extLst>
                    <a:ext uri="{FF2B5EF4-FFF2-40B4-BE49-F238E27FC236}">
                      <a16:creationId xmlns:a16="http://schemas.microsoft.com/office/drawing/2014/main" id="{F35C5788-949F-4290-9DB8-21FADA6C8A14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406" name="Rectangle 4098">
                    <a:extLst>
                      <a:ext uri="{FF2B5EF4-FFF2-40B4-BE49-F238E27FC236}">
                        <a16:creationId xmlns:a16="http://schemas.microsoft.com/office/drawing/2014/main" id="{7904B0AC-2BFD-4796-AB88-137CC97AB8D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7" name="Rectangle 68">
                    <a:extLst>
                      <a:ext uri="{FF2B5EF4-FFF2-40B4-BE49-F238E27FC236}">
                        <a16:creationId xmlns:a16="http://schemas.microsoft.com/office/drawing/2014/main" id="{90C8190E-C3D6-4CC9-96AA-69E34B8A79B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8" name="Rectangle 4098">
                    <a:extLst>
                      <a:ext uri="{FF2B5EF4-FFF2-40B4-BE49-F238E27FC236}">
                        <a16:creationId xmlns:a16="http://schemas.microsoft.com/office/drawing/2014/main" id="{021DDDD7-5DEC-40DB-8425-97152E8244A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9" name="Rectangle 4098">
                    <a:extLst>
                      <a:ext uri="{FF2B5EF4-FFF2-40B4-BE49-F238E27FC236}">
                        <a16:creationId xmlns:a16="http://schemas.microsoft.com/office/drawing/2014/main" id="{C2D4E54E-9FFF-4D4D-8463-D105CF8FA13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00" name="Group 399">
                  <a:extLst>
                    <a:ext uri="{FF2B5EF4-FFF2-40B4-BE49-F238E27FC236}">
                      <a16:creationId xmlns:a16="http://schemas.microsoft.com/office/drawing/2014/main" id="{0FCB2584-DF0D-4865-B640-B306CDD89F37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402" name="Rectangle 4098">
                    <a:extLst>
                      <a:ext uri="{FF2B5EF4-FFF2-40B4-BE49-F238E27FC236}">
                        <a16:creationId xmlns:a16="http://schemas.microsoft.com/office/drawing/2014/main" id="{39D5EE94-EBFC-492E-B638-247D57CB893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3" name="Rectangle 68">
                    <a:extLst>
                      <a:ext uri="{FF2B5EF4-FFF2-40B4-BE49-F238E27FC236}">
                        <a16:creationId xmlns:a16="http://schemas.microsoft.com/office/drawing/2014/main" id="{4FBB429E-9A58-43CE-A479-DC4208AC156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4" name="Rectangle 4098">
                    <a:extLst>
                      <a:ext uri="{FF2B5EF4-FFF2-40B4-BE49-F238E27FC236}">
                        <a16:creationId xmlns:a16="http://schemas.microsoft.com/office/drawing/2014/main" id="{22513498-7899-44E7-9AF2-AB9C2331FC5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5" name="Rectangle 4098">
                    <a:extLst>
                      <a:ext uri="{FF2B5EF4-FFF2-40B4-BE49-F238E27FC236}">
                        <a16:creationId xmlns:a16="http://schemas.microsoft.com/office/drawing/2014/main" id="{BBD27BB3-2C98-4BB2-9DD3-11B6D6D4417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01" name="Rectangle 4098">
                  <a:extLst>
                    <a:ext uri="{FF2B5EF4-FFF2-40B4-BE49-F238E27FC236}">
                      <a16:creationId xmlns:a16="http://schemas.microsoft.com/office/drawing/2014/main" id="{DF45FE6F-B180-4728-A31E-9C28876B7CAB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3EB163F6-C283-4CB5-B9AA-43308F1CD3BD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58BDD47A-01A4-4426-BD60-2FA643184449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373" name="Group 372">
                <a:extLst>
                  <a:ext uri="{FF2B5EF4-FFF2-40B4-BE49-F238E27FC236}">
                    <a16:creationId xmlns:a16="http://schemas.microsoft.com/office/drawing/2014/main" id="{66947C35-CD41-479A-86A0-34BA56151634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375" name="Freeform 79">
                  <a:extLst>
                    <a:ext uri="{FF2B5EF4-FFF2-40B4-BE49-F238E27FC236}">
                      <a16:creationId xmlns:a16="http://schemas.microsoft.com/office/drawing/2014/main" id="{E8743C85-622F-429A-8E5D-63A56429E9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Freeform 83">
                  <a:extLst>
                    <a:ext uri="{FF2B5EF4-FFF2-40B4-BE49-F238E27FC236}">
                      <a16:creationId xmlns:a16="http://schemas.microsoft.com/office/drawing/2014/main" id="{F569CB4C-4852-46F1-8D59-D2F9E6463E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Freeform 84">
                  <a:extLst>
                    <a:ext uri="{FF2B5EF4-FFF2-40B4-BE49-F238E27FC236}">
                      <a16:creationId xmlns:a16="http://schemas.microsoft.com/office/drawing/2014/main" id="{BCF92DBE-D4A0-47AB-890A-858492F6C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Freeform 86">
                  <a:extLst>
                    <a:ext uri="{FF2B5EF4-FFF2-40B4-BE49-F238E27FC236}">
                      <a16:creationId xmlns:a16="http://schemas.microsoft.com/office/drawing/2014/main" id="{355FC366-613E-4DE4-88C9-6278B59F21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Freeform 87">
                  <a:extLst>
                    <a:ext uri="{FF2B5EF4-FFF2-40B4-BE49-F238E27FC236}">
                      <a16:creationId xmlns:a16="http://schemas.microsoft.com/office/drawing/2014/main" id="{51C58E7F-F75E-44EF-A1AE-352CE9CCB9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380" name="Group 379">
                  <a:extLst>
                    <a:ext uri="{FF2B5EF4-FFF2-40B4-BE49-F238E27FC236}">
                      <a16:creationId xmlns:a16="http://schemas.microsoft.com/office/drawing/2014/main" id="{F4901AFC-71C2-41A4-8A7D-F0B88615BAD8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387" name="Rectangle 4098">
                    <a:extLst>
                      <a:ext uri="{FF2B5EF4-FFF2-40B4-BE49-F238E27FC236}">
                        <a16:creationId xmlns:a16="http://schemas.microsoft.com/office/drawing/2014/main" id="{0CCF963E-E04C-44C9-A0BC-FED9B6721E7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Rectangle 68">
                    <a:extLst>
                      <a:ext uri="{FF2B5EF4-FFF2-40B4-BE49-F238E27FC236}">
                        <a16:creationId xmlns:a16="http://schemas.microsoft.com/office/drawing/2014/main" id="{8126E755-6545-45B1-8A8A-58D0DB315A7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Rectangle 4098">
                    <a:extLst>
                      <a:ext uri="{FF2B5EF4-FFF2-40B4-BE49-F238E27FC236}">
                        <a16:creationId xmlns:a16="http://schemas.microsoft.com/office/drawing/2014/main" id="{2F9E4173-AB74-4121-8072-06978DE255C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Rectangle 4098">
                    <a:extLst>
                      <a:ext uri="{FF2B5EF4-FFF2-40B4-BE49-F238E27FC236}">
                        <a16:creationId xmlns:a16="http://schemas.microsoft.com/office/drawing/2014/main" id="{547EEA88-AFFA-4BAC-8CD1-8CF4DEACC93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81" name="Group 380">
                  <a:extLst>
                    <a:ext uri="{FF2B5EF4-FFF2-40B4-BE49-F238E27FC236}">
                      <a16:creationId xmlns:a16="http://schemas.microsoft.com/office/drawing/2014/main" id="{2A0AFCDB-A557-409D-A22B-D6768DE4E152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383" name="Rectangle 4098">
                    <a:extLst>
                      <a:ext uri="{FF2B5EF4-FFF2-40B4-BE49-F238E27FC236}">
                        <a16:creationId xmlns:a16="http://schemas.microsoft.com/office/drawing/2014/main" id="{9EC571B2-8FB1-4624-94D3-986525DDE3E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Rectangle 68">
                    <a:extLst>
                      <a:ext uri="{FF2B5EF4-FFF2-40B4-BE49-F238E27FC236}">
                        <a16:creationId xmlns:a16="http://schemas.microsoft.com/office/drawing/2014/main" id="{B24B371F-7851-4A65-9E1C-F1A40430B4D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Rectangle 4098">
                    <a:extLst>
                      <a:ext uri="{FF2B5EF4-FFF2-40B4-BE49-F238E27FC236}">
                        <a16:creationId xmlns:a16="http://schemas.microsoft.com/office/drawing/2014/main" id="{FAB58213-68EC-40DB-9D81-AEBAE0F594D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Rectangle 4098">
                    <a:extLst>
                      <a:ext uri="{FF2B5EF4-FFF2-40B4-BE49-F238E27FC236}">
                        <a16:creationId xmlns:a16="http://schemas.microsoft.com/office/drawing/2014/main" id="{4F146D78-4EFE-4D45-92CF-0F134D4709A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82" name="Rectangle 4098">
                  <a:extLst>
                    <a:ext uri="{FF2B5EF4-FFF2-40B4-BE49-F238E27FC236}">
                      <a16:creationId xmlns:a16="http://schemas.microsoft.com/office/drawing/2014/main" id="{EB0DAAB0-67DC-4630-B537-D019C2B30D39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A2773AC2-9E95-4196-875A-5A4B866D1849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TextBox 8"/>
          <p:cNvSpPr txBox="1"/>
          <p:nvPr/>
        </p:nvSpPr>
        <p:spPr>
          <a:xfrm>
            <a:off x="661415" y="4158309"/>
            <a:ext cx="207031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adi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cinoge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lication errors</a:t>
            </a:r>
          </a:p>
        </p:txBody>
      </p:sp>
      <p:cxnSp>
        <p:nvCxnSpPr>
          <p:cNvPr id="21" name="Straight Arrow Connector 20"/>
          <p:cNvCxnSpPr>
            <a:cxnSpLocks/>
          </p:cNvCxnSpPr>
          <p:nvPr/>
        </p:nvCxnSpPr>
        <p:spPr>
          <a:xfrm>
            <a:off x="5467534" y="2276130"/>
            <a:ext cx="1371600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Lightning Bolt 16">
            <a:extLst>
              <a:ext uri="{FF2B5EF4-FFF2-40B4-BE49-F238E27FC236}">
                <a16:creationId xmlns:a16="http://schemas.microsoft.com/office/drawing/2014/main" id="{9157FB36-9109-C545-9481-A63C45DB9BE1}"/>
              </a:ext>
            </a:extLst>
          </p:cNvPr>
          <p:cNvSpPr/>
          <p:nvPr/>
        </p:nvSpPr>
        <p:spPr>
          <a:xfrm rot="15056283">
            <a:off x="886721" y="3554036"/>
            <a:ext cx="567711" cy="771830"/>
          </a:xfrm>
          <a:prstGeom prst="lightningBol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BA8C7EF-3E02-C34F-81BC-5681E98D7B81}"/>
              </a:ext>
            </a:extLst>
          </p:cNvPr>
          <p:cNvSpPr txBox="1"/>
          <p:nvPr/>
        </p:nvSpPr>
        <p:spPr>
          <a:xfrm>
            <a:off x="6970160" y="3634960"/>
            <a:ext cx="22278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utation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C5698F9-5CAD-624A-80DC-17D43CFCAD25}"/>
              </a:ext>
            </a:extLst>
          </p:cNvPr>
          <p:cNvCxnSpPr>
            <a:cxnSpLocks/>
          </p:cNvCxnSpPr>
          <p:nvPr/>
        </p:nvCxnSpPr>
        <p:spPr>
          <a:xfrm flipV="1">
            <a:off x="4348174" y="3751556"/>
            <a:ext cx="1121965" cy="14789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6268594-F4D8-454F-8896-4342629FD917}"/>
              </a:ext>
            </a:extLst>
          </p:cNvPr>
          <p:cNvSpPr txBox="1"/>
          <p:nvPr/>
        </p:nvSpPr>
        <p:spPr>
          <a:xfrm>
            <a:off x="5485290" y="3356082"/>
            <a:ext cx="12237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mperfect</a:t>
            </a:r>
          </a:p>
        </p:txBody>
      </p:sp>
      <p:sp>
        <p:nvSpPr>
          <p:cNvPr id="44" name="5-Point Star 43">
            <a:extLst>
              <a:ext uri="{FF2B5EF4-FFF2-40B4-BE49-F238E27FC236}">
                <a16:creationId xmlns:a16="http://schemas.microsoft.com/office/drawing/2014/main" id="{51E9C1AE-FBE1-7842-8781-BE60862FAE12}"/>
              </a:ext>
            </a:extLst>
          </p:cNvPr>
          <p:cNvSpPr/>
          <p:nvPr/>
        </p:nvSpPr>
        <p:spPr>
          <a:xfrm>
            <a:off x="7206557" y="3992232"/>
            <a:ext cx="237350" cy="237350"/>
          </a:xfrm>
          <a:prstGeom prst="star5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C70896F-0CF5-B547-99B1-C247745BC4B9}"/>
              </a:ext>
            </a:extLst>
          </p:cNvPr>
          <p:cNvCxnSpPr>
            <a:cxnSpLocks/>
          </p:cNvCxnSpPr>
          <p:nvPr/>
        </p:nvCxnSpPr>
        <p:spPr>
          <a:xfrm>
            <a:off x="2731725" y="3771130"/>
            <a:ext cx="582305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ctagon 48">
            <a:extLst>
              <a:ext uri="{FF2B5EF4-FFF2-40B4-BE49-F238E27FC236}">
                <a16:creationId xmlns:a16="http://schemas.microsoft.com/office/drawing/2014/main" id="{DD458F14-AFDB-7A4E-80D6-F80DD5EC6AA8}"/>
              </a:ext>
            </a:extLst>
          </p:cNvPr>
          <p:cNvSpPr/>
          <p:nvPr/>
        </p:nvSpPr>
        <p:spPr>
          <a:xfrm>
            <a:off x="3389536" y="3338099"/>
            <a:ext cx="894522" cy="894522"/>
          </a:xfrm>
          <a:prstGeom prst="octagon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7AAF4B-F874-3D4B-BCD9-01DC8ADD12E5}"/>
              </a:ext>
            </a:extLst>
          </p:cNvPr>
          <p:cNvSpPr txBox="1"/>
          <p:nvPr/>
        </p:nvSpPr>
        <p:spPr>
          <a:xfrm>
            <a:off x="3335180" y="3559195"/>
            <a:ext cx="10158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F67CC8F-C654-C04F-B887-27480246C044}"/>
              </a:ext>
            </a:extLst>
          </p:cNvPr>
          <p:cNvSpPr txBox="1"/>
          <p:nvPr/>
        </p:nvSpPr>
        <p:spPr>
          <a:xfrm>
            <a:off x="4363499" y="3008476"/>
            <a:ext cx="8733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ai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NA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CADFD0-8D8F-5841-9CF1-0BCB88ECF728}"/>
              </a:ext>
            </a:extLst>
          </p:cNvPr>
          <p:cNvCxnSpPr>
            <a:cxnSpLocks/>
          </p:cNvCxnSpPr>
          <p:nvPr/>
        </p:nvCxnSpPr>
        <p:spPr>
          <a:xfrm flipH="1" flipV="1">
            <a:off x="5470140" y="2258374"/>
            <a:ext cx="15150" cy="3116195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" name="Group 7">
            <a:extLst>
              <a:ext uri="{FF2B5EF4-FFF2-40B4-BE49-F238E27FC236}">
                <a16:creationId xmlns:a16="http://schemas.microsoft.com/office/drawing/2014/main" id="{0F1CA7F0-543C-44D9-AE89-D2780E66D69C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34" name="Picture 9">
              <a:extLst>
                <a:ext uri="{FF2B5EF4-FFF2-40B4-BE49-F238E27FC236}">
                  <a16:creationId xmlns:a16="http://schemas.microsoft.com/office/drawing/2014/main" id="{E5B66A44-3D83-43DE-AD82-3F53BB8491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3E376E6-7F07-4145-94BB-8A3CBE54E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2" name="Text Box 11">
            <a:extLst>
              <a:ext uri="{FF2B5EF4-FFF2-40B4-BE49-F238E27FC236}">
                <a16:creationId xmlns:a16="http://schemas.microsoft.com/office/drawing/2014/main" id="{B88DD24C-5E6C-4C5E-8529-5CD79CD043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7640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DEC77-DACD-4215-A2E9-63440CB91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NA Is Constantly Damaged and Repaire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8516586-21E5-450F-BBF2-AC3F1733383E}"/>
              </a:ext>
            </a:extLst>
          </p:cNvPr>
          <p:cNvSpPr txBox="1"/>
          <p:nvPr/>
        </p:nvSpPr>
        <p:spPr>
          <a:xfrm>
            <a:off x="7389551" y="5064076"/>
            <a:ext cx="10158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7B199D9-92B1-4560-8CD7-A23B90A46F2D}"/>
              </a:ext>
            </a:extLst>
          </p:cNvPr>
          <p:cNvCxnSpPr>
            <a:cxnSpLocks/>
          </p:cNvCxnSpPr>
          <p:nvPr/>
        </p:nvCxnSpPr>
        <p:spPr>
          <a:xfrm>
            <a:off x="5485290" y="3753374"/>
            <a:ext cx="1371600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8EA60D2-1085-4275-BE98-13014DDEF8AD}"/>
              </a:ext>
            </a:extLst>
          </p:cNvPr>
          <p:cNvCxnSpPr>
            <a:cxnSpLocks/>
          </p:cNvCxnSpPr>
          <p:nvPr/>
        </p:nvCxnSpPr>
        <p:spPr>
          <a:xfrm>
            <a:off x="5476412" y="5356414"/>
            <a:ext cx="1371600" cy="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F70FDE8B-7CEB-4283-A6DA-C1B19756B6D9}"/>
              </a:ext>
            </a:extLst>
          </p:cNvPr>
          <p:cNvSpPr txBox="1"/>
          <p:nvPr/>
        </p:nvSpPr>
        <p:spPr>
          <a:xfrm>
            <a:off x="5755177" y="4933451"/>
            <a:ext cx="8140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aile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8D0951A-B897-4D3E-BE24-F1DC44B096C1}"/>
              </a:ext>
            </a:extLst>
          </p:cNvPr>
          <p:cNvSpPr txBox="1"/>
          <p:nvPr/>
        </p:nvSpPr>
        <p:spPr>
          <a:xfrm>
            <a:off x="5560033" y="1872983"/>
            <a:ext cx="9407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rfec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1ACE16-FDBA-494A-8711-85E22BC31C2C}"/>
              </a:ext>
            </a:extLst>
          </p:cNvPr>
          <p:cNvSpPr/>
          <p:nvPr/>
        </p:nvSpPr>
        <p:spPr>
          <a:xfrm>
            <a:off x="9179371" y="3155655"/>
            <a:ext cx="26987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duced efficacy </a:t>
            </a:r>
            <a:b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DNA damage response promotes carcinogenesi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831F588-59B8-48C4-8400-0F0E641DDFB7}"/>
              </a:ext>
            </a:extLst>
          </p:cNvPr>
          <p:cNvSpPr/>
          <p:nvPr/>
        </p:nvSpPr>
        <p:spPr>
          <a:xfrm>
            <a:off x="6552288" y="5677146"/>
            <a:ext cx="26987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lication collapse and cell death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5D955D-382D-4D08-A273-AF4D626492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4760" y="4775099"/>
            <a:ext cx="908927" cy="94197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16E7CE-700B-461A-A418-0F40B1513AFB}"/>
              </a:ext>
            </a:extLst>
          </p:cNvPr>
          <p:cNvGrpSpPr/>
          <p:nvPr/>
        </p:nvGrpSpPr>
        <p:grpSpPr>
          <a:xfrm rot="162851">
            <a:off x="644668" y="2330069"/>
            <a:ext cx="2269583" cy="456241"/>
            <a:chOff x="648624" y="1869343"/>
            <a:chExt cx="2945541" cy="592125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2D2CEB0-DED5-4F7B-BC3F-8BF5E8DCB29C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91" name="Rectangle 4098">
                <a:extLst>
                  <a:ext uri="{FF2B5EF4-FFF2-40B4-BE49-F238E27FC236}">
                    <a16:creationId xmlns:a16="http://schemas.microsoft.com/office/drawing/2014/main" id="{7A57DC90-7306-41E3-8BD2-1D68C6BC512C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E31AFE16-9E0B-4618-A936-8B0840F9FD06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94" name="Freeform 79">
                  <a:extLst>
                    <a:ext uri="{FF2B5EF4-FFF2-40B4-BE49-F238E27FC236}">
                      <a16:creationId xmlns:a16="http://schemas.microsoft.com/office/drawing/2014/main" id="{1BBAF003-D784-45F4-96CE-25D7CCAD12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83">
                  <a:extLst>
                    <a:ext uri="{FF2B5EF4-FFF2-40B4-BE49-F238E27FC236}">
                      <a16:creationId xmlns:a16="http://schemas.microsoft.com/office/drawing/2014/main" id="{E0A6B168-6EBD-4464-B2F0-DE74D24ECE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84">
                  <a:extLst>
                    <a:ext uri="{FF2B5EF4-FFF2-40B4-BE49-F238E27FC236}">
                      <a16:creationId xmlns:a16="http://schemas.microsoft.com/office/drawing/2014/main" id="{E0AC4FE0-8FAA-4706-97AA-0BB1ACE2A0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86">
                  <a:extLst>
                    <a:ext uri="{FF2B5EF4-FFF2-40B4-BE49-F238E27FC236}">
                      <a16:creationId xmlns:a16="http://schemas.microsoft.com/office/drawing/2014/main" id="{C6FFA3B2-0C48-4228-B181-3AE15F5F2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87">
                  <a:extLst>
                    <a:ext uri="{FF2B5EF4-FFF2-40B4-BE49-F238E27FC236}">
                      <a16:creationId xmlns:a16="http://schemas.microsoft.com/office/drawing/2014/main" id="{D162FDA1-8A3D-4AC8-98EE-DBED300D7A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4571F5F7-50C9-4CFF-935E-CB55F9FEDD49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106" name="Rectangle 4098">
                    <a:extLst>
                      <a:ext uri="{FF2B5EF4-FFF2-40B4-BE49-F238E27FC236}">
                        <a16:creationId xmlns:a16="http://schemas.microsoft.com/office/drawing/2014/main" id="{0A9ADABA-1037-4F4B-9525-9B8992D9259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Rectangle 68">
                    <a:extLst>
                      <a:ext uri="{FF2B5EF4-FFF2-40B4-BE49-F238E27FC236}">
                        <a16:creationId xmlns:a16="http://schemas.microsoft.com/office/drawing/2014/main" id="{D9AD385B-1640-42CD-A334-F1E496C4C70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Rectangle 4098">
                    <a:extLst>
                      <a:ext uri="{FF2B5EF4-FFF2-40B4-BE49-F238E27FC236}">
                        <a16:creationId xmlns:a16="http://schemas.microsoft.com/office/drawing/2014/main" id="{107643A0-F5BE-41B3-8CEE-E459D6B1B35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Rectangle 4098">
                    <a:extLst>
                      <a:ext uri="{FF2B5EF4-FFF2-40B4-BE49-F238E27FC236}">
                        <a16:creationId xmlns:a16="http://schemas.microsoft.com/office/drawing/2014/main" id="{6B5FEF94-199D-47EC-A113-F05CBDCCD00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00" name="Group 99">
                  <a:extLst>
                    <a:ext uri="{FF2B5EF4-FFF2-40B4-BE49-F238E27FC236}">
                      <a16:creationId xmlns:a16="http://schemas.microsoft.com/office/drawing/2014/main" id="{4EEADAA5-272E-45FE-9C30-475625CA6D2E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102" name="Rectangle 4098">
                    <a:extLst>
                      <a:ext uri="{FF2B5EF4-FFF2-40B4-BE49-F238E27FC236}">
                        <a16:creationId xmlns:a16="http://schemas.microsoft.com/office/drawing/2014/main" id="{2CC421C6-0FE3-4DD0-976B-492952F4819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Rectangle 68">
                    <a:extLst>
                      <a:ext uri="{FF2B5EF4-FFF2-40B4-BE49-F238E27FC236}">
                        <a16:creationId xmlns:a16="http://schemas.microsoft.com/office/drawing/2014/main" id="{05C7A3E3-28D0-4D37-AADD-E52B3852B31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Rectangle 4098">
                    <a:extLst>
                      <a:ext uri="{FF2B5EF4-FFF2-40B4-BE49-F238E27FC236}">
                        <a16:creationId xmlns:a16="http://schemas.microsoft.com/office/drawing/2014/main" id="{87C67D67-E7CE-483C-9CF5-D63D42476BA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Rectangle 4098">
                    <a:extLst>
                      <a:ext uri="{FF2B5EF4-FFF2-40B4-BE49-F238E27FC236}">
                        <a16:creationId xmlns:a16="http://schemas.microsoft.com/office/drawing/2014/main" id="{D83D1A9C-B7E7-470F-A15B-E055333F073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1" name="Rectangle 4098">
                  <a:extLst>
                    <a:ext uri="{FF2B5EF4-FFF2-40B4-BE49-F238E27FC236}">
                      <a16:creationId xmlns:a16="http://schemas.microsoft.com/office/drawing/2014/main" id="{FF2281E0-C962-46E7-B94D-69DA7012A1E9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8DE3C4AC-17E5-418C-957B-5CADC687F360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DAC038AD-E7D5-4382-A198-8313C3185E86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CFEF3B7D-4D23-4A96-9C0A-74B102B5D9DD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114" name="Freeform 79">
                  <a:extLst>
                    <a:ext uri="{FF2B5EF4-FFF2-40B4-BE49-F238E27FC236}">
                      <a16:creationId xmlns:a16="http://schemas.microsoft.com/office/drawing/2014/main" id="{C7235545-2E2D-4FA8-B18F-53612FFF0C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83">
                  <a:extLst>
                    <a:ext uri="{FF2B5EF4-FFF2-40B4-BE49-F238E27FC236}">
                      <a16:creationId xmlns:a16="http://schemas.microsoft.com/office/drawing/2014/main" id="{37505AB9-78FB-4A72-A016-80B7FB5D81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84">
                  <a:extLst>
                    <a:ext uri="{FF2B5EF4-FFF2-40B4-BE49-F238E27FC236}">
                      <a16:creationId xmlns:a16="http://schemas.microsoft.com/office/drawing/2014/main" id="{299AD6AF-6E49-487D-85DD-421739CEA1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86">
                  <a:extLst>
                    <a:ext uri="{FF2B5EF4-FFF2-40B4-BE49-F238E27FC236}">
                      <a16:creationId xmlns:a16="http://schemas.microsoft.com/office/drawing/2014/main" id="{05B147E1-253E-4F10-8757-EC00E42A21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87">
                  <a:extLst>
                    <a:ext uri="{FF2B5EF4-FFF2-40B4-BE49-F238E27FC236}">
                      <a16:creationId xmlns:a16="http://schemas.microsoft.com/office/drawing/2014/main" id="{B9F3A285-714C-4733-A993-BB25A5BBA3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C3B4FD72-4C14-403D-81A6-24CABCD4DD00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126" name="Rectangle 4098">
                    <a:extLst>
                      <a:ext uri="{FF2B5EF4-FFF2-40B4-BE49-F238E27FC236}">
                        <a16:creationId xmlns:a16="http://schemas.microsoft.com/office/drawing/2014/main" id="{A75F1DB9-D9E8-4AA0-90FD-773925BD672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7" name="Rectangle 68">
                    <a:extLst>
                      <a:ext uri="{FF2B5EF4-FFF2-40B4-BE49-F238E27FC236}">
                        <a16:creationId xmlns:a16="http://schemas.microsoft.com/office/drawing/2014/main" id="{0EC794C3-A3DD-4AC9-AB90-5A6105F63CD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Rectangle 4098">
                    <a:extLst>
                      <a:ext uri="{FF2B5EF4-FFF2-40B4-BE49-F238E27FC236}">
                        <a16:creationId xmlns:a16="http://schemas.microsoft.com/office/drawing/2014/main" id="{6DB410AB-625B-44C3-AF23-00E3D105F1E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9" name="Rectangle 4098">
                    <a:extLst>
                      <a:ext uri="{FF2B5EF4-FFF2-40B4-BE49-F238E27FC236}">
                        <a16:creationId xmlns:a16="http://schemas.microsoft.com/office/drawing/2014/main" id="{C0800E2E-5545-4EA6-BA96-C93CBE38618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7DDCA8AF-2733-433A-87E9-E70C2A1EB572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122" name="Rectangle 4098">
                    <a:extLst>
                      <a:ext uri="{FF2B5EF4-FFF2-40B4-BE49-F238E27FC236}">
                        <a16:creationId xmlns:a16="http://schemas.microsoft.com/office/drawing/2014/main" id="{4A93C3BD-ACF0-44E5-AC40-2F44F440869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Rectangle 68">
                    <a:extLst>
                      <a:ext uri="{FF2B5EF4-FFF2-40B4-BE49-F238E27FC236}">
                        <a16:creationId xmlns:a16="http://schemas.microsoft.com/office/drawing/2014/main" id="{AEDC982B-E79D-4167-8E48-C202A0557F5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Rectangle 4098">
                    <a:extLst>
                      <a:ext uri="{FF2B5EF4-FFF2-40B4-BE49-F238E27FC236}">
                        <a16:creationId xmlns:a16="http://schemas.microsoft.com/office/drawing/2014/main" id="{A95E0B8D-3CFA-48B4-89D3-5708C9FA523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Rectangle 4098">
                    <a:extLst>
                      <a:ext uri="{FF2B5EF4-FFF2-40B4-BE49-F238E27FC236}">
                        <a16:creationId xmlns:a16="http://schemas.microsoft.com/office/drawing/2014/main" id="{2A34652B-FA84-41D6-A71C-356D6188D4A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1" name="Rectangle 4098">
                  <a:extLst>
                    <a:ext uri="{FF2B5EF4-FFF2-40B4-BE49-F238E27FC236}">
                      <a16:creationId xmlns:a16="http://schemas.microsoft.com/office/drawing/2014/main" id="{7C80066A-B11C-47D6-B3F2-D3749E7361E5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6900E8A4-859F-4EC1-B8C9-2B4B42E5BFCC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43EB36BD-23BD-401F-A804-7622B119087F}"/>
              </a:ext>
            </a:extLst>
          </p:cNvPr>
          <p:cNvGrpSpPr/>
          <p:nvPr/>
        </p:nvGrpSpPr>
        <p:grpSpPr>
          <a:xfrm rot="162851">
            <a:off x="640105" y="2990311"/>
            <a:ext cx="2269583" cy="456241"/>
            <a:chOff x="648624" y="1869343"/>
            <a:chExt cx="2945541" cy="592125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AB484522-7F23-42D2-AF90-0E381698AF33}"/>
                </a:ext>
              </a:extLst>
            </p:cNvPr>
            <p:cNvGrpSpPr/>
            <p:nvPr/>
          </p:nvGrpSpPr>
          <p:grpSpPr>
            <a:xfrm rot="20990365">
              <a:off x="648624" y="1869343"/>
              <a:ext cx="1695529" cy="592125"/>
              <a:chOff x="8010137" y="5199552"/>
              <a:chExt cx="2296430" cy="801976"/>
            </a:xfrm>
            <a:solidFill>
              <a:schemeClr val="bg2"/>
            </a:solidFill>
          </p:grpSpPr>
          <p:sp>
            <p:nvSpPr>
              <p:cNvPr id="151" name="Rectangle 4098">
                <a:extLst>
                  <a:ext uri="{FF2B5EF4-FFF2-40B4-BE49-F238E27FC236}">
                    <a16:creationId xmlns:a16="http://schemas.microsoft.com/office/drawing/2014/main" id="{9B9A7F68-6D97-401E-8F43-D8B5F654AE9B}"/>
                  </a:ext>
                </a:extLst>
              </p:cNvPr>
              <p:cNvSpPr/>
              <p:nvPr/>
            </p:nvSpPr>
            <p:spPr bwMode="auto">
              <a:xfrm rot="453588">
                <a:off x="8118829" y="5199552"/>
                <a:ext cx="70201" cy="374868"/>
              </a:xfrm>
              <a:custGeom>
                <a:avLst/>
                <a:gdLst>
                  <a:gd name="connsiteX0" fmla="*/ 0 w 45719"/>
                  <a:gd name="connsiteY0" fmla="*/ 0 h 431211"/>
                  <a:gd name="connsiteX1" fmla="*/ 45719 w 45719"/>
                  <a:gd name="connsiteY1" fmla="*/ 0 h 431211"/>
                  <a:gd name="connsiteX2" fmla="*/ 45719 w 45719"/>
                  <a:gd name="connsiteY2" fmla="*/ 431211 h 431211"/>
                  <a:gd name="connsiteX3" fmla="*/ 0 w 45719"/>
                  <a:gd name="connsiteY3" fmla="*/ 431211 h 431211"/>
                  <a:gd name="connsiteX4" fmla="*/ 0 w 45719"/>
                  <a:gd name="connsiteY4" fmla="*/ 0 h 431211"/>
                  <a:gd name="connsiteX0" fmla="*/ 0 w 45719"/>
                  <a:gd name="connsiteY0" fmla="*/ 0 h 438354"/>
                  <a:gd name="connsiteX1" fmla="*/ 45719 w 45719"/>
                  <a:gd name="connsiteY1" fmla="*/ 0 h 438354"/>
                  <a:gd name="connsiteX2" fmla="*/ 45719 w 45719"/>
                  <a:gd name="connsiteY2" fmla="*/ 431211 h 438354"/>
                  <a:gd name="connsiteX3" fmla="*/ 2381 w 45719"/>
                  <a:gd name="connsiteY3" fmla="*/ 438354 h 438354"/>
                  <a:gd name="connsiteX4" fmla="*/ 0 w 45719"/>
                  <a:gd name="connsiteY4" fmla="*/ 0 h 438354"/>
                  <a:gd name="connsiteX0" fmla="*/ 2487 w 43444"/>
                  <a:gd name="connsiteY0" fmla="*/ 16669 h 438354"/>
                  <a:gd name="connsiteX1" fmla="*/ 43444 w 43444"/>
                  <a:gd name="connsiteY1" fmla="*/ 0 h 438354"/>
                  <a:gd name="connsiteX2" fmla="*/ 43444 w 43444"/>
                  <a:gd name="connsiteY2" fmla="*/ 431211 h 438354"/>
                  <a:gd name="connsiteX3" fmla="*/ 106 w 43444"/>
                  <a:gd name="connsiteY3" fmla="*/ 438354 h 438354"/>
                  <a:gd name="connsiteX4" fmla="*/ 2487 w 43444"/>
                  <a:gd name="connsiteY4" fmla="*/ 16669 h 438354"/>
                  <a:gd name="connsiteX0" fmla="*/ 229 w 41186"/>
                  <a:gd name="connsiteY0" fmla="*/ 16669 h 433592"/>
                  <a:gd name="connsiteX1" fmla="*/ 41186 w 41186"/>
                  <a:gd name="connsiteY1" fmla="*/ 0 h 433592"/>
                  <a:gd name="connsiteX2" fmla="*/ 41186 w 41186"/>
                  <a:gd name="connsiteY2" fmla="*/ 431211 h 433592"/>
                  <a:gd name="connsiteX3" fmla="*/ 230 w 41186"/>
                  <a:gd name="connsiteY3" fmla="*/ 433592 h 433592"/>
                  <a:gd name="connsiteX4" fmla="*/ 229 w 41186"/>
                  <a:gd name="connsiteY4" fmla="*/ 16669 h 433592"/>
                  <a:gd name="connsiteX0" fmla="*/ 229 w 41186"/>
                  <a:gd name="connsiteY0" fmla="*/ 16669 h 431211"/>
                  <a:gd name="connsiteX1" fmla="*/ 41186 w 41186"/>
                  <a:gd name="connsiteY1" fmla="*/ 0 h 431211"/>
                  <a:gd name="connsiteX2" fmla="*/ 41186 w 41186"/>
                  <a:gd name="connsiteY2" fmla="*/ 431211 h 431211"/>
                  <a:gd name="connsiteX3" fmla="*/ 230 w 41186"/>
                  <a:gd name="connsiteY3" fmla="*/ 408224 h 431211"/>
                  <a:gd name="connsiteX4" fmla="*/ 229 w 41186"/>
                  <a:gd name="connsiteY4" fmla="*/ 16669 h 431211"/>
                  <a:gd name="connsiteX0" fmla="*/ 229 w 41186"/>
                  <a:gd name="connsiteY0" fmla="*/ 0 h 462893"/>
                  <a:gd name="connsiteX1" fmla="*/ 41186 w 41186"/>
                  <a:gd name="connsiteY1" fmla="*/ 31682 h 462893"/>
                  <a:gd name="connsiteX2" fmla="*/ 41186 w 41186"/>
                  <a:gd name="connsiteY2" fmla="*/ 462893 h 462893"/>
                  <a:gd name="connsiteX3" fmla="*/ 230 w 41186"/>
                  <a:gd name="connsiteY3" fmla="*/ 439906 h 462893"/>
                  <a:gd name="connsiteX4" fmla="*/ 229 w 41186"/>
                  <a:gd name="connsiteY4" fmla="*/ 0 h 462893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41186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  <a:gd name="connsiteX0" fmla="*/ 229 w 41186"/>
                  <a:gd name="connsiteY0" fmla="*/ 0 h 468784"/>
                  <a:gd name="connsiteX1" fmla="*/ 41186 w 41186"/>
                  <a:gd name="connsiteY1" fmla="*/ 31682 h 468784"/>
                  <a:gd name="connsiteX2" fmla="*/ 29750 w 41186"/>
                  <a:gd name="connsiteY2" fmla="*/ 462893 h 468784"/>
                  <a:gd name="connsiteX3" fmla="*/ 230 w 41186"/>
                  <a:gd name="connsiteY3" fmla="*/ 468784 h 468784"/>
                  <a:gd name="connsiteX4" fmla="*/ 229 w 41186"/>
                  <a:gd name="connsiteY4" fmla="*/ 0 h 46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86" h="468784">
                    <a:moveTo>
                      <a:pt x="229" y="0"/>
                    </a:moveTo>
                    <a:lnTo>
                      <a:pt x="41186" y="31682"/>
                    </a:lnTo>
                    <a:lnTo>
                      <a:pt x="29750" y="462893"/>
                    </a:lnTo>
                    <a:lnTo>
                      <a:pt x="230" y="468784"/>
                    </a:lnTo>
                    <a:cubicBezTo>
                      <a:pt x="-564" y="322666"/>
                      <a:pt x="1023" y="146118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74F89604-D30B-40F9-BA8A-A85213E1FDC3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154" name="Freeform 79">
                  <a:extLst>
                    <a:ext uri="{FF2B5EF4-FFF2-40B4-BE49-F238E27FC236}">
                      <a16:creationId xmlns:a16="http://schemas.microsoft.com/office/drawing/2014/main" id="{5B689037-1288-4BD6-93AA-0D9BF508F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83">
                  <a:extLst>
                    <a:ext uri="{FF2B5EF4-FFF2-40B4-BE49-F238E27FC236}">
                      <a16:creationId xmlns:a16="http://schemas.microsoft.com/office/drawing/2014/main" id="{40D397CF-5DA2-4F84-9F7E-464831307A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84">
                  <a:extLst>
                    <a:ext uri="{FF2B5EF4-FFF2-40B4-BE49-F238E27FC236}">
                      <a16:creationId xmlns:a16="http://schemas.microsoft.com/office/drawing/2014/main" id="{D16F982A-CBB4-475F-AA08-A1C6331E16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86">
                  <a:extLst>
                    <a:ext uri="{FF2B5EF4-FFF2-40B4-BE49-F238E27FC236}">
                      <a16:creationId xmlns:a16="http://schemas.microsoft.com/office/drawing/2014/main" id="{CB3E8938-80FE-466C-8948-5921BB8578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87">
                  <a:extLst>
                    <a:ext uri="{FF2B5EF4-FFF2-40B4-BE49-F238E27FC236}">
                      <a16:creationId xmlns:a16="http://schemas.microsoft.com/office/drawing/2014/main" id="{863C4F2F-0321-4ADA-8424-3A78F277A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9" name="Group 158">
                  <a:extLst>
                    <a:ext uri="{FF2B5EF4-FFF2-40B4-BE49-F238E27FC236}">
                      <a16:creationId xmlns:a16="http://schemas.microsoft.com/office/drawing/2014/main" id="{AD08FF92-AEAD-4793-9D1C-4CD1B205D8C8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166" name="Rectangle 4098">
                    <a:extLst>
                      <a:ext uri="{FF2B5EF4-FFF2-40B4-BE49-F238E27FC236}">
                        <a16:creationId xmlns:a16="http://schemas.microsoft.com/office/drawing/2014/main" id="{BDBE12E9-9FE6-4C90-A42D-5C88660A825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7" name="Rectangle 68">
                    <a:extLst>
                      <a:ext uri="{FF2B5EF4-FFF2-40B4-BE49-F238E27FC236}">
                        <a16:creationId xmlns:a16="http://schemas.microsoft.com/office/drawing/2014/main" id="{ADB3FCDD-AF58-4489-8135-7D15426FD4E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" name="Rectangle 4098">
                    <a:extLst>
                      <a:ext uri="{FF2B5EF4-FFF2-40B4-BE49-F238E27FC236}">
                        <a16:creationId xmlns:a16="http://schemas.microsoft.com/office/drawing/2014/main" id="{7654B7F9-C5D2-4357-AC11-9DBC7C69168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9" name="Rectangle 4098">
                    <a:extLst>
                      <a:ext uri="{FF2B5EF4-FFF2-40B4-BE49-F238E27FC236}">
                        <a16:creationId xmlns:a16="http://schemas.microsoft.com/office/drawing/2014/main" id="{7BABC742-529B-45B4-AC41-2104A54C26E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0" name="Group 159">
                  <a:extLst>
                    <a:ext uri="{FF2B5EF4-FFF2-40B4-BE49-F238E27FC236}">
                      <a16:creationId xmlns:a16="http://schemas.microsoft.com/office/drawing/2014/main" id="{FA63642B-321B-48CF-BDD1-58D88A115EB3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162" name="Rectangle 4098">
                    <a:extLst>
                      <a:ext uri="{FF2B5EF4-FFF2-40B4-BE49-F238E27FC236}">
                        <a16:creationId xmlns:a16="http://schemas.microsoft.com/office/drawing/2014/main" id="{B3AB32C2-FB48-4DA8-8227-C0757B6DC2C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3" name="Rectangle 68">
                    <a:extLst>
                      <a:ext uri="{FF2B5EF4-FFF2-40B4-BE49-F238E27FC236}">
                        <a16:creationId xmlns:a16="http://schemas.microsoft.com/office/drawing/2014/main" id="{4D38E576-7191-4BFF-83D4-86B2FFC6FC1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4" name="Rectangle 4098">
                    <a:extLst>
                      <a:ext uri="{FF2B5EF4-FFF2-40B4-BE49-F238E27FC236}">
                        <a16:creationId xmlns:a16="http://schemas.microsoft.com/office/drawing/2014/main" id="{589E4441-3869-4B88-A909-90224C8D747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5" name="Rectangle 4098">
                    <a:extLst>
                      <a:ext uri="{FF2B5EF4-FFF2-40B4-BE49-F238E27FC236}">
                        <a16:creationId xmlns:a16="http://schemas.microsoft.com/office/drawing/2014/main" id="{FACB34A7-2ACB-4913-8A02-392446ED2EC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61" name="Rectangle 4098">
                  <a:extLst>
                    <a:ext uri="{FF2B5EF4-FFF2-40B4-BE49-F238E27FC236}">
                      <a16:creationId xmlns:a16="http://schemas.microsoft.com/office/drawing/2014/main" id="{A1AC8555-7F33-4632-98A4-E41738E6C23B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33502D44-424C-4F7B-821A-E78A1CF694C1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4879BC65-5274-4C95-A25A-AF85E1E2237A}"/>
                </a:ext>
              </a:extLst>
            </p:cNvPr>
            <p:cNvGrpSpPr/>
            <p:nvPr/>
          </p:nvGrpSpPr>
          <p:grpSpPr>
            <a:xfrm rot="20990365">
              <a:off x="1898636" y="1900934"/>
              <a:ext cx="1695529" cy="507542"/>
              <a:chOff x="8010137" y="5314111"/>
              <a:chExt cx="2296430" cy="687417"/>
            </a:xfrm>
            <a:solidFill>
              <a:schemeClr val="bg2"/>
            </a:solidFill>
          </p:grpSpPr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C804F225-0B2A-4B98-95C2-2098DFC78859}"/>
                  </a:ext>
                </a:extLst>
              </p:cNvPr>
              <p:cNvGrpSpPr/>
              <p:nvPr/>
            </p:nvGrpSpPr>
            <p:grpSpPr>
              <a:xfrm rot="453588">
                <a:off x="8010137" y="5314111"/>
                <a:ext cx="2296430" cy="687417"/>
                <a:chOff x="6601756" y="4762070"/>
                <a:chExt cx="2296430" cy="687417"/>
              </a:xfrm>
              <a:grpFill/>
            </p:grpSpPr>
            <p:sp>
              <p:nvSpPr>
                <p:cNvPr id="135" name="Freeform 79">
                  <a:extLst>
                    <a:ext uri="{FF2B5EF4-FFF2-40B4-BE49-F238E27FC236}">
                      <a16:creationId xmlns:a16="http://schemas.microsoft.com/office/drawing/2014/main" id="{39C62EBC-AFC8-451A-B9EE-50B1542A1D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031" y="4766994"/>
                  <a:ext cx="278385" cy="146457"/>
                </a:xfrm>
                <a:custGeom>
                  <a:avLst/>
                  <a:gdLst>
                    <a:gd name="T0" fmla="*/ 44 w 201"/>
                    <a:gd name="T1" fmla="*/ 150 h 150"/>
                    <a:gd name="T2" fmla="*/ 44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6 h 150"/>
                    <a:gd name="T8" fmla="*/ 98 w 201"/>
                    <a:gd name="T9" fmla="*/ 74 h 150"/>
                    <a:gd name="T10" fmla="*/ 107 w 201"/>
                    <a:gd name="T11" fmla="*/ 64 h 150"/>
                    <a:gd name="T12" fmla="*/ 117 w 201"/>
                    <a:gd name="T13" fmla="*/ 55 h 150"/>
                    <a:gd name="T14" fmla="*/ 126 w 201"/>
                    <a:gd name="T15" fmla="*/ 46 h 150"/>
                    <a:gd name="T16" fmla="*/ 136 w 201"/>
                    <a:gd name="T17" fmla="*/ 39 h 150"/>
                    <a:gd name="T18" fmla="*/ 146 w 201"/>
                    <a:gd name="T19" fmla="*/ 32 h 150"/>
                    <a:gd name="T20" fmla="*/ 156 w 201"/>
                    <a:gd name="T21" fmla="*/ 27 h 150"/>
                    <a:gd name="T22" fmla="*/ 167 w 201"/>
                    <a:gd name="T23" fmla="*/ 23 h 150"/>
                    <a:gd name="T24" fmla="*/ 177 w 201"/>
                    <a:gd name="T25" fmla="*/ 20 h 150"/>
                    <a:gd name="T26" fmla="*/ 189 w 201"/>
                    <a:gd name="T27" fmla="*/ 18 h 150"/>
                    <a:gd name="T28" fmla="*/ 200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5 w 201"/>
                    <a:gd name="T35" fmla="*/ 0 h 150"/>
                    <a:gd name="T36" fmla="*/ 171 w 201"/>
                    <a:gd name="T37" fmla="*/ 1 h 150"/>
                    <a:gd name="T38" fmla="*/ 156 w 201"/>
                    <a:gd name="T39" fmla="*/ 2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3 h 150"/>
                    <a:gd name="T46" fmla="*/ 102 w 201"/>
                    <a:gd name="T47" fmla="*/ 18 h 150"/>
                    <a:gd name="T48" fmla="*/ 90 w 201"/>
                    <a:gd name="T49" fmla="*/ 23 h 150"/>
                    <a:gd name="T50" fmla="*/ 77 w 201"/>
                    <a:gd name="T51" fmla="*/ 30 h 150"/>
                    <a:gd name="T52" fmla="*/ 65 w 201"/>
                    <a:gd name="T53" fmla="*/ 37 h 150"/>
                    <a:gd name="T54" fmla="*/ 43 w 201"/>
                    <a:gd name="T55" fmla="*/ 53 h 150"/>
                    <a:gd name="T56" fmla="*/ 20 w 201"/>
                    <a:gd name="T57" fmla="*/ 71 h 150"/>
                    <a:gd name="T58" fmla="*/ 0 w 201"/>
                    <a:gd name="T59" fmla="*/ 90 h 150"/>
                    <a:gd name="T60" fmla="*/ 0 w 201"/>
                    <a:gd name="T61" fmla="*/ 90 h 150"/>
                    <a:gd name="T62" fmla="*/ 22 w 201"/>
                    <a:gd name="T63" fmla="*/ 119 h 150"/>
                    <a:gd name="T64" fmla="*/ 34 w 201"/>
                    <a:gd name="T65" fmla="*/ 134 h 150"/>
                    <a:gd name="T66" fmla="*/ 44 w 201"/>
                    <a:gd name="T67" fmla="*/ 150 h 150"/>
                    <a:gd name="T68" fmla="*/ 44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4" y="150"/>
                      </a:moveTo>
                      <a:lnTo>
                        <a:pt x="44" y="150"/>
                      </a:lnTo>
                      <a:lnTo>
                        <a:pt x="62" y="122"/>
                      </a:lnTo>
                      <a:lnTo>
                        <a:pt x="80" y="96"/>
                      </a:lnTo>
                      <a:lnTo>
                        <a:pt x="98" y="74"/>
                      </a:lnTo>
                      <a:lnTo>
                        <a:pt x="107" y="64"/>
                      </a:lnTo>
                      <a:lnTo>
                        <a:pt x="117" y="55"/>
                      </a:lnTo>
                      <a:lnTo>
                        <a:pt x="126" y="46"/>
                      </a:lnTo>
                      <a:lnTo>
                        <a:pt x="136" y="39"/>
                      </a:lnTo>
                      <a:lnTo>
                        <a:pt x="146" y="32"/>
                      </a:lnTo>
                      <a:lnTo>
                        <a:pt x="156" y="27"/>
                      </a:lnTo>
                      <a:lnTo>
                        <a:pt x="167" y="23"/>
                      </a:lnTo>
                      <a:lnTo>
                        <a:pt x="177" y="20"/>
                      </a:lnTo>
                      <a:lnTo>
                        <a:pt x="189" y="18"/>
                      </a:lnTo>
                      <a:lnTo>
                        <a:pt x="200" y="18"/>
                      </a:lnTo>
                      <a:lnTo>
                        <a:pt x="201" y="0"/>
                      </a:lnTo>
                      <a:lnTo>
                        <a:pt x="185" y="0"/>
                      </a:lnTo>
                      <a:lnTo>
                        <a:pt x="171" y="1"/>
                      </a:lnTo>
                      <a:lnTo>
                        <a:pt x="156" y="2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3"/>
                      </a:lnTo>
                      <a:lnTo>
                        <a:pt x="102" y="18"/>
                      </a:lnTo>
                      <a:lnTo>
                        <a:pt x="90" y="23"/>
                      </a:lnTo>
                      <a:lnTo>
                        <a:pt x="77" y="30"/>
                      </a:lnTo>
                      <a:lnTo>
                        <a:pt x="65" y="37"/>
                      </a:lnTo>
                      <a:lnTo>
                        <a:pt x="43" y="53"/>
                      </a:lnTo>
                      <a:lnTo>
                        <a:pt x="20" y="71"/>
                      </a:lnTo>
                      <a:lnTo>
                        <a:pt x="0" y="90"/>
                      </a:lnTo>
                      <a:lnTo>
                        <a:pt x="22" y="119"/>
                      </a:lnTo>
                      <a:lnTo>
                        <a:pt x="34" y="134"/>
                      </a:lnTo>
                      <a:lnTo>
                        <a:pt x="44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3">
                  <a:extLst>
                    <a:ext uri="{FF2B5EF4-FFF2-40B4-BE49-F238E27FC236}">
                      <a16:creationId xmlns:a16="http://schemas.microsoft.com/office/drawing/2014/main" id="{BFB3EC21-E450-45C0-999C-18CDBEF48F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4261" y="4766994"/>
                  <a:ext cx="1638452" cy="682493"/>
                </a:xfrm>
                <a:custGeom>
                  <a:avLst/>
                  <a:gdLst>
                    <a:gd name="T0" fmla="*/ 816 w 1183"/>
                    <a:gd name="T1" fmla="*/ 681 h 699"/>
                    <a:gd name="T2" fmla="*/ 852 w 1183"/>
                    <a:gd name="T3" fmla="*/ 670 h 699"/>
                    <a:gd name="T4" fmla="*/ 885 w 1183"/>
                    <a:gd name="T5" fmla="*/ 646 h 699"/>
                    <a:gd name="T6" fmla="*/ 917 w 1183"/>
                    <a:gd name="T7" fmla="*/ 613 h 699"/>
                    <a:gd name="T8" fmla="*/ 956 w 1183"/>
                    <a:gd name="T9" fmla="*/ 554 h 699"/>
                    <a:gd name="T10" fmla="*/ 1012 w 1183"/>
                    <a:gd name="T11" fmla="*/ 448 h 699"/>
                    <a:gd name="T12" fmla="*/ 1090 w 1183"/>
                    <a:gd name="T13" fmla="*/ 289 h 699"/>
                    <a:gd name="T14" fmla="*/ 1134 w 1183"/>
                    <a:gd name="T15" fmla="*/ 213 h 699"/>
                    <a:gd name="T16" fmla="*/ 1183 w 1183"/>
                    <a:gd name="T17" fmla="*/ 316 h 699"/>
                    <a:gd name="T18" fmla="*/ 1112 w 1183"/>
                    <a:gd name="T19" fmla="*/ 454 h 699"/>
                    <a:gd name="T20" fmla="*/ 1053 w 1183"/>
                    <a:gd name="T21" fmla="*/ 549 h 699"/>
                    <a:gd name="T22" fmla="*/ 995 w 1183"/>
                    <a:gd name="T23" fmla="*/ 616 h 699"/>
                    <a:gd name="T24" fmla="*/ 957 w 1183"/>
                    <a:gd name="T25" fmla="*/ 649 h 699"/>
                    <a:gd name="T26" fmla="*/ 914 w 1183"/>
                    <a:gd name="T27" fmla="*/ 674 h 699"/>
                    <a:gd name="T28" fmla="*/ 870 w 1183"/>
                    <a:gd name="T29" fmla="*/ 691 h 699"/>
                    <a:gd name="T30" fmla="*/ 820 w 1183"/>
                    <a:gd name="T31" fmla="*/ 699 h 699"/>
                    <a:gd name="T32" fmla="*/ 786 w 1183"/>
                    <a:gd name="T33" fmla="*/ 699 h 699"/>
                    <a:gd name="T34" fmla="*/ 740 w 1183"/>
                    <a:gd name="T35" fmla="*/ 691 h 699"/>
                    <a:gd name="T36" fmla="*/ 699 w 1183"/>
                    <a:gd name="T37" fmla="*/ 675 h 699"/>
                    <a:gd name="T38" fmla="*/ 660 w 1183"/>
                    <a:gd name="T39" fmla="*/ 654 h 699"/>
                    <a:gd name="T40" fmla="*/ 614 w 1183"/>
                    <a:gd name="T41" fmla="*/ 615 h 699"/>
                    <a:gd name="T42" fmla="*/ 553 w 1183"/>
                    <a:gd name="T43" fmla="*/ 540 h 699"/>
                    <a:gd name="T44" fmla="*/ 500 w 1183"/>
                    <a:gd name="T45" fmla="*/ 453 h 699"/>
                    <a:gd name="T46" fmla="*/ 453 w 1183"/>
                    <a:gd name="T47" fmla="*/ 358 h 699"/>
                    <a:gd name="T48" fmla="*/ 351 w 1183"/>
                    <a:gd name="T49" fmla="*/ 150 h 699"/>
                    <a:gd name="T50" fmla="*/ 306 w 1183"/>
                    <a:gd name="T51" fmla="*/ 82 h 699"/>
                    <a:gd name="T52" fmla="*/ 266 w 1183"/>
                    <a:gd name="T53" fmla="*/ 41 h 699"/>
                    <a:gd name="T54" fmla="*/ 239 w 1183"/>
                    <a:gd name="T55" fmla="*/ 26 h 699"/>
                    <a:gd name="T56" fmla="*/ 211 w 1183"/>
                    <a:gd name="T57" fmla="*/ 19 h 699"/>
                    <a:gd name="T58" fmla="*/ 190 w 1183"/>
                    <a:gd name="T59" fmla="*/ 19 h 699"/>
                    <a:gd name="T60" fmla="*/ 157 w 1183"/>
                    <a:gd name="T61" fmla="*/ 28 h 699"/>
                    <a:gd name="T62" fmla="*/ 127 w 1183"/>
                    <a:gd name="T63" fmla="*/ 46 h 699"/>
                    <a:gd name="T64" fmla="*/ 99 w 1183"/>
                    <a:gd name="T65" fmla="*/ 74 h 699"/>
                    <a:gd name="T66" fmla="*/ 45 w 1183"/>
                    <a:gd name="T67" fmla="*/ 151 h 699"/>
                    <a:gd name="T68" fmla="*/ 23 w 1183"/>
                    <a:gd name="T69" fmla="*/ 120 h 699"/>
                    <a:gd name="T70" fmla="*/ 21 w 1183"/>
                    <a:gd name="T71" fmla="*/ 71 h 699"/>
                    <a:gd name="T72" fmla="*/ 78 w 1183"/>
                    <a:gd name="T73" fmla="*/ 30 h 699"/>
                    <a:gd name="T74" fmla="*/ 115 w 1183"/>
                    <a:gd name="T75" fmla="*/ 13 h 699"/>
                    <a:gd name="T76" fmla="*/ 157 w 1183"/>
                    <a:gd name="T77" fmla="*/ 3 h 699"/>
                    <a:gd name="T78" fmla="*/ 201 w 1183"/>
                    <a:gd name="T79" fmla="*/ 0 h 699"/>
                    <a:gd name="T80" fmla="*/ 233 w 1183"/>
                    <a:gd name="T81" fmla="*/ 2 h 699"/>
                    <a:gd name="T82" fmla="*/ 277 w 1183"/>
                    <a:gd name="T83" fmla="*/ 12 h 699"/>
                    <a:gd name="T84" fmla="*/ 318 w 1183"/>
                    <a:gd name="T85" fmla="*/ 30 h 699"/>
                    <a:gd name="T86" fmla="*/ 356 w 1183"/>
                    <a:gd name="T87" fmla="*/ 55 h 699"/>
                    <a:gd name="T88" fmla="*/ 412 w 1183"/>
                    <a:gd name="T89" fmla="*/ 107 h 699"/>
                    <a:gd name="T90" fmla="*/ 469 w 1183"/>
                    <a:gd name="T91" fmla="*/ 187 h 699"/>
                    <a:gd name="T92" fmla="*/ 520 w 1183"/>
                    <a:gd name="T93" fmla="*/ 278 h 699"/>
                    <a:gd name="T94" fmla="*/ 622 w 1183"/>
                    <a:gd name="T95" fmla="*/ 495 h 699"/>
                    <a:gd name="T96" fmla="*/ 665 w 1183"/>
                    <a:gd name="T97" fmla="*/ 575 h 699"/>
                    <a:gd name="T98" fmla="*/ 711 w 1183"/>
                    <a:gd name="T99" fmla="*/ 636 h 699"/>
                    <a:gd name="T100" fmla="*/ 745 w 1183"/>
                    <a:gd name="T101" fmla="*/ 664 h 699"/>
                    <a:gd name="T102" fmla="*/ 773 w 1183"/>
                    <a:gd name="T103" fmla="*/ 677 h 699"/>
                    <a:gd name="T104" fmla="*/ 802 w 1183"/>
                    <a:gd name="T105" fmla="*/ 681 h 6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183" h="699">
                      <a:moveTo>
                        <a:pt x="802" y="681"/>
                      </a:moveTo>
                      <a:lnTo>
                        <a:pt x="802" y="681"/>
                      </a:lnTo>
                      <a:lnTo>
                        <a:pt x="816" y="681"/>
                      </a:lnTo>
                      <a:lnTo>
                        <a:pt x="828" y="679"/>
                      </a:lnTo>
                      <a:lnTo>
                        <a:pt x="840" y="674"/>
                      </a:lnTo>
                      <a:lnTo>
                        <a:pt x="852" y="670"/>
                      </a:lnTo>
                      <a:lnTo>
                        <a:pt x="863" y="663"/>
                      </a:lnTo>
                      <a:lnTo>
                        <a:pt x="874" y="655"/>
                      </a:lnTo>
                      <a:lnTo>
                        <a:pt x="885" y="646"/>
                      </a:lnTo>
                      <a:lnTo>
                        <a:pt x="895" y="636"/>
                      </a:lnTo>
                      <a:lnTo>
                        <a:pt x="907" y="625"/>
                      </a:lnTo>
                      <a:lnTo>
                        <a:pt x="917" y="613"/>
                      </a:lnTo>
                      <a:lnTo>
                        <a:pt x="927" y="599"/>
                      </a:lnTo>
                      <a:lnTo>
                        <a:pt x="936" y="586"/>
                      </a:lnTo>
                      <a:lnTo>
                        <a:pt x="956" y="554"/>
                      </a:lnTo>
                      <a:lnTo>
                        <a:pt x="974" y="522"/>
                      </a:lnTo>
                      <a:lnTo>
                        <a:pt x="993" y="486"/>
                      </a:lnTo>
                      <a:lnTo>
                        <a:pt x="1012" y="448"/>
                      </a:lnTo>
                      <a:lnTo>
                        <a:pt x="1050" y="370"/>
                      </a:lnTo>
                      <a:lnTo>
                        <a:pt x="1070" y="329"/>
                      </a:lnTo>
                      <a:lnTo>
                        <a:pt x="1090" y="289"/>
                      </a:lnTo>
                      <a:lnTo>
                        <a:pt x="1111" y="251"/>
                      </a:lnTo>
                      <a:lnTo>
                        <a:pt x="1134" y="213"/>
                      </a:lnTo>
                      <a:lnTo>
                        <a:pt x="1158" y="263"/>
                      </a:lnTo>
                      <a:lnTo>
                        <a:pt x="1183" y="316"/>
                      </a:lnTo>
                      <a:lnTo>
                        <a:pt x="1148" y="385"/>
                      </a:lnTo>
                      <a:lnTo>
                        <a:pt x="1131" y="420"/>
                      </a:lnTo>
                      <a:lnTo>
                        <a:pt x="1112" y="454"/>
                      </a:lnTo>
                      <a:lnTo>
                        <a:pt x="1093" y="486"/>
                      </a:lnTo>
                      <a:lnTo>
                        <a:pt x="1074" y="519"/>
                      </a:lnTo>
                      <a:lnTo>
                        <a:pt x="1053" y="549"/>
                      </a:lnTo>
                      <a:lnTo>
                        <a:pt x="1030" y="577"/>
                      </a:lnTo>
                      <a:lnTo>
                        <a:pt x="1008" y="604"/>
                      </a:lnTo>
                      <a:lnTo>
                        <a:pt x="995" y="616"/>
                      </a:lnTo>
                      <a:lnTo>
                        <a:pt x="983" y="627"/>
                      </a:lnTo>
                      <a:lnTo>
                        <a:pt x="970" y="639"/>
                      </a:lnTo>
                      <a:lnTo>
                        <a:pt x="957" y="649"/>
                      </a:lnTo>
                      <a:lnTo>
                        <a:pt x="944" y="658"/>
                      </a:lnTo>
                      <a:lnTo>
                        <a:pt x="929" y="667"/>
                      </a:lnTo>
                      <a:lnTo>
                        <a:pt x="914" y="674"/>
                      </a:lnTo>
                      <a:lnTo>
                        <a:pt x="900" y="681"/>
                      </a:lnTo>
                      <a:lnTo>
                        <a:pt x="885" y="687"/>
                      </a:lnTo>
                      <a:lnTo>
                        <a:pt x="870" y="691"/>
                      </a:lnTo>
                      <a:lnTo>
                        <a:pt x="854" y="695"/>
                      </a:lnTo>
                      <a:lnTo>
                        <a:pt x="837" y="698"/>
                      </a:lnTo>
                      <a:lnTo>
                        <a:pt x="820" y="699"/>
                      </a:lnTo>
                      <a:lnTo>
                        <a:pt x="802" y="699"/>
                      </a:lnTo>
                      <a:lnTo>
                        <a:pt x="786" y="699"/>
                      </a:lnTo>
                      <a:lnTo>
                        <a:pt x="771" y="697"/>
                      </a:lnTo>
                      <a:lnTo>
                        <a:pt x="755" y="695"/>
                      </a:lnTo>
                      <a:lnTo>
                        <a:pt x="740" y="691"/>
                      </a:lnTo>
                      <a:lnTo>
                        <a:pt x="727" y="687"/>
                      </a:lnTo>
                      <a:lnTo>
                        <a:pt x="712" y="682"/>
                      </a:lnTo>
                      <a:lnTo>
                        <a:pt x="699" y="675"/>
                      </a:lnTo>
                      <a:lnTo>
                        <a:pt x="685" y="669"/>
                      </a:lnTo>
                      <a:lnTo>
                        <a:pt x="673" y="662"/>
                      </a:lnTo>
                      <a:lnTo>
                        <a:pt x="660" y="654"/>
                      </a:lnTo>
                      <a:lnTo>
                        <a:pt x="648" y="645"/>
                      </a:lnTo>
                      <a:lnTo>
                        <a:pt x="637" y="635"/>
                      </a:lnTo>
                      <a:lnTo>
                        <a:pt x="614" y="615"/>
                      </a:lnTo>
                      <a:lnTo>
                        <a:pt x="592" y="591"/>
                      </a:lnTo>
                      <a:lnTo>
                        <a:pt x="572" y="567"/>
                      </a:lnTo>
                      <a:lnTo>
                        <a:pt x="553" y="540"/>
                      </a:lnTo>
                      <a:lnTo>
                        <a:pt x="535" y="512"/>
                      </a:lnTo>
                      <a:lnTo>
                        <a:pt x="517" y="483"/>
                      </a:lnTo>
                      <a:lnTo>
                        <a:pt x="500" y="453"/>
                      </a:lnTo>
                      <a:lnTo>
                        <a:pt x="484" y="422"/>
                      </a:lnTo>
                      <a:lnTo>
                        <a:pt x="453" y="358"/>
                      </a:lnTo>
                      <a:lnTo>
                        <a:pt x="395" y="234"/>
                      </a:lnTo>
                      <a:lnTo>
                        <a:pt x="366" y="177"/>
                      </a:lnTo>
                      <a:lnTo>
                        <a:pt x="351" y="150"/>
                      </a:lnTo>
                      <a:lnTo>
                        <a:pt x="337" y="125"/>
                      </a:lnTo>
                      <a:lnTo>
                        <a:pt x="322" y="102"/>
                      </a:lnTo>
                      <a:lnTo>
                        <a:pt x="306" y="82"/>
                      </a:lnTo>
                      <a:lnTo>
                        <a:pt x="291" y="64"/>
                      </a:lnTo>
                      <a:lnTo>
                        <a:pt x="275" y="48"/>
                      </a:lnTo>
                      <a:lnTo>
                        <a:pt x="266" y="41"/>
                      </a:lnTo>
                      <a:lnTo>
                        <a:pt x="257" y="36"/>
                      </a:lnTo>
                      <a:lnTo>
                        <a:pt x="248" y="30"/>
                      </a:lnTo>
                      <a:lnTo>
                        <a:pt x="239" y="26"/>
                      </a:lnTo>
                      <a:lnTo>
                        <a:pt x="230" y="22"/>
                      </a:lnTo>
                      <a:lnTo>
                        <a:pt x="221" y="20"/>
                      </a:lnTo>
                      <a:lnTo>
                        <a:pt x="211" y="19"/>
                      </a:lnTo>
                      <a:lnTo>
                        <a:pt x="201" y="18"/>
                      </a:lnTo>
                      <a:lnTo>
                        <a:pt x="190" y="19"/>
                      </a:lnTo>
                      <a:lnTo>
                        <a:pt x="178" y="20"/>
                      </a:lnTo>
                      <a:lnTo>
                        <a:pt x="167" y="23"/>
                      </a:lnTo>
                      <a:lnTo>
                        <a:pt x="157" y="28"/>
                      </a:lnTo>
                      <a:lnTo>
                        <a:pt x="147" y="32"/>
                      </a:lnTo>
                      <a:lnTo>
                        <a:pt x="137" y="39"/>
                      </a:lnTo>
                      <a:lnTo>
                        <a:pt x="127" y="46"/>
                      </a:lnTo>
                      <a:lnTo>
                        <a:pt x="117" y="55"/>
                      </a:lnTo>
                      <a:lnTo>
                        <a:pt x="108" y="64"/>
                      </a:lnTo>
                      <a:lnTo>
                        <a:pt x="99" y="74"/>
                      </a:lnTo>
                      <a:lnTo>
                        <a:pt x="79" y="96"/>
                      </a:lnTo>
                      <a:lnTo>
                        <a:pt x="63" y="122"/>
                      </a:lnTo>
                      <a:lnTo>
                        <a:pt x="45" y="151"/>
                      </a:lnTo>
                      <a:lnTo>
                        <a:pt x="34" y="134"/>
                      </a:lnTo>
                      <a:lnTo>
                        <a:pt x="23" y="120"/>
                      </a:lnTo>
                      <a:lnTo>
                        <a:pt x="0" y="91"/>
                      </a:lnTo>
                      <a:lnTo>
                        <a:pt x="21" y="71"/>
                      </a:lnTo>
                      <a:lnTo>
                        <a:pt x="43" y="53"/>
                      </a:lnTo>
                      <a:lnTo>
                        <a:pt x="66" y="37"/>
                      </a:lnTo>
                      <a:lnTo>
                        <a:pt x="78" y="30"/>
                      </a:lnTo>
                      <a:lnTo>
                        <a:pt x="91" y="23"/>
                      </a:lnTo>
                      <a:lnTo>
                        <a:pt x="103" y="18"/>
                      </a:lnTo>
                      <a:lnTo>
                        <a:pt x="115" y="13"/>
                      </a:lnTo>
                      <a:lnTo>
                        <a:pt x="129" y="9"/>
                      </a:lnTo>
                      <a:lnTo>
                        <a:pt x="142" y="6"/>
                      </a:lnTo>
                      <a:lnTo>
                        <a:pt x="157" y="3"/>
                      </a:lnTo>
                      <a:lnTo>
                        <a:pt x="172" y="1"/>
                      </a:lnTo>
                      <a:lnTo>
                        <a:pt x="186" y="0"/>
                      </a:lnTo>
                      <a:lnTo>
                        <a:pt x="201" y="0"/>
                      </a:lnTo>
                      <a:lnTo>
                        <a:pt x="218" y="1"/>
                      </a:lnTo>
                      <a:lnTo>
                        <a:pt x="233" y="2"/>
                      </a:lnTo>
                      <a:lnTo>
                        <a:pt x="248" y="4"/>
                      </a:lnTo>
                      <a:lnTo>
                        <a:pt x="263" y="8"/>
                      </a:lnTo>
                      <a:lnTo>
                        <a:pt x="277" y="12"/>
                      </a:lnTo>
                      <a:lnTo>
                        <a:pt x="292" y="18"/>
                      </a:lnTo>
                      <a:lnTo>
                        <a:pt x="305" y="23"/>
                      </a:lnTo>
                      <a:lnTo>
                        <a:pt x="318" y="30"/>
                      </a:lnTo>
                      <a:lnTo>
                        <a:pt x="331" y="38"/>
                      </a:lnTo>
                      <a:lnTo>
                        <a:pt x="344" y="46"/>
                      </a:lnTo>
                      <a:lnTo>
                        <a:pt x="356" y="55"/>
                      </a:lnTo>
                      <a:lnTo>
                        <a:pt x="367" y="64"/>
                      </a:lnTo>
                      <a:lnTo>
                        <a:pt x="390" y="85"/>
                      </a:lnTo>
                      <a:lnTo>
                        <a:pt x="412" y="107"/>
                      </a:lnTo>
                      <a:lnTo>
                        <a:pt x="432" y="132"/>
                      </a:lnTo>
                      <a:lnTo>
                        <a:pt x="451" y="159"/>
                      </a:lnTo>
                      <a:lnTo>
                        <a:pt x="469" y="187"/>
                      </a:lnTo>
                      <a:lnTo>
                        <a:pt x="487" y="216"/>
                      </a:lnTo>
                      <a:lnTo>
                        <a:pt x="504" y="246"/>
                      </a:lnTo>
                      <a:lnTo>
                        <a:pt x="520" y="278"/>
                      </a:lnTo>
                      <a:lnTo>
                        <a:pt x="550" y="342"/>
                      </a:lnTo>
                      <a:lnTo>
                        <a:pt x="608" y="466"/>
                      </a:lnTo>
                      <a:lnTo>
                        <a:pt x="622" y="495"/>
                      </a:lnTo>
                      <a:lnTo>
                        <a:pt x="636" y="523"/>
                      </a:lnTo>
                      <a:lnTo>
                        <a:pt x="650" y="550"/>
                      </a:lnTo>
                      <a:lnTo>
                        <a:pt x="665" y="575"/>
                      </a:lnTo>
                      <a:lnTo>
                        <a:pt x="680" y="597"/>
                      </a:lnTo>
                      <a:lnTo>
                        <a:pt x="695" y="618"/>
                      </a:lnTo>
                      <a:lnTo>
                        <a:pt x="711" y="636"/>
                      </a:lnTo>
                      <a:lnTo>
                        <a:pt x="728" y="652"/>
                      </a:lnTo>
                      <a:lnTo>
                        <a:pt x="737" y="659"/>
                      </a:lnTo>
                      <a:lnTo>
                        <a:pt x="745" y="664"/>
                      </a:lnTo>
                      <a:lnTo>
                        <a:pt x="754" y="669"/>
                      </a:lnTo>
                      <a:lnTo>
                        <a:pt x="763" y="673"/>
                      </a:lnTo>
                      <a:lnTo>
                        <a:pt x="773" y="677"/>
                      </a:lnTo>
                      <a:lnTo>
                        <a:pt x="782" y="679"/>
                      </a:lnTo>
                      <a:lnTo>
                        <a:pt x="792" y="681"/>
                      </a:lnTo>
                      <a:lnTo>
                        <a:pt x="802" y="6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84">
                  <a:extLst>
                    <a:ext uri="{FF2B5EF4-FFF2-40B4-BE49-F238E27FC236}">
                      <a16:creationId xmlns:a16="http://schemas.microsoft.com/office/drawing/2014/main" id="{0B67FD85-6B5D-4EAA-97F9-EC5934BA4F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9801" y="4779687"/>
                  <a:ext cx="278385" cy="146457"/>
                </a:xfrm>
                <a:custGeom>
                  <a:avLst/>
                  <a:gdLst>
                    <a:gd name="T0" fmla="*/ 45 w 201"/>
                    <a:gd name="T1" fmla="*/ 150 h 150"/>
                    <a:gd name="T2" fmla="*/ 45 w 201"/>
                    <a:gd name="T3" fmla="*/ 150 h 150"/>
                    <a:gd name="T4" fmla="*/ 62 w 201"/>
                    <a:gd name="T5" fmla="*/ 122 h 150"/>
                    <a:gd name="T6" fmla="*/ 80 w 201"/>
                    <a:gd name="T7" fmla="*/ 97 h 150"/>
                    <a:gd name="T8" fmla="*/ 98 w 201"/>
                    <a:gd name="T9" fmla="*/ 74 h 150"/>
                    <a:gd name="T10" fmla="*/ 108 w 201"/>
                    <a:gd name="T11" fmla="*/ 64 h 150"/>
                    <a:gd name="T12" fmla="*/ 117 w 201"/>
                    <a:gd name="T13" fmla="*/ 55 h 150"/>
                    <a:gd name="T14" fmla="*/ 127 w 201"/>
                    <a:gd name="T15" fmla="*/ 46 h 150"/>
                    <a:gd name="T16" fmla="*/ 137 w 201"/>
                    <a:gd name="T17" fmla="*/ 40 h 150"/>
                    <a:gd name="T18" fmla="*/ 147 w 201"/>
                    <a:gd name="T19" fmla="*/ 33 h 150"/>
                    <a:gd name="T20" fmla="*/ 157 w 201"/>
                    <a:gd name="T21" fmla="*/ 27 h 150"/>
                    <a:gd name="T22" fmla="*/ 167 w 201"/>
                    <a:gd name="T23" fmla="*/ 24 h 150"/>
                    <a:gd name="T24" fmla="*/ 179 w 201"/>
                    <a:gd name="T25" fmla="*/ 21 h 150"/>
                    <a:gd name="T26" fmla="*/ 190 w 201"/>
                    <a:gd name="T27" fmla="*/ 18 h 150"/>
                    <a:gd name="T28" fmla="*/ 201 w 201"/>
                    <a:gd name="T29" fmla="*/ 18 h 150"/>
                    <a:gd name="T30" fmla="*/ 201 w 201"/>
                    <a:gd name="T31" fmla="*/ 0 h 150"/>
                    <a:gd name="T32" fmla="*/ 201 w 201"/>
                    <a:gd name="T33" fmla="*/ 0 h 150"/>
                    <a:gd name="T34" fmla="*/ 186 w 201"/>
                    <a:gd name="T35" fmla="*/ 0 h 150"/>
                    <a:gd name="T36" fmla="*/ 171 w 201"/>
                    <a:gd name="T37" fmla="*/ 1 h 150"/>
                    <a:gd name="T38" fmla="*/ 157 w 201"/>
                    <a:gd name="T39" fmla="*/ 4 h 150"/>
                    <a:gd name="T40" fmla="*/ 143 w 201"/>
                    <a:gd name="T41" fmla="*/ 6 h 150"/>
                    <a:gd name="T42" fmla="*/ 129 w 201"/>
                    <a:gd name="T43" fmla="*/ 9 h 150"/>
                    <a:gd name="T44" fmla="*/ 116 w 201"/>
                    <a:gd name="T45" fmla="*/ 14 h 150"/>
                    <a:gd name="T46" fmla="*/ 103 w 201"/>
                    <a:gd name="T47" fmla="*/ 18 h 150"/>
                    <a:gd name="T48" fmla="*/ 91 w 201"/>
                    <a:gd name="T49" fmla="*/ 24 h 150"/>
                    <a:gd name="T50" fmla="*/ 78 w 201"/>
                    <a:gd name="T51" fmla="*/ 31 h 150"/>
                    <a:gd name="T52" fmla="*/ 66 w 201"/>
                    <a:gd name="T53" fmla="*/ 37 h 150"/>
                    <a:gd name="T54" fmla="*/ 43 w 201"/>
                    <a:gd name="T55" fmla="*/ 53 h 150"/>
                    <a:gd name="T56" fmla="*/ 21 w 201"/>
                    <a:gd name="T57" fmla="*/ 71 h 150"/>
                    <a:gd name="T58" fmla="*/ 0 w 201"/>
                    <a:gd name="T59" fmla="*/ 91 h 150"/>
                    <a:gd name="T60" fmla="*/ 0 w 201"/>
                    <a:gd name="T61" fmla="*/ 91 h 150"/>
                    <a:gd name="T62" fmla="*/ 23 w 201"/>
                    <a:gd name="T63" fmla="*/ 119 h 150"/>
                    <a:gd name="T64" fmla="*/ 34 w 201"/>
                    <a:gd name="T65" fmla="*/ 135 h 150"/>
                    <a:gd name="T66" fmla="*/ 45 w 201"/>
                    <a:gd name="T67" fmla="*/ 150 h 150"/>
                    <a:gd name="T68" fmla="*/ 45 w 201"/>
                    <a:gd name="T69" fmla="*/ 150 h 1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01" h="150">
                      <a:moveTo>
                        <a:pt x="45" y="150"/>
                      </a:moveTo>
                      <a:lnTo>
                        <a:pt x="45" y="150"/>
                      </a:lnTo>
                      <a:lnTo>
                        <a:pt x="62" y="122"/>
                      </a:lnTo>
                      <a:lnTo>
                        <a:pt x="80" y="97"/>
                      </a:lnTo>
                      <a:lnTo>
                        <a:pt x="98" y="74"/>
                      </a:lnTo>
                      <a:lnTo>
                        <a:pt x="108" y="64"/>
                      </a:lnTo>
                      <a:lnTo>
                        <a:pt x="117" y="55"/>
                      </a:lnTo>
                      <a:lnTo>
                        <a:pt x="127" y="46"/>
                      </a:lnTo>
                      <a:lnTo>
                        <a:pt x="137" y="40"/>
                      </a:lnTo>
                      <a:lnTo>
                        <a:pt x="147" y="33"/>
                      </a:lnTo>
                      <a:lnTo>
                        <a:pt x="157" y="27"/>
                      </a:lnTo>
                      <a:lnTo>
                        <a:pt x="167" y="24"/>
                      </a:lnTo>
                      <a:lnTo>
                        <a:pt x="179" y="21"/>
                      </a:lnTo>
                      <a:lnTo>
                        <a:pt x="190" y="18"/>
                      </a:lnTo>
                      <a:lnTo>
                        <a:pt x="201" y="18"/>
                      </a:lnTo>
                      <a:lnTo>
                        <a:pt x="201" y="0"/>
                      </a:lnTo>
                      <a:lnTo>
                        <a:pt x="186" y="0"/>
                      </a:lnTo>
                      <a:lnTo>
                        <a:pt x="171" y="1"/>
                      </a:lnTo>
                      <a:lnTo>
                        <a:pt x="157" y="4"/>
                      </a:lnTo>
                      <a:lnTo>
                        <a:pt x="143" y="6"/>
                      </a:lnTo>
                      <a:lnTo>
                        <a:pt x="129" y="9"/>
                      </a:lnTo>
                      <a:lnTo>
                        <a:pt x="116" y="14"/>
                      </a:lnTo>
                      <a:lnTo>
                        <a:pt x="103" y="18"/>
                      </a:lnTo>
                      <a:lnTo>
                        <a:pt x="91" y="24"/>
                      </a:lnTo>
                      <a:lnTo>
                        <a:pt x="78" y="31"/>
                      </a:lnTo>
                      <a:lnTo>
                        <a:pt x="66" y="37"/>
                      </a:lnTo>
                      <a:lnTo>
                        <a:pt x="43" y="53"/>
                      </a:lnTo>
                      <a:lnTo>
                        <a:pt x="21" y="71"/>
                      </a:lnTo>
                      <a:lnTo>
                        <a:pt x="0" y="91"/>
                      </a:lnTo>
                      <a:lnTo>
                        <a:pt x="23" y="119"/>
                      </a:lnTo>
                      <a:lnTo>
                        <a:pt x="34" y="135"/>
                      </a:lnTo>
                      <a:lnTo>
                        <a:pt x="45" y="1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86">
                  <a:extLst>
                    <a:ext uri="{FF2B5EF4-FFF2-40B4-BE49-F238E27FC236}">
                      <a16:creationId xmlns:a16="http://schemas.microsoft.com/office/drawing/2014/main" id="{179E81EB-66D2-471A-9E19-A55E74035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414" y="4774805"/>
                  <a:ext cx="1120462" cy="614146"/>
                </a:xfrm>
                <a:custGeom>
                  <a:avLst/>
                  <a:gdLst>
                    <a:gd name="T0" fmla="*/ 0 w 809"/>
                    <a:gd name="T1" fmla="*/ 384 h 629"/>
                    <a:gd name="T2" fmla="*/ 49 w 809"/>
                    <a:gd name="T3" fmla="*/ 487 h 629"/>
                    <a:gd name="T4" fmla="*/ 71 w 809"/>
                    <a:gd name="T5" fmla="*/ 449 h 629"/>
                    <a:gd name="T6" fmla="*/ 113 w 809"/>
                    <a:gd name="T7" fmla="*/ 371 h 629"/>
                    <a:gd name="T8" fmla="*/ 170 w 809"/>
                    <a:gd name="T9" fmla="*/ 252 h 629"/>
                    <a:gd name="T10" fmla="*/ 208 w 809"/>
                    <a:gd name="T11" fmla="*/ 179 h 629"/>
                    <a:gd name="T12" fmla="*/ 246 w 809"/>
                    <a:gd name="T13" fmla="*/ 114 h 629"/>
                    <a:gd name="T14" fmla="*/ 265 w 809"/>
                    <a:gd name="T15" fmla="*/ 87 h 629"/>
                    <a:gd name="T16" fmla="*/ 287 w 809"/>
                    <a:gd name="T17" fmla="*/ 64 h 629"/>
                    <a:gd name="T18" fmla="*/ 308 w 809"/>
                    <a:gd name="T19" fmla="*/ 45 h 629"/>
                    <a:gd name="T20" fmla="*/ 331 w 809"/>
                    <a:gd name="T21" fmla="*/ 30 h 629"/>
                    <a:gd name="T22" fmla="*/ 354 w 809"/>
                    <a:gd name="T23" fmla="*/ 21 h 629"/>
                    <a:gd name="T24" fmla="*/ 380 w 809"/>
                    <a:gd name="T25" fmla="*/ 19 h 629"/>
                    <a:gd name="T26" fmla="*/ 380 w 809"/>
                    <a:gd name="T27" fmla="*/ 19 h 629"/>
                    <a:gd name="T28" fmla="*/ 412 w 809"/>
                    <a:gd name="T29" fmla="*/ 23 h 629"/>
                    <a:gd name="T30" fmla="*/ 441 w 809"/>
                    <a:gd name="T31" fmla="*/ 38 h 629"/>
                    <a:gd name="T32" fmla="*/ 468 w 809"/>
                    <a:gd name="T33" fmla="*/ 60 h 629"/>
                    <a:gd name="T34" fmla="*/ 494 w 809"/>
                    <a:gd name="T35" fmla="*/ 91 h 629"/>
                    <a:gd name="T36" fmla="*/ 517 w 809"/>
                    <a:gd name="T37" fmla="*/ 126 h 629"/>
                    <a:gd name="T38" fmla="*/ 541 w 809"/>
                    <a:gd name="T39" fmla="*/ 167 h 629"/>
                    <a:gd name="T40" fmla="*/ 587 w 809"/>
                    <a:gd name="T41" fmla="*/ 260 h 629"/>
                    <a:gd name="T42" fmla="*/ 658 w 809"/>
                    <a:gd name="T43" fmla="*/ 412 h 629"/>
                    <a:gd name="T44" fmla="*/ 697 w 809"/>
                    <a:gd name="T45" fmla="*/ 486 h 629"/>
                    <a:gd name="T46" fmla="*/ 725 w 809"/>
                    <a:gd name="T47" fmla="*/ 532 h 629"/>
                    <a:gd name="T48" fmla="*/ 757 w 809"/>
                    <a:gd name="T49" fmla="*/ 574 h 629"/>
                    <a:gd name="T50" fmla="*/ 790 w 809"/>
                    <a:gd name="T51" fmla="*/ 613 h 629"/>
                    <a:gd name="T52" fmla="*/ 809 w 809"/>
                    <a:gd name="T53" fmla="*/ 510 h 629"/>
                    <a:gd name="T54" fmla="*/ 790 w 809"/>
                    <a:gd name="T55" fmla="*/ 471 h 629"/>
                    <a:gd name="T56" fmla="*/ 732 w 809"/>
                    <a:gd name="T57" fmla="*/ 346 h 629"/>
                    <a:gd name="T58" fmla="*/ 690 w 809"/>
                    <a:gd name="T59" fmla="*/ 261 h 629"/>
                    <a:gd name="T60" fmla="*/ 644 w 809"/>
                    <a:gd name="T61" fmla="*/ 181 h 629"/>
                    <a:gd name="T62" fmla="*/ 618 w 809"/>
                    <a:gd name="T63" fmla="*/ 144 h 629"/>
                    <a:gd name="T64" fmla="*/ 591 w 809"/>
                    <a:gd name="T65" fmla="*/ 110 h 629"/>
                    <a:gd name="T66" fmla="*/ 562 w 809"/>
                    <a:gd name="T67" fmla="*/ 79 h 629"/>
                    <a:gd name="T68" fmla="*/ 532 w 809"/>
                    <a:gd name="T69" fmla="*/ 52 h 629"/>
                    <a:gd name="T70" fmla="*/ 498 w 809"/>
                    <a:gd name="T71" fmla="*/ 31 h 629"/>
                    <a:gd name="T72" fmla="*/ 461 w 809"/>
                    <a:gd name="T73" fmla="*/ 14 h 629"/>
                    <a:gd name="T74" fmla="*/ 423 w 809"/>
                    <a:gd name="T75" fmla="*/ 4 h 629"/>
                    <a:gd name="T76" fmla="*/ 380 w 809"/>
                    <a:gd name="T77" fmla="*/ 0 h 629"/>
                    <a:gd name="T78" fmla="*/ 380 w 809"/>
                    <a:gd name="T79" fmla="*/ 1 h 629"/>
                    <a:gd name="T80" fmla="*/ 345 w 809"/>
                    <a:gd name="T81" fmla="*/ 2 h 629"/>
                    <a:gd name="T82" fmla="*/ 313 w 809"/>
                    <a:gd name="T83" fmla="*/ 9 h 629"/>
                    <a:gd name="T84" fmla="*/ 282 w 809"/>
                    <a:gd name="T85" fmla="*/ 20 h 629"/>
                    <a:gd name="T86" fmla="*/ 253 w 809"/>
                    <a:gd name="T87" fmla="*/ 33 h 629"/>
                    <a:gd name="T88" fmla="*/ 225 w 809"/>
                    <a:gd name="T89" fmla="*/ 51 h 629"/>
                    <a:gd name="T90" fmla="*/ 199 w 809"/>
                    <a:gd name="T91" fmla="*/ 73 h 629"/>
                    <a:gd name="T92" fmla="*/ 176 w 809"/>
                    <a:gd name="T93" fmla="*/ 96 h 629"/>
                    <a:gd name="T94" fmla="*/ 129 w 809"/>
                    <a:gd name="T95" fmla="*/ 151 h 629"/>
                    <a:gd name="T96" fmla="*/ 89 w 809"/>
                    <a:gd name="T97" fmla="*/ 214 h 629"/>
                    <a:gd name="T98" fmla="*/ 52 w 809"/>
                    <a:gd name="T99" fmla="*/ 280 h 629"/>
                    <a:gd name="T100" fmla="*/ 0 w 809"/>
                    <a:gd name="T101" fmla="*/ 384 h 62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809" h="629">
                      <a:moveTo>
                        <a:pt x="0" y="384"/>
                      </a:moveTo>
                      <a:lnTo>
                        <a:pt x="0" y="384"/>
                      </a:lnTo>
                      <a:lnTo>
                        <a:pt x="24" y="437"/>
                      </a:lnTo>
                      <a:lnTo>
                        <a:pt x="49" y="487"/>
                      </a:lnTo>
                      <a:lnTo>
                        <a:pt x="71" y="449"/>
                      </a:lnTo>
                      <a:lnTo>
                        <a:pt x="92" y="411"/>
                      </a:lnTo>
                      <a:lnTo>
                        <a:pt x="113" y="371"/>
                      </a:lnTo>
                      <a:lnTo>
                        <a:pt x="133" y="330"/>
                      </a:lnTo>
                      <a:lnTo>
                        <a:pt x="170" y="252"/>
                      </a:lnTo>
                      <a:lnTo>
                        <a:pt x="189" y="215"/>
                      </a:lnTo>
                      <a:lnTo>
                        <a:pt x="208" y="179"/>
                      </a:lnTo>
                      <a:lnTo>
                        <a:pt x="227" y="145"/>
                      </a:lnTo>
                      <a:lnTo>
                        <a:pt x="246" y="114"/>
                      </a:lnTo>
                      <a:lnTo>
                        <a:pt x="256" y="101"/>
                      </a:lnTo>
                      <a:lnTo>
                        <a:pt x="265" y="87"/>
                      </a:lnTo>
                      <a:lnTo>
                        <a:pt x="277" y="75"/>
                      </a:lnTo>
                      <a:lnTo>
                        <a:pt x="287" y="64"/>
                      </a:lnTo>
                      <a:lnTo>
                        <a:pt x="297" y="54"/>
                      </a:lnTo>
                      <a:lnTo>
                        <a:pt x="308" y="45"/>
                      </a:lnTo>
                      <a:lnTo>
                        <a:pt x="319" y="37"/>
                      </a:lnTo>
                      <a:lnTo>
                        <a:pt x="331" y="30"/>
                      </a:lnTo>
                      <a:lnTo>
                        <a:pt x="343" y="26"/>
                      </a:lnTo>
                      <a:lnTo>
                        <a:pt x="354" y="21"/>
                      </a:lnTo>
                      <a:lnTo>
                        <a:pt x="368" y="19"/>
                      </a:lnTo>
                      <a:lnTo>
                        <a:pt x="380" y="19"/>
                      </a:lnTo>
                      <a:lnTo>
                        <a:pt x="396" y="20"/>
                      </a:lnTo>
                      <a:lnTo>
                        <a:pt x="412" y="23"/>
                      </a:lnTo>
                      <a:lnTo>
                        <a:pt x="426" y="30"/>
                      </a:lnTo>
                      <a:lnTo>
                        <a:pt x="441" y="38"/>
                      </a:lnTo>
                      <a:lnTo>
                        <a:pt x="454" y="49"/>
                      </a:lnTo>
                      <a:lnTo>
                        <a:pt x="468" y="60"/>
                      </a:lnTo>
                      <a:lnTo>
                        <a:pt x="481" y="75"/>
                      </a:lnTo>
                      <a:lnTo>
                        <a:pt x="494" y="91"/>
                      </a:lnTo>
                      <a:lnTo>
                        <a:pt x="506" y="107"/>
                      </a:lnTo>
                      <a:lnTo>
                        <a:pt x="517" y="126"/>
                      </a:lnTo>
                      <a:lnTo>
                        <a:pt x="530" y="147"/>
                      </a:lnTo>
                      <a:lnTo>
                        <a:pt x="541" y="167"/>
                      </a:lnTo>
                      <a:lnTo>
                        <a:pt x="563" y="212"/>
                      </a:lnTo>
                      <a:lnTo>
                        <a:pt x="587" y="260"/>
                      </a:lnTo>
                      <a:lnTo>
                        <a:pt x="633" y="361"/>
                      </a:lnTo>
                      <a:lnTo>
                        <a:pt x="658" y="412"/>
                      </a:lnTo>
                      <a:lnTo>
                        <a:pt x="684" y="461"/>
                      </a:lnTo>
                      <a:lnTo>
                        <a:pt x="697" y="486"/>
                      </a:lnTo>
                      <a:lnTo>
                        <a:pt x="710" y="510"/>
                      </a:lnTo>
                      <a:lnTo>
                        <a:pt x="725" y="532"/>
                      </a:lnTo>
                      <a:lnTo>
                        <a:pt x="741" y="554"/>
                      </a:lnTo>
                      <a:lnTo>
                        <a:pt x="757" y="574"/>
                      </a:lnTo>
                      <a:lnTo>
                        <a:pt x="773" y="595"/>
                      </a:lnTo>
                      <a:lnTo>
                        <a:pt x="790" y="613"/>
                      </a:lnTo>
                      <a:lnTo>
                        <a:pt x="808" y="629"/>
                      </a:lnTo>
                      <a:lnTo>
                        <a:pt x="809" y="510"/>
                      </a:lnTo>
                      <a:lnTo>
                        <a:pt x="790" y="471"/>
                      </a:lnTo>
                      <a:lnTo>
                        <a:pt x="771" y="431"/>
                      </a:lnTo>
                      <a:lnTo>
                        <a:pt x="732" y="346"/>
                      </a:lnTo>
                      <a:lnTo>
                        <a:pt x="712" y="303"/>
                      </a:lnTo>
                      <a:lnTo>
                        <a:pt x="690" y="261"/>
                      </a:lnTo>
                      <a:lnTo>
                        <a:pt x="668" y="220"/>
                      </a:lnTo>
                      <a:lnTo>
                        <a:pt x="644" y="181"/>
                      </a:lnTo>
                      <a:lnTo>
                        <a:pt x="632" y="162"/>
                      </a:lnTo>
                      <a:lnTo>
                        <a:pt x="618" y="144"/>
                      </a:lnTo>
                      <a:lnTo>
                        <a:pt x="605" y="126"/>
                      </a:lnTo>
                      <a:lnTo>
                        <a:pt x="591" y="110"/>
                      </a:lnTo>
                      <a:lnTo>
                        <a:pt x="578" y="94"/>
                      </a:lnTo>
                      <a:lnTo>
                        <a:pt x="562" y="79"/>
                      </a:lnTo>
                      <a:lnTo>
                        <a:pt x="548" y="66"/>
                      </a:lnTo>
                      <a:lnTo>
                        <a:pt x="532" y="52"/>
                      </a:lnTo>
                      <a:lnTo>
                        <a:pt x="515" y="41"/>
                      </a:lnTo>
                      <a:lnTo>
                        <a:pt x="498" y="31"/>
                      </a:lnTo>
                      <a:lnTo>
                        <a:pt x="480" y="22"/>
                      </a:lnTo>
                      <a:lnTo>
                        <a:pt x="461" y="14"/>
                      </a:lnTo>
                      <a:lnTo>
                        <a:pt x="442" y="9"/>
                      </a:lnTo>
                      <a:lnTo>
                        <a:pt x="423" y="4"/>
                      </a:lnTo>
                      <a:lnTo>
                        <a:pt x="401" y="1"/>
                      </a:lnTo>
                      <a:lnTo>
                        <a:pt x="380" y="0"/>
                      </a:lnTo>
                      <a:lnTo>
                        <a:pt x="380" y="1"/>
                      </a:lnTo>
                      <a:lnTo>
                        <a:pt x="363" y="1"/>
                      </a:lnTo>
                      <a:lnTo>
                        <a:pt x="345" y="2"/>
                      </a:lnTo>
                      <a:lnTo>
                        <a:pt x="329" y="5"/>
                      </a:lnTo>
                      <a:lnTo>
                        <a:pt x="313" y="9"/>
                      </a:lnTo>
                      <a:lnTo>
                        <a:pt x="297" y="13"/>
                      </a:lnTo>
                      <a:lnTo>
                        <a:pt x="282" y="20"/>
                      </a:lnTo>
                      <a:lnTo>
                        <a:pt x="268" y="27"/>
                      </a:lnTo>
                      <a:lnTo>
                        <a:pt x="253" y="33"/>
                      </a:lnTo>
                      <a:lnTo>
                        <a:pt x="240" y="42"/>
                      </a:lnTo>
                      <a:lnTo>
                        <a:pt x="225" y="51"/>
                      </a:lnTo>
                      <a:lnTo>
                        <a:pt x="213" y="61"/>
                      </a:lnTo>
                      <a:lnTo>
                        <a:pt x="199" y="73"/>
                      </a:lnTo>
                      <a:lnTo>
                        <a:pt x="187" y="84"/>
                      </a:lnTo>
                      <a:lnTo>
                        <a:pt x="176" y="96"/>
                      </a:lnTo>
                      <a:lnTo>
                        <a:pt x="152" y="123"/>
                      </a:lnTo>
                      <a:lnTo>
                        <a:pt x="129" y="151"/>
                      </a:lnTo>
                      <a:lnTo>
                        <a:pt x="109" y="181"/>
                      </a:lnTo>
                      <a:lnTo>
                        <a:pt x="89" y="214"/>
                      </a:lnTo>
                      <a:lnTo>
                        <a:pt x="70" y="246"/>
                      </a:lnTo>
                      <a:lnTo>
                        <a:pt x="52" y="280"/>
                      </a:lnTo>
                      <a:lnTo>
                        <a:pt x="34" y="315"/>
                      </a:lnTo>
                      <a:lnTo>
                        <a:pt x="0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 87">
                  <a:extLst>
                    <a:ext uri="{FF2B5EF4-FFF2-40B4-BE49-F238E27FC236}">
                      <a16:creationId xmlns:a16="http://schemas.microsoft.com/office/drawing/2014/main" id="{87C48B27-1AB7-4CCC-B4B8-95E673383A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1756" y="4762070"/>
                  <a:ext cx="1119182" cy="683511"/>
                </a:xfrm>
                <a:custGeom>
                  <a:avLst/>
                  <a:gdLst>
                    <a:gd name="T0" fmla="*/ 789 w 977"/>
                    <a:gd name="T1" fmla="*/ 682 h 700"/>
                    <a:gd name="T2" fmla="*/ 821 w 977"/>
                    <a:gd name="T3" fmla="*/ 673 h 700"/>
                    <a:gd name="T4" fmla="*/ 850 w 977"/>
                    <a:gd name="T5" fmla="*/ 654 h 700"/>
                    <a:gd name="T6" fmla="*/ 880 w 977"/>
                    <a:gd name="T7" fmla="*/ 626 h 700"/>
                    <a:gd name="T8" fmla="*/ 932 w 977"/>
                    <a:gd name="T9" fmla="*/ 549 h 700"/>
                    <a:gd name="T10" fmla="*/ 977 w 977"/>
                    <a:gd name="T11" fmla="*/ 609 h 700"/>
                    <a:gd name="T12" fmla="*/ 935 w 977"/>
                    <a:gd name="T13" fmla="*/ 647 h 700"/>
                    <a:gd name="T14" fmla="*/ 887 w 977"/>
                    <a:gd name="T15" fmla="*/ 676 h 700"/>
                    <a:gd name="T16" fmla="*/ 848 w 977"/>
                    <a:gd name="T17" fmla="*/ 691 h 700"/>
                    <a:gd name="T18" fmla="*/ 807 w 977"/>
                    <a:gd name="T19" fmla="*/ 698 h 700"/>
                    <a:gd name="T20" fmla="*/ 776 w 977"/>
                    <a:gd name="T21" fmla="*/ 700 h 700"/>
                    <a:gd name="T22" fmla="*/ 729 w 977"/>
                    <a:gd name="T23" fmla="*/ 695 h 700"/>
                    <a:gd name="T24" fmla="*/ 686 w 977"/>
                    <a:gd name="T25" fmla="*/ 683 h 700"/>
                    <a:gd name="T26" fmla="*/ 647 w 977"/>
                    <a:gd name="T27" fmla="*/ 663 h 700"/>
                    <a:gd name="T28" fmla="*/ 610 w 977"/>
                    <a:gd name="T29" fmla="*/ 636 h 700"/>
                    <a:gd name="T30" fmla="*/ 546 w 977"/>
                    <a:gd name="T31" fmla="*/ 567 h 700"/>
                    <a:gd name="T32" fmla="*/ 491 w 977"/>
                    <a:gd name="T33" fmla="*/ 483 h 700"/>
                    <a:gd name="T34" fmla="*/ 427 w 977"/>
                    <a:gd name="T35" fmla="*/ 359 h 700"/>
                    <a:gd name="T36" fmla="*/ 341 w 977"/>
                    <a:gd name="T37" fmla="*/ 176 h 700"/>
                    <a:gd name="T38" fmla="*/ 297 w 977"/>
                    <a:gd name="T39" fmla="*/ 102 h 700"/>
                    <a:gd name="T40" fmla="*/ 250 w 977"/>
                    <a:gd name="T41" fmla="*/ 49 h 700"/>
                    <a:gd name="T42" fmla="*/ 223 w 977"/>
                    <a:gd name="T43" fmla="*/ 31 h 700"/>
                    <a:gd name="T44" fmla="*/ 195 w 977"/>
                    <a:gd name="T45" fmla="*/ 21 h 700"/>
                    <a:gd name="T46" fmla="*/ 175 w 977"/>
                    <a:gd name="T47" fmla="*/ 18 h 700"/>
                    <a:gd name="T48" fmla="*/ 137 w 977"/>
                    <a:gd name="T49" fmla="*/ 25 h 700"/>
                    <a:gd name="T50" fmla="*/ 102 w 977"/>
                    <a:gd name="T51" fmla="*/ 45 h 700"/>
                    <a:gd name="T52" fmla="*/ 69 w 977"/>
                    <a:gd name="T53" fmla="*/ 78 h 700"/>
                    <a:gd name="T54" fmla="*/ 39 w 977"/>
                    <a:gd name="T55" fmla="*/ 118 h 700"/>
                    <a:gd name="T56" fmla="*/ 1 w 977"/>
                    <a:gd name="T57" fmla="*/ 68 h 700"/>
                    <a:gd name="T58" fmla="*/ 39 w 977"/>
                    <a:gd name="T59" fmla="*/ 40 h 700"/>
                    <a:gd name="T60" fmla="*/ 103 w 977"/>
                    <a:gd name="T61" fmla="*/ 11 h 700"/>
                    <a:gd name="T62" fmla="*/ 176 w 977"/>
                    <a:gd name="T63" fmla="*/ 0 h 700"/>
                    <a:gd name="T64" fmla="*/ 207 w 977"/>
                    <a:gd name="T65" fmla="*/ 3 h 700"/>
                    <a:gd name="T66" fmla="*/ 251 w 977"/>
                    <a:gd name="T67" fmla="*/ 13 h 700"/>
                    <a:gd name="T68" fmla="*/ 292 w 977"/>
                    <a:gd name="T69" fmla="*/ 31 h 700"/>
                    <a:gd name="T70" fmla="*/ 329 w 977"/>
                    <a:gd name="T71" fmla="*/ 55 h 700"/>
                    <a:gd name="T72" fmla="*/ 385 w 977"/>
                    <a:gd name="T73" fmla="*/ 108 h 700"/>
                    <a:gd name="T74" fmla="*/ 443 w 977"/>
                    <a:gd name="T75" fmla="*/ 188 h 700"/>
                    <a:gd name="T76" fmla="*/ 494 w 977"/>
                    <a:gd name="T77" fmla="*/ 278 h 700"/>
                    <a:gd name="T78" fmla="*/ 611 w 977"/>
                    <a:gd name="T79" fmla="*/ 524 h 700"/>
                    <a:gd name="T80" fmla="*/ 656 w 977"/>
                    <a:gd name="T81" fmla="*/ 598 h 700"/>
                    <a:gd name="T82" fmla="*/ 703 w 977"/>
                    <a:gd name="T83" fmla="*/ 651 h 700"/>
                    <a:gd name="T84" fmla="*/ 729 w 977"/>
                    <a:gd name="T85" fmla="*/ 669 h 700"/>
                    <a:gd name="T86" fmla="*/ 757 w 977"/>
                    <a:gd name="T87" fmla="*/ 679 h 700"/>
                    <a:gd name="T88" fmla="*/ 776 w 977"/>
                    <a:gd name="T89" fmla="*/ 682 h 70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894 w 10000"/>
                    <a:gd name="connsiteY65" fmla="*/ 271 h 10000"/>
                    <a:gd name="connsiteX66" fmla="*/ 1791 w 10000"/>
                    <a:gd name="connsiteY66" fmla="*/ 257 h 10000"/>
                    <a:gd name="connsiteX67" fmla="*/ 1668 w 10000"/>
                    <a:gd name="connsiteY67" fmla="*/ 271 h 10000"/>
                    <a:gd name="connsiteX68" fmla="*/ 1525 w 10000"/>
                    <a:gd name="connsiteY68" fmla="*/ 314 h 10000"/>
                    <a:gd name="connsiteX69" fmla="*/ 1402 w 10000"/>
                    <a:gd name="connsiteY69" fmla="*/ 357 h 10000"/>
                    <a:gd name="connsiteX70" fmla="*/ 1279 w 10000"/>
                    <a:gd name="connsiteY70" fmla="*/ 443 h 10000"/>
                    <a:gd name="connsiteX71" fmla="*/ 1157 w 10000"/>
                    <a:gd name="connsiteY71" fmla="*/ 529 h 10000"/>
                    <a:gd name="connsiteX72" fmla="*/ 1044 w 10000"/>
                    <a:gd name="connsiteY72" fmla="*/ 643 h 10000"/>
                    <a:gd name="connsiteX73" fmla="*/ 931 w 10000"/>
                    <a:gd name="connsiteY73" fmla="*/ 786 h 10000"/>
                    <a:gd name="connsiteX74" fmla="*/ 809 w 10000"/>
                    <a:gd name="connsiteY74" fmla="*/ 929 h 10000"/>
                    <a:gd name="connsiteX75" fmla="*/ 706 w 10000"/>
                    <a:gd name="connsiteY75" fmla="*/ 1114 h 10000"/>
                    <a:gd name="connsiteX76" fmla="*/ 604 w 10000"/>
                    <a:gd name="connsiteY76" fmla="*/ 1286 h 10000"/>
                    <a:gd name="connsiteX77" fmla="*/ 491 w 10000"/>
                    <a:gd name="connsiteY77" fmla="*/ 1486 h 10000"/>
                    <a:gd name="connsiteX78" fmla="*/ 399 w 10000"/>
                    <a:gd name="connsiteY78" fmla="*/ 1686 h 10000"/>
                    <a:gd name="connsiteX79" fmla="*/ 194 w 10000"/>
                    <a:gd name="connsiteY79" fmla="*/ 2157 h 10000"/>
                    <a:gd name="connsiteX80" fmla="*/ 0 w 10000"/>
                    <a:gd name="connsiteY80" fmla="*/ 2643 h 10000"/>
                    <a:gd name="connsiteX81" fmla="*/ 10 w 10000"/>
                    <a:gd name="connsiteY81" fmla="*/ 971 h 10000"/>
                    <a:gd name="connsiteX82" fmla="*/ 205 w 10000"/>
                    <a:gd name="connsiteY82" fmla="*/ 757 h 10000"/>
                    <a:gd name="connsiteX83" fmla="*/ 399 w 10000"/>
                    <a:gd name="connsiteY83" fmla="*/ 571 h 10000"/>
                    <a:gd name="connsiteX84" fmla="*/ 604 w 10000"/>
                    <a:gd name="connsiteY84" fmla="*/ 386 h 10000"/>
                    <a:gd name="connsiteX85" fmla="*/ 819 w 10000"/>
                    <a:gd name="connsiteY85" fmla="*/ 257 h 10000"/>
                    <a:gd name="connsiteX86" fmla="*/ 1054 w 10000"/>
                    <a:gd name="connsiteY86" fmla="*/ 157 h 10000"/>
                    <a:gd name="connsiteX87" fmla="*/ 1300 w 10000"/>
                    <a:gd name="connsiteY87" fmla="*/ 71 h 10000"/>
                    <a:gd name="connsiteX88" fmla="*/ 1535 w 10000"/>
                    <a:gd name="connsiteY88" fmla="*/ 29 h 10000"/>
                    <a:gd name="connsiteX89" fmla="*/ 1801 w 10000"/>
                    <a:gd name="connsiteY89" fmla="*/ 0 h 10000"/>
                    <a:gd name="connsiteX90" fmla="*/ 1965 w 10000"/>
                    <a:gd name="connsiteY90" fmla="*/ 0 h 10000"/>
                    <a:gd name="connsiteX91" fmla="*/ 2119 w 10000"/>
                    <a:gd name="connsiteY91" fmla="*/ 43 h 10000"/>
                    <a:gd name="connsiteX92" fmla="*/ 2272 w 10000"/>
                    <a:gd name="connsiteY92" fmla="*/ 71 h 10000"/>
                    <a:gd name="connsiteX93" fmla="*/ 2426 w 10000"/>
                    <a:gd name="connsiteY93" fmla="*/ 114 h 10000"/>
                    <a:gd name="connsiteX94" fmla="*/ 2569 w 10000"/>
                    <a:gd name="connsiteY94" fmla="*/ 186 h 10000"/>
                    <a:gd name="connsiteX95" fmla="*/ 2712 w 10000"/>
                    <a:gd name="connsiteY95" fmla="*/ 257 h 10000"/>
                    <a:gd name="connsiteX96" fmla="*/ 2845 w 10000"/>
                    <a:gd name="connsiteY96" fmla="*/ 343 h 10000"/>
                    <a:gd name="connsiteX97" fmla="*/ 2989 w 10000"/>
                    <a:gd name="connsiteY97" fmla="*/ 443 h 10000"/>
                    <a:gd name="connsiteX98" fmla="*/ 3112 w 10000"/>
                    <a:gd name="connsiteY98" fmla="*/ 529 h 10000"/>
                    <a:gd name="connsiteX99" fmla="*/ 3234 w 10000"/>
                    <a:gd name="connsiteY99" fmla="*/ 657 h 10000"/>
                    <a:gd name="connsiteX100" fmla="*/ 3367 w 10000"/>
                    <a:gd name="connsiteY100" fmla="*/ 786 h 10000"/>
                    <a:gd name="connsiteX101" fmla="*/ 3490 w 10000"/>
                    <a:gd name="connsiteY101" fmla="*/ 914 h 10000"/>
                    <a:gd name="connsiteX102" fmla="*/ 3726 w 10000"/>
                    <a:gd name="connsiteY102" fmla="*/ 1200 h 10000"/>
                    <a:gd name="connsiteX103" fmla="*/ 3941 w 10000"/>
                    <a:gd name="connsiteY103" fmla="*/ 1543 h 10000"/>
                    <a:gd name="connsiteX104" fmla="*/ 4145 w 10000"/>
                    <a:gd name="connsiteY104" fmla="*/ 1900 h 10000"/>
                    <a:gd name="connsiteX105" fmla="*/ 4340 w 10000"/>
                    <a:gd name="connsiteY105" fmla="*/ 2286 h 10000"/>
                    <a:gd name="connsiteX106" fmla="*/ 4534 w 10000"/>
                    <a:gd name="connsiteY106" fmla="*/ 2686 h 10000"/>
                    <a:gd name="connsiteX107" fmla="*/ 4708 w 10000"/>
                    <a:gd name="connsiteY107" fmla="*/ 3100 h 10000"/>
                    <a:gd name="connsiteX108" fmla="*/ 4893 w 10000"/>
                    <a:gd name="connsiteY108" fmla="*/ 3529 h 10000"/>
                    <a:gd name="connsiteX109" fmla="*/ 5056 w 10000"/>
                    <a:gd name="connsiteY109" fmla="*/ 3971 h 10000"/>
                    <a:gd name="connsiteX110" fmla="*/ 5363 w 10000"/>
                    <a:gd name="connsiteY110" fmla="*/ 4871 h 10000"/>
                    <a:gd name="connsiteX111" fmla="*/ 5967 w 10000"/>
                    <a:gd name="connsiteY111" fmla="*/ 6657 h 10000"/>
                    <a:gd name="connsiteX112" fmla="*/ 6254 w 10000"/>
                    <a:gd name="connsiteY112" fmla="*/ 7486 h 10000"/>
                    <a:gd name="connsiteX113" fmla="*/ 6407 w 10000"/>
                    <a:gd name="connsiteY113" fmla="*/ 7843 h 10000"/>
                    <a:gd name="connsiteX114" fmla="*/ 6551 w 10000"/>
                    <a:gd name="connsiteY114" fmla="*/ 8214 h 10000"/>
                    <a:gd name="connsiteX115" fmla="*/ 6714 w 10000"/>
                    <a:gd name="connsiteY115" fmla="*/ 8543 h 10000"/>
                    <a:gd name="connsiteX116" fmla="*/ 6868 w 10000"/>
                    <a:gd name="connsiteY116" fmla="*/ 8829 h 10000"/>
                    <a:gd name="connsiteX117" fmla="*/ 7021 w 10000"/>
                    <a:gd name="connsiteY117" fmla="*/ 9100 h 10000"/>
                    <a:gd name="connsiteX118" fmla="*/ 7195 w 10000"/>
                    <a:gd name="connsiteY118" fmla="*/ 9300 h 10000"/>
                    <a:gd name="connsiteX119" fmla="*/ 7288 w 10000"/>
                    <a:gd name="connsiteY119" fmla="*/ 9400 h 10000"/>
                    <a:gd name="connsiteX120" fmla="*/ 7369 w 10000"/>
                    <a:gd name="connsiteY120" fmla="*/ 9500 h 10000"/>
                    <a:gd name="connsiteX121" fmla="*/ 7462 w 10000"/>
                    <a:gd name="connsiteY121" fmla="*/ 9557 h 10000"/>
                    <a:gd name="connsiteX122" fmla="*/ 7554 w 10000"/>
                    <a:gd name="connsiteY122" fmla="*/ 9629 h 10000"/>
                    <a:gd name="connsiteX123" fmla="*/ 7646 w 10000"/>
                    <a:gd name="connsiteY123" fmla="*/ 9671 h 10000"/>
                    <a:gd name="connsiteX124" fmla="*/ 7748 w 10000"/>
                    <a:gd name="connsiteY124" fmla="*/ 9700 h 10000"/>
                    <a:gd name="connsiteX125" fmla="*/ 7851 w 10000"/>
                    <a:gd name="connsiteY125" fmla="*/ 9743 h 10000"/>
                    <a:gd name="connsiteX126" fmla="*/ 7943 w 10000"/>
                    <a:gd name="connsiteY126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119 w 10000"/>
                    <a:gd name="connsiteY90" fmla="*/ 43 h 10000"/>
                    <a:gd name="connsiteX91" fmla="*/ 2272 w 10000"/>
                    <a:gd name="connsiteY91" fmla="*/ 71 h 10000"/>
                    <a:gd name="connsiteX92" fmla="*/ 2426 w 10000"/>
                    <a:gd name="connsiteY92" fmla="*/ 114 h 10000"/>
                    <a:gd name="connsiteX93" fmla="*/ 2569 w 10000"/>
                    <a:gd name="connsiteY93" fmla="*/ 186 h 10000"/>
                    <a:gd name="connsiteX94" fmla="*/ 2712 w 10000"/>
                    <a:gd name="connsiteY94" fmla="*/ 257 h 10000"/>
                    <a:gd name="connsiteX95" fmla="*/ 2845 w 10000"/>
                    <a:gd name="connsiteY95" fmla="*/ 343 h 10000"/>
                    <a:gd name="connsiteX96" fmla="*/ 2989 w 10000"/>
                    <a:gd name="connsiteY96" fmla="*/ 443 h 10000"/>
                    <a:gd name="connsiteX97" fmla="*/ 3112 w 10000"/>
                    <a:gd name="connsiteY97" fmla="*/ 529 h 10000"/>
                    <a:gd name="connsiteX98" fmla="*/ 3234 w 10000"/>
                    <a:gd name="connsiteY98" fmla="*/ 657 h 10000"/>
                    <a:gd name="connsiteX99" fmla="*/ 3367 w 10000"/>
                    <a:gd name="connsiteY99" fmla="*/ 786 h 10000"/>
                    <a:gd name="connsiteX100" fmla="*/ 3490 w 10000"/>
                    <a:gd name="connsiteY100" fmla="*/ 914 h 10000"/>
                    <a:gd name="connsiteX101" fmla="*/ 3726 w 10000"/>
                    <a:gd name="connsiteY101" fmla="*/ 1200 h 10000"/>
                    <a:gd name="connsiteX102" fmla="*/ 3941 w 10000"/>
                    <a:gd name="connsiteY102" fmla="*/ 1543 h 10000"/>
                    <a:gd name="connsiteX103" fmla="*/ 4145 w 10000"/>
                    <a:gd name="connsiteY103" fmla="*/ 1900 h 10000"/>
                    <a:gd name="connsiteX104" fmla="*/ 4340 w 10000"/>
                    <a:gd name="connsiteY104" fmla="*/ 2286 h 10000"/>
                    <a:gd name="connsiteX105" fmla="*/ 4534 w 10000"/>
                    <a:gd name="connsiteY105" fmla="*/ 2686 h 10000"/>
                    <a:gd name="connsiteX106" fmla="*/ 4708 w 10000"/>
                    <a:gd name="connsiteY106" fmla="*/ 3100 h 10000"/>
                    <a:gd name="connsiteX107" fmla="*/ 4893 w 10000"/>
                    <a:gd name="connsiteY107" fmla="*/ 3529 h 10000"/>
                    <a:gd name="connsiteX108" fmla="*/ 5056 w 10000"/>
                    <a:gd name="connsiteY108" fmla="*/ 3971 h 10000"/>
                    <a:gd name="connsiteX109" fmla="*/ 5363 w 10000"/>
                    <a:gd name="connsiteY109" fmla="*/ 4871 h 10000"/>
                    <a:gd name="connsiteX110" fmla="*/ 5967 w 10000"/>
                    <a:gd name="connsiteY110" fmla="*/ 6657 h 10000"/>
                    <a:gd name="connsiteX111" fmla="*/ 6254 w 10000"/>
                    <a:gd name="connsiteY111" fmla="*/ 7486 h 10000"/>
                    <a:gd name="connsiteX112" fmla="*/ 6407 w 10000"/>
                    <a:gd name="connsiteY112" fmla="*/ 7843 h 10000"/>
                    <a:gd name="connsiteX113" fmla="*/ 6551 w 10000"/>
                    <a:gd name="connsiteY113" fmla="*/ 8214 h 10000"/>
                    <a:gd name="connsiteX114" fmla="*/ 6714 w 10000"/>
                    <a:gd name="connsiteY114" fmla="*/ 8543 h 10000"/>
                    <a:gd name="connsiteX115" fmla="*/ 6868 w 10000"/>
                    <a:gd name="connsiteY115" fmla="*/ 8829 h 10000"/>
                    <a:gd name="connsiteX116" fmla="*/ 7021 w 10000"/>
                    <a:gd name="connsiteY116" fmla="*/ 9100 h 10000"/>
                    <a:gd name="connsiteX117" fmla="*/ 7195 w 10000"/>
                    <a:gd name="connsiteY117" fmla="*/ 9300 h 10000"/>
                    <a:gd name="connsiteX118" fmla="*/ 7288 w 10000"/>
                    <a:gd name="connsiteY118" fmla="*/ 9400 h 10000"/>
                    <a:gd name="connsiteX119" fmla="*/ 7369 w 10000"/>
                    <a:gd name="connsiteY119" fmla="*/ 9500 h 10000"/>
                    <a:gd name="connsiteX120" fmla="*/ 7462 w 10000"/>
                    <a:gd name="connsiteY120" fmla="*/ 9557 h 10000"/>
                    <a:gd name="connsiteX121" fmla="*/ 7554 w 10000"/>
                    <a:gd name="connsiteY121" fmla="*/ 9629 h 10000"/>
                    <a:gd name="connsiteX122" fmla="*/ 7646 w 10000"/>
                    <a:gd name="connsiteY122" fmla="*/ 9671 h 10000"/>
                    <a:gd name="connsiteX123" fmla="*/ 7748 w 10000"/>
                    <a:gd name="connsiteY123" fmla="*/ 9700 h 10000"/>
                    <a:gd name="connsiteX124" fmla="*/ 7851 w 10000"/>
                    <a:gd name="connsiteY124" fmla="*/ 9743 h 10000"/>
                    <a:gd name="connsiteX125" fmla="*/ 7943 w 10000"/>
                    <a:gd name="connsiteY125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996 w 10000"/>
                    <a:gd name="connsiteY64" fmla="*/ 300 h 10000"/>
                    <a:gd name="connsiteX65" fmla="*/ 1791 w 10000"/>
                    <a:gd name="connsiteY65" fmla="*/ 257 h 10000"/>
                    <a:gd name="connsiteX66" fmla="*/ 1668 w 10000"/>
                    <a:gd name="connsiteY66" fmla="*/ 271 h 10000"/>
                    <a:gd name="connsiteX67" fmla="*/ 1525 w 10000"/>
                    <a:gd name="connsiteY67" fmla="*/ 314 h 10000"/>
                    <a:gd name="connsiteX68" fmla="*/ 1402 w 10000"/>
                    <a:gd name="connsiteY68" fmla="*/ 357 h 10000"/>
                    <a:gd name="connsiteX69" fmla="*/ 1279 w 10000"/>
                    <a:gd name="connsiteY69" fmla="*/ 443 h 10000"/>
                    <a:gd name="connsiteX70" fmla="*/ 1157 w 10000"/>
                    <a:gd name="connsiteY70" fmla="*/ 529 h 10000"/>
                    <a:gd name="connsiteX71" fmla="*/ 1044 w 10000"/>
                    <a:gd name="connsiteY71" fmla="*/ 643 h 10000"/>
                    <a:gd name="connsiteX72" fmla="*/ 931 w 10000"/>
                    <a:gd name="connsiteY72" fmla="*/ 786 h 10000"/>
                    <a:gd name="connsiteX73" fmla="*/ 809 w 10000"/>
                    <a:gd name="connsiteY73" fmla="*/ 929 h 10000"/>
                    <a:gd name="connsiteX74" fmla="*/ 706 w 10000"/>
                    <a:gd name="connsiteY74" fmla="*/ 1114 h 10000"/>
                    <a:gd name="connsiteX75" fmla="*/ 604 w 10000"/>
                    <a:gd name="connsiteY75" fmla="*/ 1286 h 10000"/>
                    <a:gd name="connsiteX76" fmla="*/ 491 w 10000"/>
                    <a:gd name="connsiteY76" fmla="*/ 1486 h 10000"/>
                    <a:gd name="connsiteX77" fmla="*/ 399 w 10000"/>
                    <a:gd name="connsiteY77" fmla="*/ 1686 h 10000"/>
                    <a:gd name="connsiteX78" fmla="*/ 194 w 10000"/>
                    <a:gd name="connsiteY78" fmla="*/ 2157 h 10000"/>
                    <a:gd name="connsiteX79" fmla="*/ 0 w 10000"/>
                    <a:gd name="connsiteY79" fmla="*/ 2643 h 10000"/>
                    <a:gd name="connsiteX80" fmla="*/ 10 w 10000"/>
                    <a:gd name="connsiteY80" fmla="*/ 971 h 10000"/>
                    <a:gd name="connsiteX81" fmla="*/ 205 w 10000"/>
                    <a:gd name="connsiteY81" fmla="*/ 757 h 10000"/>
                    <a:gd name="connsiteX82" fmla="*/ 399 w 10000"/>
                    <a:gd name="connsiteY82" fmla="*/ 571 h 10000"/>
                    <a:gd name="connsiteX83" fmla="*/ 604 w 10000"/>
                    <a:gd name="connsiteY83" fmla="*/ 386 h 10000"/>
                    <a:gd name="connsiteX84" fmla="*/ 819 w 10000"/>
                    <a:gd name="connsiteY84" fmla="*/ 257 h 10000"/>
                    <a:gd name="connsiteX85" fmla="*/ 1054 w 10000"/>
                    <a:gd name="connsiteY85" fmla="*/ 157 h 10000"/>
                    <a:gd name="connsiteX86" fmla="*/ 1300 w 10000"/>
                    <a:gd name="connsiteY86" fmla="*/ 71 h 10000"/>
                    <a:gd name="connsiteX87" fmla="*/ 1535 w 10000"/>
                    <a:gd name="connsiteY87" fmla="*/ 29 h 10000"/>
                    <a:gd name="connsiteX88" fmla="*/ 1801 w 10000"/>
                    <a:gd name="connsiteY88" fmla="*/ 0 h 10000"/>
                    <a:gd name="connsiteX89" fmla="*/ 1965 w 10000"/>
                    <a:gd name="connsiteY89" fmla="*/ 0 h 10000"/>
                    <a:gd name="connsiteX90" fmla="*/ 2272 w 10000"/>
                    <a:gd name="connsiteY90" fmla="*/ 71 h 10000"/>
                    <a:gd name="connsiteX91" fmla="*/ 2426 w 10000"/>
                    <a:gd name="connsiteY91" fmla="*/ 114 h 10000"/>
                    <a:gd name="connsiteX92" fmla="*/ 2569 w 10000"/>
                    <a:gd name="connsiteY92" fmla="*/ 186 h 10000"/>
                    <a:gd name="connsiteX93" fmla="*/ 2712 w 10000"/>
                    <a:gd name="connsiteY93" fmla="*/ 257 h 10000"/>
                    <a:gd name="connsiteX94" fmla="*/ 2845 w 10000"/>
                    <a:gd name="connsiteY94" fmla="*/ 343 h 10000"/>
                    <a:gd name="connsiteX95" fmla="*/ 2989 w 10000"/>
                    <a:gd name="connsiteY95" fmla="*/ 443 h 10000"/>
                    <a:gd name="connsiteX96" fmla="*/ 3112 w 10000"/>
                    <a:gd name="connsiteY96" fmla="*/ 529 h 10000"/>
                    <a:gd name="connsiteX97" fmla="*/ 3234 w 10000"/>
                    <a:gd name="connsiteY97" fmla="*/ 657 h 10000"/>
                    <a:gd name="connsiteX98" fmla="*/ 3367 w 10000"/>
                    <a:gd name="connsiteY98" fmla="*/ 786 h 10000"/>
                    <a:gd name="connsiteX99" fmla="*/ 3490 w 10000"/>
                    <a:gd name="connsiteY99" fmla="*/ 914 h 10000"/>
                    <a:gd name="connsiteX100" fmla="*/ 3726 w 10000"/>
                    <a:gd name="connsiteY100" fmla="*/ 1200 h 10000"/>
                    <a:gd name="connsiteX101" fmla="*/ 3941 w 10000"/>
                    <a:gd name="connsiteY101" fmla="*/ 1543 h 10000"/>
                    <a:gd name="connsiteX102" fmla="*/ 4145 w 10000"/>
                    <a:gd name="connsiteY102" fmla="*/ 1900 h 10000"/>
                    <a:gd name="connsiteX103" fmla="*/ 4340 w 10000"/>
                    <a:gd name="connsiteY103" fmla="*/ 2286 h 10000"/>
                    <a:gd name="connsiteX104" fmla="*/ 4534 w 10000"/>
                    <a:gd name="connsiteY104" fmla="*/ 2686 h 10000"/>
                    <a:gd name="connsiteX105" fmla="*/ 4708 w 10000"/>
                    <a:gd name="connsiteY105" fmla="*/ 3100 h 10000"/>
                    <a:gd name="connsiteX106" fmla="*/ 4893 w 10000"/>
                    <a:gd name="connsiteY106" fmla="*/ 3529 h 10000"/>
                    <a:gd name="connsiteX107" fmla="*/ 5056 w 10000"/>
                    <a:gd name="connsiteY107" fmla="*/ 3971 h 10000"/>
                    <a:gd name="connsiteX108" fmla="*/ 5363 w 10000"/>
                    <a:gd name="connsiteY108" fmla="*/ 4871 h 10000"/>
                    <a:gd name="connsiteX109" fmla="*/ 5967 w 10000"/>
                    <a:gd name="connsiteY109" fmla="*/ 6657 h 10000"/>
                    <a:gd name="connsiteX110" fmla="*/ 6254 w 10000"/>
                    <a:gd name="connsiteY110" fmla="*/ 7486 h 10000"/>
                    <a:gd name="connsiteX111" fmla="*/ 6407 w 10000"/>
                    <a:gd name="connsiteY111" fmla="*/ 7843 h 10000"/>
                    <a:gd name="connsiteX112" fmla="*/ 6551 w 10000"/>
                    <a:gd name="connsiteY112" fmla="*/ 8214 h 10000"/>
                    <a:gd name="connsiteX113" fmla="*/ 6714 w 10000"/>
                    <a:gd name="connsiteY113" fmla="*/ 8543 h 10000"/>
                    <a:gd name="connsiteX114" fmla="*/ 6868 w 10000"/>
                    <a:gd name="connsiteY114" fmla="*/ 8829 h 10000"/>
                    <a:gd name="connsiteX115" fmla="*/ 7021 w 10000"/>
                    <a:gd name="connsiteY115" fmla="*/ 9100 h 10000"/>
                    <a:gd name="connsiteX116" fmla="*/ 7195 w 10000"/>
                    <a:gd name="connsiteY116" fmla="*/ 9300 h 10000"/>
                    <a:gd name="connsiteX117" fmla="*/ 7288 w 10000"/>
                    <a:gd name="connsiteY117" fmla="*/ 9400 h 10000"/>
                    <a:gd name="connsiteX118" fmla="*/ 7369 w 10000"/>
                    <a:gd name="connsiteY118" fmla="*/ 9500 h 10000"/>
                    <a:gd name="connsiteX119" fmla="*/ 7462 w 10000"/>
                    <a:gd name="connsiteY119" fmla="*/ 9557 h 10000"/>
                    <a:gd name="connsiteX120" fmla="*/ 7554 w 10000"/>
                    <a:gd name="connsiteY120" fmla="*/ 9629 h 10000"/>
                    <a:gd name="connsiteX121" fmla="*/ 7646 w 10000"/>
                    <a:gd name="connsiteY121" fmla="*/ 9671 h 10000"/>
                    <a:gd name="connsiteX122" fmla="*/ 7748 w 10000"/>
                    <a:gd name="connsiteY122" fmla="*/ 9700 h 10000"/>
                    <a:gd name="connsiteX123" fmla="*/ 7851 w 10000"/>
                    <a:gd name="connsiteY123" fmla="*/ 9743 h 10000"/>
                    <a:gd name="connsiteX124" fmla="*/ 7943 w 10000"/>
                    <a:gd name="connsiteY124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1965 w 10000"/>
                    <a:gd name="connsiteY88" fmla="*/ 0 h 10000"/>
                    <a:gd name="connsiteX89" fmla="*/ 2272 w 10000"/>
                    <a:gd name="connsiteY89" fmla="*/ 71 h 10000"/>
                    <a:gd name="connsiteX90" fmla="*/ 2426 w 10000"/>
                    <a:gd name="connsiteY90" fmla="*/ 114 h 10000"/>
                    <a:gd name="connsiteX91" fmla="*/ 2569 w 10000"/>
                    <a:gd name="connsiteY91" fmla="*/ 186 h 10000"/>
                    <a:gd name="connsiteX92" fmla="*/ 2712 w 10000"/>
                    <a:gd name="connsiteY92" fmla="*/ 257 h 10000"/>
                    <a:gd name="connsiteX93" fmla="*/ 2845 w 10000"/>
                    <a:gd name="connsiteY93" fmla="*/ 343 h 10000"/>
                    <a:gd name="connsiteX94" fmla="*/ 2989 w 10000"/>
                    <a:gd name="connsiteY94" fmla="*/ 443 h 10000"/>
                    <a:gd name="connsiteX95" fmla="*/ 3112 w 10000"/>
                    <a:gd name="connsiteY95" fmla="*/ 529 h 10000"/>
                    <a:gd name="connsiteX96" fmla="*/ 3234 w 10000"/>
                    <a:gd name="connsiteY96" fmla="*/ 657 h 10000"/>
                    <a:gd name="connsiteX97" fmla="*/ 3367 w 10000"/>
                    <a:gd name="connsiteY97" fmla="*/ 786 h 10000"/>
                    <a:gd name="connsiteX98" fmla="*/ 3490 w 10000"/>
                    <a:gd name="connsiteY98" fmla="*/ 914 h 10000"/>
                    <a:gd name="connsiteX99" fmla="*/ 3726 w 10000"/>
                    <a:gd name="connsiteY99" fmla="*/ 1200 h 10000"/>
                    <a:gd name="connsiteX100" fmla="*/ 3941 w 10000"/>
                    <a:gd name="connsiteY100" fmla="*/ 1543 h 10000"/>
                    <a:gd name="connsiteX101" fmla="*/ 4145 w 10000"/>
                    <a:gd name="connsiteY101" fmla="*/ 1900 h 10000"/>
                    <a:gd name="connsiteX102" fmla="*/ 4340 w 10000"/>
                    <a:gd name="connsiteY102" fmla="*/ 2286 h 10000"/>
                    <a:gd name="connsiteX103" fmla="*/ 4534 w 10000"/>
                    <a:gd name="connsiteY103" fmla="*/ 2686 h 10000"/>
                    <a:gd name="connsiteX104" fmla="*/ 4708 w 10000"/>
                    <a:gd name="connsiteY104" fmla="*/ 3100 h 10000"/>
                    <a:gd name="connsiteX105" fmla="*/ 4893 w 10000"/>
                    <a:gd name="connsiteY105" fmla="*/ 3529 h 10000"/>
                    <a:gd name="connsiteX106" fmla="*/ 5056 w 10000"/>
                    <a:gd name="connsiteY106" fmla="*/ 3971 h 10000"/>
                    <a:gd name="connsiteX107" fmla="*/ 5363 w 10000"/>
                    <a:gd name="connsiteY107" fmla="*/ 4871 h 10000"/>
                    <a:gd name="connsiteX108" fmla="*/ 5967 w 10000"/>
                    <a:gd name="connsiteY108" fmla="*/ 6657 h 10000"/>
                    <a:gd name="connsiteX109" fmla="*/ 6254 w 10000"/>
                    <a:gd name="connsiteY109" fmla="*/ 7486 h 10000"/>
                    <a:gd name="connsiteX110" fmla="*/ 6407 w 10000"/>
                    <a:gd name="connsiteY110" fmla="*/ 7843 h 10000"/>
                    <a:gd name="connsiteX111" fmla="*/ 6551 w 10000"/>
                    <a:gd name="connsiteY111" fmla="*/ 8214 h 10000"/>
                    <a:gd name="connsiteX112" fmla="*/ 6714 w 10000"/>
                    <a:gd name="connsiteY112" fmla="*/ 8543 h 10000"/>
                    <a:gd name="connsiteX113" fmla="*/ 6868 w 10000"/>
                    <a:gd name="connsiteY113" fmla="*/ 8829 h 10000"/>
                    <a:gd name="connsiteX114" fmla="*/ 7021 w 10000"/>
                    <a:gd name="connsiteY114" fmla="*/ 9100 h 10000"/>
                    <a:gd name="connsiteX115" fmla="*/ 7195 w 10000"/>
                    <a:gd name="connsiteY115" fmla="*/ 9300 h 10000"/>
                    <a:gd name="connsiteX116" fmla="*/ 7288 w 10000"/>
                    <a:gd name="connsiteY116" fmla="*/ 9400 h 10000"/>
                    <a:gd name="connsiteX117" fmla="*/ 7369 w 10000"/>
                    <a:gd name="connsiteY117" fmla="*/ 9500 h 10000"/>
                    <a:gd name="connsiteX118" fmla="*/ 7462 w 10000"/>
                    <a:gd name="connsiteY118" fmla="*/ 9557 h 10000"/>
                    <a:gd name="connsiteX119" fmla="*/ 7554 w 10000"/>
                    <a:gd name="connsiteY119" fmla="*/ 9629 h 10000"/>
                    <a:gd name="connsiteX120" fmla="*/ 7646 w 10000"/>
                    <a:gd name="connsiteY120" fmla="*/ 9671 h 10000"/>
                    <a:gd name="connsiteX121" fmla="*/ 7748 w 10000"/>
                    <a:gd name="connsiteY121" fmla="*/ 9700 h 10000"/>
                    <a:gd name="connsiteX122" fmla="*/ 7851 w 10000"/>
                    <a:gd name="connsiteY122" fmla="*/ 9743 h 10000"/>
                    <a:gd name="connsiteX123" fmla="*/ 7943 w 10000"/>
                    <a:gd name="connsiteY123" fmla="*/ 9743 h 10000"/>
                    <a:gd name="connsiteX0" fmla="*/ 7943 w 10000"/>
                    <a:gd name="connsiteY0" fmla="*/ 9743 h 10000"/>
                    <a:gd name="connsiteX1" fmla="*/ 7943 w 10000"/>
                    <a:gd name="connsiteY1" fmla="*/ 9743 h 10000"/>
                    <a:gd name="connsiteX2" fmla="*/ 8076 w 10000"/>
                    <a:gd name="connsiteY2" fmla="*/ 9743 h 10000"/>
                    <a:gd name="connsiteX3" fmla="*/ 8178 w 10000"/>
                    <a:gd name="connsiteY3" fmla="*/ 9700 h 10000"/>
                    <a:gd name="connsiteX4" fmla="*/ 8291 w 10000"/>
                    <a:gd name="connsiteY4" fmla="*/ 9657 h 10000"/>
                    <a:gd name="connsiteX5" fmla="*/ 8403 w 10000"/>
                    <a:gd name="connsiteY5" fmla="*/ 9614 h 10000"/>
                    <a:gd name="connsiteX6" fmla="*/ 8506 w 10000"/>
                    <a:gd name="connsiteY6" fmla="*/ 9529 h 10000"/>
                    <a:gd name="connsiteX7" fmla="*/ 8608 w 10000"/>
                    <a:gd name="connsiteY7" fmla="*/ 9429 h 10000"/>
                    <a:gd name="connsiteX8" fmla="*/ 8700 w 10000"/>
                    <a:gd name="connsiteY8" fmla="*/ 9343 h 10000"/>
                    <a:gd name="connsiteX9" fmla="*/ 8802 w 10000"/>
                    <a:gd name="connsiteY9" fmla="*/ 9214 h 10000"/>
                    <a:gd name="connsiteX10" fmla="*/ 8915 w 10000"/>
                    <a:gd name="connsiteY10" fmla="*/ 9086 h 10000"/>
                    <a:gd name="connsiteX11" fmla="*/ 9007 w 10000"/>
                    <a:gd name="connsiteY11" fmla="*/ 8943 h 10000"/>
                    <a:gd name="connsiteX12" fmla="*/ 9191 w 10000"/>
                    <a:gd name="connsiteY12" fmla="*/ 8614 h 10000"/>
                    <a:gd name="connsiteX13" fmla="*/ 9376 w 10000"/>
                    <a:gd name="connsiteY13" fmla="*/ 8243 h 10000"/>
                    <a:gd name="connsiteX14" fmla="*/ 9539 w 10000"/>
                    <a:gd name="connsiteY14" fmla="*/ 7843 h 10000"/>
                    <a:gd name="connsiteX15" fmla="*/ 9775 w 10000"/>
                    <a:gd name="connsiteY15" fmla="*/ 8286 h 10000"/>
                    <a:gd name="connsiteX16" fmla="*/ 10000 w 10000"/>
                    <a:gd name="connsiteY16" fmla="*/ 8700 h 10000"/>
                    <a:gd name="connsiteX17" fmla="*/ 9785 w 10000"/>
                    <a:gd name="connsiteY17" fmla="*/ 8986 h 10000"/>
                    <a:gd name="connsiteX18" fmla="*/ 9570 w 10000"/>
                    <a:gd name="connsiteY18" fmla="*/ 9243 h 10000"/>
                    <a:gd name="connsiteX19" fmla="*/ 9324 w 10000"/>
                    <a:gd name="connsiteY19" fmla="*/ 9471 h 10000"/>
                    <a:gd name="connsiteX20" fmla="*/ 9212 w 10000"/>
                    <a:gd name="connsiteY20" fmla="*/ 9557 h 10000"/>
                    <a:gd name="connsiteX21" fmla="*/ 9079 w 10000"/>
                    <a:gd name="connsiteY21" fmla="*/ 9657 h 10000"/>
                    <a:gd name="connsiteX22" fmla="*/ 8946 w 10000"/>
                    <a:gd name="connsiteY22" fmla="*/ 9743 h 10000"/>
                    <a:gd name="connsiteX23" fmla="*/ 8823 w 10000"/>
                    <a:gd name="connsiteY23" fmla="*/ 9800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4 h 10000"/>
                    <a:gd name="connsiteX35" fmla="*/ 7021 w 10000"/>
                    <a:gd name="connsiteY35" fmla="*/ 9757 h 10000"/>
                    <a:gd name="connsiteX36" fmla="*/ 6888 w 10000"/>
                    <a:gd name="connsiteY36" fmla="*/ 9657 h 10000"/>
                    <a:gd name="connsiteX37" fmla="*/ 6745 w 10000"/>
                    <a:gd name="connsiteY37" fmla="*/ 9557 h 10000"/>
                    <a:gd name="connsiteX38" fmla="*/ 6622 w 10000"/>
                    <a:gd name="connsiteY38" fmla="*/ 9471 h 10000"/>
                    <a:gd name="connsiteX39" fmla="*/ 6479 w 10000"/>
                    <a:gd name="connsiteY39" fmla="*/ 9343 h 10000"/>
                    <a:gd name="connsiteX40" fmla="*/ 6366 w 10000"/>
                    <a:gd name="connsiteY40" fmla="*/ 9229 h 10000"/>
                    <a:gd name="connsiteX41" fmla="*/ 6244 w 10000"/>
                    <a:gd name="connsiteY41" fmla="*/ 9086 h 10000"/>
                    <a:gd name="connsiteX42" fmla="*/ 6008 w 10000"/>
                    <a:gd name="connsiteY42" fmla="*/ 8786 h 10000"/>
                    <a:gd name="connsiteX43" fmla="*/ 5793 w 10000"/>
                    <a:gd name="connsiteY43" fmla="*/ 8457 h 10000"/>
                    <a:gd name="connsiteX44" fmla="*/ 5589 w 10000"/>
                    <a:gd name="connsiteY44" fmla="*/ 8100 h 10000"/>
                    <a:gd name="connsiteX45" fmla="*/ 5394 w 10000"/>
                    <a:gd name="connsiteY45" fmla="*/ 7714 h 10000"/>
                    <a:gd name="connsiteX46" fmla="*/ 5200 w 10000"/>
                    <a:gd name="connsiteY46" fmla="*/ 7314 h 10000"/>
                    <a:gd name="connsiteX47" fmla="*/ 5026 w 10000"/>
                    <a:gd name="connsiteY47" fmla="*/ 6900 h 10000"/>
                    <a:gd name="connsiteX48" fmla="*/ 4852 w 10000"/>
                    <a:gd name="connsiteY48" fmla="*/ 6471 h 10000"/>
                    <a:gd name="connsiteX49" fmla="*/ 4688 w 10000"/>
                    <a:gd name="connsiteY49" fmla="*/ 6029 h 10000"/>
                    <a:gd name="connsiteX50" fmla="*/ 4371 w 10000"/>
                    <a:gd name="connsiteY50" fmla="*/ 5129 h 10000"/>
                    <a:gd name="connsiteX51" fmla="*/ 3777 w 10000"/>
                    <a:gd name="connsiteY51" fmla="*/ 3357 h 10000"/>
                    <a:gd name="connsiteX52" fmla="*/ 3644 w 10000"/>
                    <a:gd name="connsiteY52" fmla="*/ 2914 h 10000"/>
                    <a:gd name="connsiteX53" fmla="*/ 3490 w 10000"/>
                    <a:gd name="connsiteY53" fmla="*/ 2514 h 10000"/>
                    <a:gd name="connsiteX54" fmla="*/ 3347 w 10000"/>
                    <a:gd name="connsiteY54" fmla="*/ 2157 h 10000"/>
                    <a:gd name="connsiteX55" fmla="*/ 3193 w 10000"/>
                    <a:gd name="connsiteY55" fmla="*/ 1786 h 10000"/>
                    <a:gd name="connsiteX56" fmla="*/ 3040 w 10000"/>
                    <a:gd name="connsiteY56" fmla="*/ 1457 h 10000"/>
                    <a:gd name="connsiteX57" fmla="*/ 2886 w 10000"/>
                    <a:gd name="connsiteY57" fmla="*/ 1171 h 10000"/>
                    <a:gd name="connsiteX58" fmla="*/ 2723 w 10000"/>
                    <a:gd name="connsiteY58" fmla="*/ 900 h 10000"/>
                    <a:gd name="connsiteX59" fmla="*/ 2559 w 10000"/>
                    <a:gd name="connsiteY59" fmla="*/ 700 h 10000"/>
                    <a:gd name="connsiteX60" fmla="*/ 2467 w 10000"/>
                    <a:gd name="connsiteY60" fmla="*/ 600 h 10000"/>
                    <a:gd name="connsiteX61" fmla="*/ 2375 w 10000"/>
                    <a:gd name="connsiteY61" fmla="*/ 500 h 10000"/>
                    <a:gd name="connsiteX62" fmla="*/ 2282 w 10000"/>
                    <a:gd name="connsiteY62" fmla="*/ 443 h 10000"/>
                    <a:gd name="connsiteX63" fmla="*/ 2190 w 10000"/>
                    <a:gd name="connsiteY63" fmla="*/ 371 h 10000"/>
                    <a:gd name="connsiteX64" fmla="*/ 1791 w 10000"/>
                    <a:gd name="connsiteY64" fmla="*/ 257 h 10000"/>
                    <a:gd name="connsiteX65" fmla="*/ 1668 w 10000"/>
                    <a:gd name="connsiteY65" fmla="*/ 271 h 10000"/>
                    <a:gd name="connsiteX66" fmla="*/ 1525 w 10000"/>
                    <a:gd name="connsiteY66" fmla="*/ 314 h 10000"/>
                    <a:gd name="connsiteX67" fmla="*/ 1402 w 10000"/>
                    <a:gd name="connsiteY67" fmla="*/ 357 h 10000"/>
                    <a:gd name="connsiteX68" fmla="*/ 1279 w 10000"/>
                    <a:gd name="connsiteY68" fmla="*/ 443 h 10000"/>
                    <a:gd name="connsiteX69" fmla="*/ 1157 w 10000"/>
                    <a:gd name="connsiteY69" fmla="*/ 529 h 10000"/>
                    <a:gd name="connsiteX70" fmla="*/ 1044 w 10000"/>
                    <a:gd name="connsiteY70" fmla="*/ 643 h 10000"/>
                    <a:gd name="connsiteX71" fmla="*/ 931 w 10000"/>
                    <a:gd name="connsiteY71" fmla="*/ 786 h 10000"/>
                    <a:gd name="connsiteX72" fmla="*/ 809 w 10000"/>
                    <a:gd name="connsiteY72" fmla="*/ 929 h 10000"/>
                    <a:gd name="connsiteX73" fmla="*/ 706 w 10000"/>
                    <a:gd name="connsiteY73" fmla="*/ 1114 h 10000"/>
                    <a:gd name="connsiteX74" fmla="*/ 604 w 10000"/>
                    <a:gd name="connsiteY74" fmla="*/ 1286 h 10000"/>
                    <a:gd name="connsiteX75" fmla="*/ 491 w 10000"/>
                    <a:gd name="connsiteY75" fmla="*/ 1486 h 10000"/>
                    <a:gd name="connsiteX76" fmla="*/ 399 w 10000"/>
                    <a:gd name="connsiteY76" fmla="*/ 1686 h 10000"/>
                    <a:gd name="connsiteX77" fmla="*/ 194 w 10000"/>
                    <a:gd name="connsiteY77" fmla="*/ 2157 h 10000"/>
                    <a:gd name="connsiteX78" fmla="*/ 0 w 10000"/>
                    <a:gd name="connsiteY78" fmla="*/ 2643 h 10000"/>
                    <a:gd name="connsiteX79" fmla="*/ 10 w 10000"/>
                    <a:gd name="connsiteY79" fmla="*/ 971 h 10000"/>
                    <a:gd name="connsiteX80" fmla="*/ 205 w 10000"/>
                    <a:gd name="connsiteY80" fmla="*/ 757 h 10000"/>
                    <a:gd name="connsiteX81" fmla="*/ 399 w 10000"/>
                    <a:gd name="connsiteY81" fmla="*/ 571 h 10000"/>
                    <a:gd name="connsiteX82" fmla="*/ 604 w 10000"/>
                    <a:gd name="connsiteY82" fmla="*/ 386 h 10000"/>
                    <a:gd name="connsiteX83" fmla="*/ 819 w 10000"/>
                    <a:gd name="connsiteY83" fmla="*/ 257 h 10000"/>
                    <a:gd name="connsiteX84" fmla="*/ 1054 w 10000"/>
                    <a:gd name="connsiteY84" fmla="*/ 157 h 10000"/>
                    <a:gd name="connsiteX85" fmla="*/ 1300 w 10000"/>
                    <a:gd name="connsiteY85" fmla="*/ 71 h 10000"/>
                    <a:gd name="connsiteX86" fmla="*/ 1535 w 10000"/>
                    <a:gd name="connsiteY86" fmla="*/ 29 h 10000"/>
                    <a:gd name="connsiteX87" fmla="*/ 1801 w 10000"/>
                    <a:gd name="connsiteY87" fmla="*/ 0 h 10000"/>
                    <a:gd name="connsiteX88" fmla="*/ 2272 w 10000"/>
                    <a:gd name="connsiteY88" fmla="*/ 71 h 10000"/>
                    <a:gd name="connsiteX89" fmla="*/ 2426 w 10000"/>
                    <a:gd name="connsiteY89" fmla="*/ 114 h 10000"/>
                    <a:gd name="connsiteX90" fmla="*/ 2569 w 10000"/>
                    <a:gd name="connsiteY90" fmla="*/ 186 h 10000"/>
                    <a:gd name="connsiteX91" fmla="*/ 2712 w 10000"/>
                    <a:gd name="connsiteY91" fmla="*/ 257 h 10000"/>
                    <a:gd name="connsiteX92" fmla="*/ 2845 w 10000"/>
                    <a:gd name="connsiteY92" fmla="*/ 343 h 10000"/>
                    <a:gd name="connsiteX93" fmla="*/ 2989 w 10000"/>
                    <a:gd name="connsiteY93" fmla="*/ 443 h 10000"/>
                    <a:gd name="connsiteX94" fmla="*/ 3112 w 10000"/>
                    <a:gd name="connsiteY94" fmla="*/ 529 h 10000"/>
                    <a:gd name="connsiteX95" fmla="*/ 3234 w 10000"/>
                    <a:gd name="connsiteY95" fmla="*/ 657 h 10000"/>
                    <a:gd name="connsiteX96" fmla="*/ 3367 w 10000"/>
                    <a:gd name="connsiteY96" fmla="*/ 786 h 10000"/>
                    <a:gd name="connsiteX97" fmla="*/ 3490 w 10000"/>
                    <a:gd name="connsiteY97" fmla="*/ 914 h 10000"/>
                    <a:gd name="connsiteX98" fmla="*/ 3726 w 10000"/>
                    <a:gd name="connsiteY98" fmla="*/ 1200 h 10000"/>
                    <a:gd name="connsiteX99" fmla="*/ 3941 w 10000"/>
                    <a:gd name="connsiteY99" fmla="*/ 1543 h 10000"/>
                    <a:gd name="connsiteX100" fmla="*/ 4145 w 10000"/>
                    <a:gd name="connsiteY100" fmla="*/ 1900 h 10000"/>
                    <a:gd name="connsiteX101" fmla="*/ 4340 w 10000"/>
                    <a:gd name="connsiteY101" fmla="*/ 2286 h 10000"/>
                    <a:gd name="connsiteX102" fmla="*/ 4534 w 10000"/>
                    <a:gd name="connsiteY102" fmla="*/ 2686 h 10000"/>
                    <a:gd name="connsiteX103" fmla="*/ 4708 w 10000"/>
                    <a:gd name="connsiteY103" fmla="*/ 3100 h 10000"/>
                    <a:gd name="connsiteX104" fmla="*/ 4893 w 10000"/>
                    <a:gd name="connsiteY104" fmla="*/ 3529 h 10000"/>
                    <a:gd name="connsiteX105" fmla="*/ 5056 w 10000"/>
                    <a:gd name="connsiteY105" fmla="*/ 3971 h 10000"/>
                    <a:gd name="connsiteX106" fmla="*/ 5363 w 10000"/>
                    <a:gd name="connsiteY106" fmla="*/ 4871 h 10000"/>
                    <a:gd name="connsiteX107" fmla="*/ 5967 w 10000"/>
                    <a:gd name="connsiteY107" fmla="*/ 6657 h 10000"/>
                    <a:gd name="connsiteX108" fmla="*/ 6254 w 10000"/>
                    <a:gd name="connsiteY108" fmla="*/ 7486 h 10000"/>
                    <a:gd name="connsiteX109" fmla="*/ 6407 w 10000"/>
                    <a:gd name="connsiteY109" fmla="*/ 7843 h 10000"/>
                    <a:gd name="connsiteX110" fmla="*/ 6551 w 10000"/>
                    <a:gd name="connsiteY110" fmla="*/ 8214 h 10000"/>
                    <a:gd name="connsiteX111" fmla="*/ 6714 w 10000"/>
                    <a:gd name="connsiteY111" fmla="*/ 8543 h 10000"/>
                    <a:gd name="connsiteX112" fmla="*/ 6868 w 10000"/>
                    <a:gd name="connsiteY112" fmla="*/ 8829 h 10000"/>
                    <a:gd name="connsiteX113" fmla="*/ 7021 w 10000"/>
                    <a:gd name="connsiteY113" fmla="*/ 9100 h 10000"/>
                    <a:gd name="connsiteX114" fmla="*/ 7195 w 10000"/>
                    <a:gd name="connsiteY114" fmla="*/ 9300 h 10000"/>
                    <a:gd name="connsiteX115" fmla="*/ 7288 w 10000"/>
                    <a:gd name="connsiteY115" fmla="*/ 9400 h 10000"/>
                    <a:gd name="connsiteX116" fmla="*/ 7369 w 10000"/>
                    <a:gd name="connsiteY116" fmla="*/ 9500 h 10000"/>
                    <a:gd name="connsiteX117" fmla="*/ 7462 w 10000"/>
                    <a:gd name="connsiteY117" fmla="*/ 9557 h 10000"/>
                    <a:gd name="connsiteX118" fmla="*/ 7554 w 10000"/>
                    <a:gd name="connsiteY118" fmla="*/ 9629 h 10000"/>
                    <a:gd name="connsiteX119" fmla="*/ 7646 w 10000"/>
                    <a:gd name="connsiteY119" fmla="*/ 9671 h 10000"/>
                    <a:gd name="connsiteX120" fmla="*/ 7748 w 10000"/>
                    <a:gd name="connsiteY120" fmla="*/ 9700 h 10000"/>
                    <a:gd name="connsiteX121" fmla="*/ 7851 w 10000"/>
                    <a:gd name="connsiteY121" fmla="*/ 9743 h 10000"/>
                    <a:gd name="connsiteX122" fmla="*/ 7943 w 10000"/>
                    <a:gd name="connsiteY122" fmla="*/ 9743 h 10000"/>
                    <a:gd name="connsiteX0" fmla="*/ 7943 w 10000"/>
                    <a:gd name="connsiteY0" fmla="*/ 9714 h 9971"/>
                    <a:gd name="connsiteX1" fmla="*/ 7943 w 10000"/>
                    <a:gd name="connsiteY1" fmla="*/ 9714 h 9971"/>
                    <a:gd name="connsiteX2" fmla="*/ 8076 w 10000"/>
                    <a:gd name="connsiteY2" fmla="*/ 9714 h 9971"/>
                    <a:gd name="connsiteX3" fmla="*/ 8178 w 10000"/>
                    <a:gd name="connsiteY3" fmla="*/ 9671 h 9971"/>
                    <a:gd name="connsiteX4" fmla="*/ 8291 w 10000"/>
                    <a:gd name="connsiteY4" fmla="*/ 9628 h 9971"/>
                    <a:gd name="connsiteX5" fmla="*/ 8403 w 10000"/>
                    <a:gd name="connsiteY5" fmla="*/ 9585 h 9971"/>
                    <a:gd name="connsiteX6" fmla="*/ 8506 w 10000"/>
                    <a:gd name="connsiteY6" fmla="*/ 9500 h 9971"/>
                    <a:gd name="connsiteX7" fmla="*/ 8608 w 10000"/>
                    <a:gd name="connsiteY7" fmla="*/ 9400 h 9971"/>
                    <a:gd name="connsiteX8" fmla="*/ 8700 w 10000"/>
                    <a:gd name="connsiteY8" fmla="*/ 9314 h 9971"/>
                    <a:gd name="connsiteX9" fmla="*/ 8802 w 10000"/>
                    <a:gd name="connsiteY9" fmla="*/ 9185 h 9971"/>
                    <a:gd name="connsiteX10" fmla="*/ 8915 w 10000"/>
                    <a:gd name="connsiteY10" fmla="*/ 9057 h 9971"/>
                    <a:gd name="connsiteX11" fmla="*/ 9007 w 10000"/>
                    <a:gd name="connsiteY11" fmla="*/ 8914 h 9971"/>
                    <a:gd name="connsiteX12" fmla="*/ 9191 w 10000"/>
                    <a:gd name="connsiteY12" fmla="*/ 8585 h 9971"/>
                    <a:gd name="connsiteX13" fmla="*/ 9376 w 10000"/>
                    <a:gd name="connsiteY13" fmla="*/ 8214 h 9971"/>
                    <a:gd name="connsiteX14" fmla="*/ 9539 w 10000"/>
                    <a:gd name="connsiteY14" fmla="*/ 7814 h 9971"/>
                    <a:gd name="connsiteX15" fmla="*/ 9775 w 10000"/>
                    <a:gd name="connsiteY15" fmla="*/ 8257 h 9971"/>
                    <a:gd name="connsiteX16" fmla="*/ 10000 w 10000"/>
                    <a:gd name="connsiteY16" fmla="*/ 8671 h 9971"/>
                    <a:gd name="connsiteX17" fmla="*/ 9785 w 10000"/>
                    <a:gd name="connsiteY17" fmla="*/ 8957 h 9971"/>
                    <a:gd name="connsiteX18" fmla="*/ 9570 w 10000"/>
                    <a:gd name="connsiteY18" fmla="*/ 9214 h 9971"/>
                    <a:gd name="connsiteX19" fmla="*/ 9324 w 10000"/>
                    <a:gd name="connsiteY19" fmla="*/ 9442 h 9971"/>
                    <a:gd name="connsiteX20" fmla="*/ 9212 w 10000"/>
                    <a:gd name="connsiteY20" fmla="*/ 9528 h 9971"/>
                    <a:gd name="connsiteX21" fmla="*/ 9079 w 10000"/>
                    <a:gd name="connsiteY21" fmla="*/ 9628 h 9971"/>
                    <a:gd name="connsiteX22" fmla="*/ 8946 w 10000"/>
                    <a:gd name="connsiteY22" fmla="*/ 9714 h 9971"/>
                    <a:gd name="connsiteX23" fmla="*/ 8823 w 10000"/>
                    <a:gd name="connsiteY23" fmla="*/ 9771 h 9971"/>
                    <a:gd name="connsiteX24" fmla="*/ 8680 w 10000"/>
                    <a:gd name="connsiteY24" fmla="*/ 9842 h 9971"/>
                    <a:gd name="connsiteX25" fmla="*/ 8547 w 10000"/>
                    <a:gd name="connsiteY25" fmla="*/ 9885 h 9971"/>
                    <a:gd name="connsiteX26" fmla="*/ 8403 w 10000"/>
                    <a:gd name="connsiteY26" fmla="*/ 9914 h 9971"/>
                    <a:gd name="connsiteX27" fmla="*/ 8260 w 10000"/>
                    <a:gd name="connsiteY27" fmla="*/ 9942 h 9971"/>
                    <a:gd name="connsiteX28" fmla="*/ 8106 w 10000"/>
                    <a:gd name="connsiteY28" fmla="*/ 9971 h 9971"/>
                    <a:gd name="connsiteX29" fmla="*/ 7943 w 10000"/>
                    <a:gd name="connsiteY29" fmla="*/ 9971 h 9971"/>
                    <a:gd name="connsiteX30" fmla="*/ 7779 w 10000"/>
                    <a:gd name="connsiteY30" fmla="*/ 9971 h 9971"/>
                    <a:gd name="connsiteX31" fmla="*/ 7625 w 10000"/>
                    <a:gd name="connsiteY31" fmla="*/ 9928 h 9971"/>
                    <a:gd name="connsiteX32" fmla="*/ 7462 w 10000"/>
                    <a:gd name="connsiteY32" fmla="*/ 9900 h 9971"/>
                    <a:gd name="connsiteX33" fmla="*/ 7308 w 10000"/>
                    <a:gd name="connsiteY33" fmla="*/ 9857 h 9971"/>
                    <a:gd name="connsiteX34" fmla="*/ 7165 w 10000"/>
                    <a:gd name="connsiteY34" fmla="*/ 9785 h 9971"/>
                    <a:gd name="connsiteX35" fmla="*/ 7021 w 10000"/>
                    <a:gd name="connsiteY35" fmla="*/ 9728 h 9971"/>
                    <a:gd name="connsiteX36" fmla="*/ 6888 w 10000"/>
                    <a:gd name="connsiteY36" fmla="*/ 9628 h 9971"/>
                    <a:gd name="connsiteX37" fmla="*/ 6745 w 10000"/>
                    <a:gd name="connsiteY37" fmla="*/ 9528 h 9971"/>
                    <a:gd name="connsiteX38" fmla="*/ 6622 w 10000"/>
                    <a:gd name="connsiteY38" fmla="*/ 9442 h 9971"/>
                    <a:gd name="connsiteX39" fmla="*/ 6479 w 10000"/>
                    <a:gd name="connsiteY39" fmla="*/ 9314 h 9971"/>
                    <a:gd name="connsiteX40" fmla="*/ 6366 w 10000"/>
                    <a:gd name="connsiteY40" fmla="*/ 9200 h 9971"/>
                    <a:gd name="connsiteX41" fmla="*/ 6244 w 10000"/>
                    <a:gd name="connsiteY41" fmla="*/ 9057 h 9971"/>
                    <a:gd name="connsiteX42" fmla="*/ 6008 w 10000"/>
                    <a:gd name="connsiteY42" fmla="*/ 8757 h 9971"/>
                    <a:gd name="connsiteX43" fmla="*/ 5793 w 10000"/>
                    <a:gd name="connsiteY43" fmla="*/ 8428 h 9971"/>
                    <a:gd name="connsiteX44" fmla="*/ 5589 w 10000"/>
                    <a:gd name="connsiteY44" fmla="*/ 8071 h 9971"/>
                    <a:gd name="connsiteX45" fmla="*/ 5394 w 10000"/>
                    <a:gd name="connsiteY45" fmla="*/ 7685 h 9971"/>
                    <a:gd name="connsiteX46" fmla="*/ 5200 w 10000"/>
                    <a:gd name="connsiteY46" fmla="*/ 7285 h 9971"/>
                    <a:gd name="connsiteX47" fmla="*/ 5026 w 10000"/>
                    <a:gd name="connsiteY47" fmla="*/ 6871 h 9971"/>
                    <a:gd name="connsiteX48" fmla="*/ 4852 w 10000"/>
                    <a:gd name="connsiteY48" fmla="*/ 6442 h 9971"/>
                    <a:gd name="connsiteX49" fmla="*/ 4688 w 10000"/>
                    <a:gd name="connsiteY49" fmla="*/ 6000 h 9971"/>
                    <a:gd name="connsiteX50" fmla="*/ 4371 w 10000"/>
                    <a:gd name="connsiteY50" fmla="*/ 5100 h 9971"/>
                    <a:gd name="connsiteX51" fmla="*/ 3777 w 10000"/>
                    <a:gd name="connsiteY51" fmla="*/ 3328 h 9971"/>
                    <a:gd name="connsiteX52" fmla="*/ 3644 w 10000"/>
                    <a:gd name="connsiteY52" fmla="*/ 2885 h 9971"/>
                    <a:gd name="connsiteX53" fmla="*/ 3490 w 10000"/>
                    <a:gd name="connsiteY53" fmla="*/ 2485 h 9971"/>
                    <a:gd name="connsiteX54" fmla="*/ 3347 w 10000"/>
                    <a:gd name="connsiteY54" fmla="*/ 2128 h 9971"/>
                    <a:gd name="connsiteX55" fmla="*/ 3193 w 10000"/>
                    <a:gd name="connsiteY55" fmla="*/ 1757 h 9971"/>
                    <a:gd name="connsiteX56" fmla="*/ 3040 w 10000"/>
                    <a:gd name="connsiteY56" fmla="*/ 1428 h 9971"/>
                    <a:gd name="connsiteX57" fmla="*/ 2886 w 10000"/>
                    <a:gd name="connsiteY57" fmla="*/ 1142 h 9971"/>
                    <a:gd name="connsiteX58" fmla="*/ 2723 w 10000"/>
                    <a:gd name="connsiteY58" fmla="*/ 871 h 9971"/>
                    <a:gd name="connsiteX59" fmla="*/ 2559 w 10000"/>
                    <a:gd name="connsiteY59" fmla="*/ 671 h 9971"/>
                    <a:gd name="connsiteX60" fmla="*/ 2467 w 10000"/>
                    <a:gd name="connsiteY60" fmla="*/ 571 h 9971"/>
                    <a:gd name="connsiteX61" fmla="*/ 2375 w 10000"/>
                    <a:gd name="connsiteY61" fmla="*/ 471 h 9971"/>
                    <a:gd name="connsiteX62" fmla="*/ 2282 w 10000"/>
                    <a:gd name="connsiteY62" fmla="*/ 414 h 9971"/>
                    <a:gd name="connsiteX63" fmla="*/ 2190 w 10000"/>
                    <a:gd name="connsiteY63" fmla="*/ 342 h 9971"/>
                    <a:gd name="connsiteX64" fmla="*/ 1791 w 10000"/>
                    <a:gd name="connsiteY64" fmla="*/ 228 h 9971"/>
                    <a:gd name="connsiteX65" fmla="*/ 1668 w 10000"/>
                    <a:gd name="connsiteY65" fmla="*/ 242 h 9971"/>
                    <a:gd name="connsiteX66" fmla="*/ 1525 w 10000"/>
                    <a:gd name="connsiteY66" fmla="*/ 285 h 9971"/>
                    <a:gd name="connsiteX67" fmla="*/ 1402 w 10000"/>
                    <a:gd name="connsiteY67" fmla="*/ 328 h 9971"/>
                    <a:gd name="connsiteX68" fmla="*/ 1279 w 10000"/>
                    <a:gd name="connsiteY68" fmla="*/ 414 h 9971"/>
                    <a:gd name="connsiteX69" fmla="*/ 1157 w 10000"/>
                    <a:gd name="connsiteY69" fmla="*/ 500 h 9971"/>
                    <a:gd name="connsiteX70" fmla="*/ 1044 w 10000"/>
                    <a:gd name="connsiteY70" fmla="*/ 614 h 9971"/>
                    <a:gd name="connsiteX71" fmla="*/ 931 w 10000"/>
                    <a:gd name="connsiteY71" fmla="*/ 757 h 9971"/>
                    <a:gd name="connsiteX72" fmla="*/ 809 w 10000"/>
                    <a:gd name="connsiteY72" fmla="*/ 900 h 9971"/>
                    <a:gd name="connsiteX73" fmla="*/ 706 w 10000"/>
                    <a:gd name="connsiteY73" fmla="*/ 1085 h 9971"/>
                    <a:gd name="connsiteX74" fmla="*/ 604 w 10000"/>
                    <a:gd name="connsiteY74" fmla="*/ 1257 h 9971"/>
                    <a:gd name="connsiteX75" fmla="*/ 491 w 10000"/>
                    <a:gd name="connsiteY75" fmla="*/ 1457 h 9971"/>
                    <a:gd name="connsiteX76" fmla="*/ 399 w 10000"/>
                    <a:gd name="connsiteY76" fmla="*/ 1657 h 9971"/>
                    <a:gd name="connsiteX77" fmla="*/ 194 w 10000"/>
                    <a:gd name="connsiteY77" fmla="*/ 2128 h 9971"/>
                    <a:gd name="connsiteX78" fmla="*/ 0 w 10000"/>
                    <a:gd name="connsiteY78" fmla="*/ 2614 h 9971"/>
                    <a:gd name="connsiteX79" fmla="*/ 10 w 10000"/>
                    <a:gd name="connsiteY79" fmla="*/ 942 h 9971"/>
                    <a:gd name="connsiteX80" fmla="*/ 205 w 10000"/>
                    <a:gd name="connsiteY80" fmla="*/ 728 h 9971"/>
                    <a:gd name="connsiteX81" fmla="*/ 399 w 10000"/>
                    <a:gd name="connsiteY81" fmla="*/ 542 h 9971"/>
                    <a:gd name="connsiteX82" fmla="*/ 604 w 10000"/>
                    <a:gd name="connsiteY82" fmla="*/ 357 h 9971"/>
                    <a:gd name="connsiteX83" fmla="*/ 819 w 10000"/>
                    <a:gd name="connsiteY83" fmla="*/ 228 h 9971"/>
                    <a:gd name="connsiteX84" fmla="*/ 1054 w 10000"/>
                    <a:gd name="connsiteY84" fmla="*/ 128 h 9971"/>
                    <a:gd name="connsiteX85" fmla="*/ 1300 w 10000"/>
                    <a:gd name="connsiteY85" fmla="*/ 42 h 9971"/>
                    <a:gd name="connsiteX86" fmla="*/ 1535 w 10000"/>
                    <a:gd name="connsiteY86" fmla="*/ 0 h 9971"/>
                    <a:gd name="connsiteX87" fmla="*/ 2272 w 10000"/>
                    <a:gd name="connsiteY87" fmla="*/ 42 h 9971"/>
                    <a:gd name="connsiteX88" fmla="*/ 2426 w 10000"/>
                    <a:gd name="connsiteY88" fmla="*/ 85 h 9971"/>
                    <a:gd name="connsiteX89" fmla="*/ 2569 w 10000"/>
                    <a:gd name="connsiteY89" fmla="*/ 157 h 9971"/>
                    <a:gd name="connsiteX90" fmla="*/ 2712 w 10000"/>
                    <a:gd name="connsiteY90" fmla="*/ 228 h 9971"/>
                    <a:gd name="connsiteX91" fmla="*/ 2845 w 10000"/>
                    <a:gd name="connsiteY91" fmla="*/ 314 h 9971"/>
                    <a:gd name="connsiteX92" fmla="*/ 2989 w 10000"/>
                    <a:gd name="connsiteY92" fmla="*/ 414 h 9971"/>
                    <a:gd name="connsiteX93" fmla="*/ 3112 w 10000"/>
                    <a:gd name="connsiteY93" fmla="*/ 500 h 9971"/>
                    <a:gd name="connsiteX94" fmla="*/ 3234 w 10000"/>
                    <a:gd name="connsiteY94" fmla="*/ 628 h 9971"/>
                    <a:gd name="connsiteX95" fmla="*/ 3367 w 10000"/>
                    <a:gd name="connsiteY95" fmla="*/ 757 h 9971"/>
                    <a:gd name="connsiteX96" fmla="*/ 3490 w 10000"/>
                    <a:gd name="connsiteY96" fmla="*/ 885 h 9971"/>
                    <a:gd name="connsiteX97" fmla="*/ 3726 w 10000"/>
                    <a:gd name="connsiteY97" fmla="*/ 1171 h 9971"/>
                    <a:gd name="connsiteX98" fmla="*/ 3941 w 10000"/>
                    <a:gd name="connsiteY98" fmla="*/ 1514 h 9971"/>
                    <a:gd name="connsiteX99" fmla="*/ 4145 w 10000"/>
                    <a:gd name="connsiteY99" fmla="*/ 1871 h 9971"/>
                    <a:gd name="connsiteX100" fmla="*/ 4340 w 10000"/>
                    <a:gd name="connsiteY100" fmla="*/ 2257 h 9971"/>
                    <a:gd name="connsiteX101" fmla="*/ 4534 w 10000"/>
                    <a:gd name="connsiteY101" fmla="*/ 2657 h 9971"/>
                    <a:gd name="connsiteX102" fmla="*/ 4708 w 10000"/>
                    <a:gd name="connsiteY102" fmla="*/ 3071 h 9971"/>
                    <a:gd name="connsiteX103" fmla="*/ 4893 w 10000"/>
                    <a:gd name="connsiteY103" fmla="*/ 3500 h 9971"/>
                    <a:gd name="connsiteX104" fmla="*/ 5056 w 10000"/>
                    <a:gd name="connsiteY104" fmla="*/ 3942 h 9971"/>
                    <a:gd name="connsiteX105" fmla="*/ 5363 w 10000"/>
                    <a:gd name="connsiteY105" fmla="*/ 4842 h 9971"/>
                    <a:gd name="connsiteX106" fmla="*/ 5967 w 10000"/>
                    <a:gd name="connsiteY106" fmla="*/ 6628 h 9971"/>
                    <a:gd name="connsiteX107" fmla="*/ 6254 w 10000"/>
                    <a:gd name="connsiteY107" fmla="*/ 7457 h 9971"/>
                    <a:gd name="connsiteX108" fmla="*/ 6407 w 10000"/>
                    <a:gd name="connsiteY108" fmla="*/ 7814 h 9971"/>
                    <a:gd name="connsiteX109" fmla="*/ 6551 w 10000"/>
                    <a:gd name="connsiteY109" fmla="*/ 8185 h 9971"/>
                    <a:gd name="connsiteX110" fmla="*/ 6714 w 10000"/>
                    <a:gd name="connsiteY110" fmla="*/ 8514 h 9971"/>
                    <a:gd name="connsiteX111" fmla="*/ 6868 w 10000"/>
                    <a:gd name="connsiteY111" fmla="*/ 8800 h 9971"/>
                    <a:gd name="connsiteX112" fmla="*/ 7021 w 10000"/>
                    <a:gd name="connsiteY112" fmla="*/ 9071 h 9971"/>
                    <a:gd name="connsiteX113" fmla="*/ 7195 w 10000"/>
                    <a:gd name="connsiteY113" fmla="*/ 9271 h 9971"/>
                    <a:gd name="connsiteX114" fmla="*/ 7288 w 10000"/>
                    <a:gd name="connsiteY114" fmla="*/ 9371 h 9971"/>
                    <a:gd name="connsiteX115" fmla="*/ 7369 w 10000"/>
                    <a:gd name="connsiteY115" fmla="*/ 9471 h 9971"/>
                    <a:gd name="connsiteX116" fmla="*/ 7462 w 10000"/>
                    <a:gd name="connsiteY116" fmla="*/ 9528 h 9971"/>
                    <a:gd name="connsiteX117" fmla="*/ 7554 w 10000"/>
                    <a:gd name="connsiteY117" fmla="*/ 9600 h 9971"/>
                    <a:gd name="connsiteX118" fmla="*/ 7646 w 10000"/>
                    <a:gd name="connsiteY118" fmla="*/ 9642 h 9971"/>
                    <a:gd name="connsiteX119" fmla="*/ 7748 w 10000"/>
                    <a:gd name="connsiteY119" fmla="*/ 9671 h 9971"/>
                    <a:gd name="connsiteX120" fmla="*/ 7851 w 10000"/>
                    <a:gd name="connsiteY120" fmla="*/ 9714 h 9971"/>
                    <a:gd name="connsiteX121" fmla="*/ 7943 w 10000"/>
                    <a:gd name="connsiteY121" fmla="*/ 9714 h 9971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525 w 10000"/>
                    <a:gd name="connsiteY65" fmla="*/ 286 h 10000"/>
                    <a:gd name="connsiteX66" fmla="*/ 1402 w 10000"/>
                    <a:gd name="connsiteY66" fmla="*/ 329 h 10000"/>
                    <a:gd name="connsiteX67" fmla="*/ 1279 w 10000"/>
                    <a:gd name="connsiteY67" fmla="*/ 415 h 10000"/>
                    <a:gd name="connsiteX68" fmla="*/ 1157 w 10000"/>
                    <a:gd name="connsiteY68" fmla="*/ 501 h 10000"/>
                    <a:gd name="connsiteX69" fmla="*/ 1044 w 10000"/>
                    <a:gd name="connsiteY69" fmla="*/ 616 h 10000"/>
                    <a:gd name="connsiteX70" fmla="*/ 931 w 10000"/>
                    <a:gd name="connsiteY70" fmla="*/ 759 h 10000"/>
                    <a:gd name="connsiteX71" fmla="*/ 809 w 10000"/>
                    <a:gd name="connsiteY71" fmla="*/ 903 h 10000"/>
                    <a:gd name="connsiteX72" fmla="*/ 706 w 10000"/>
                    <a:gd name="connsiteY72" fmla="*/ 1088 h 10000"/>
                    <a:gd name="connsiteX73" fmla="*/ 604 w 10000"/>
                    <a:gd name="connsiteY73" fmla="*/ 1261 h 10000"/>
                    <a:gd name="connsiteX74" fmla="*/ 491 w 10000"/>
                    <a:gd name="connsiteY74" fmla="*/ 1461 h 10000"/>
                    <a:gd name="connsiteX75" fmla="*/ 399 w 10000"/>
                    <a:gd name="connsiteY75" fmla="*/ 1662 h 10000"/>
                    <a:gd name="connsiteX76" fmla="*/ 194 w 10000"/>
                    <a:gd name="connsiteY76" fmla="*/ 2134 h 10000"/>
                    <a:gd name="connsiteX77" fmla="*/ 0 w 10000"/>
                    <a:gd name="connsiteY77" fmla="*/ 2622 h 10000"/>
                    <a:gd name="connsiteX78" fmla="*/ 10 w 10000"/>
                    <a:gd name="connsiteY78" fmla="*/ 945 h 10000"/>
                    <a:gd name="connsiteX79" fmla="*/ 205 w 10000"/>
                    <a:gd name="connsiteY79" fmla="*/ 730 h 10000"/>
                    <a:gd name="connsiteX80" fmla="*/ 399 w 10000"/>
                    <a:gd name="connsiteY80" fmla="*/ 544 h 10000"/>
                    <a:gd name="connsiteX81" fmla="*/ 604 w 10000"/>
                    <a:gd name="connsiteY81" fmla="*/ 358 h 10000"/>
                    <a:gd name="connsiteX82" fmla="*/ 819 w 10000"/>
                    <a:gd name="connsiteY82" fmla="*/ 229 h 10000"/>
                    <a:gd name="connsiteX83" fmla="*/ 1054 w 10000"/>
                    <a:gd name="connsiteY83" fmla="*/ 128 h 10000"/>
                    <a:gd name="connsiteX84" fmla="*/ 1300 w 10000"/>
                    <a:gd name="connsiteY84" fmla="*/ 42 h 10000"/>
                    <a:gd name="connsiteX85" fmla="*/ 1535 w 10000"/>
                    <a:gd name="connsiteY85" fmla="*/ 0 h 10000"/>
                    <a:gd name="connsiteX86" fmla="*/ 2272 w 10000"/>
                    <a:gd name="connsiteY86" fmla="*/ 42 h 10000"/>
                    <a:gd name="connsiteX87" fmla="*/ 2426 w 10000"/>
                    <a:gd name="connsiteY87" fmla="*/ 85 h 10000"/>
                    <a:gd name="connsiteX88" fmla="*/ 2569 w 10000"/>
                    <a:gd name="connsiteY88" fmla="*/ 157 h 10000"/>
                    <a:gd name="connsiteX89" fmla="*/ 2712 w 10000"/>
                    <a:gd name="connsiteY89" fmla="*/ 229 h 10000"/>
                    <a:gd name="connsiteX90" fmla="*/ 2845 w 10000"/>
                    <a:gd name="connsiteY90" fmla="*/ 315 h 10000"/>
                    <a:gd name="connsiteX91" fmla="*/ 2989 w 10000"/>
                    <a:gd name="connsiteY91" fmla="*/ 415 h 10000"/>
                    <a:gd name="connsiteX92" fmla="*/ 3112 w 10000"/>
                    <a:gd name="connsiteY92" fmla="*/ 501 h 10000"/>
                    <a:gd name="connsiteX93" fmla="*/ 3234 w 10000"/>
                    <a:gd name="connsiteY93" fmla="*/ 630 h 10000"/>
                    <a:gd name="connsiteX94" fmla="*/ 3367 w 10000"/>
                    <a:gd name="connsiteY94" fmla="*/ 759 h 10000"/>
                    <a:gd name="connsiteX95" fmla="*/ 3490 w 10000"/>
                    <a:gd name="connsiteY95" fmla="*/ 888 h 10000"/>
                    <a:gd name="connsiteX96" fmla="*/ 3726 w 10000"/>
                    <a:gd name="connsiteY96" fmla="*/ 1174 h 10000"/>
                    <a:gd name="connsiteX97" fmla="*/ 3941 w 10000"/>
                    <a:gd name="connsiteY97" fmla="*/ 1518 h 10000"/>
                    <a:gd name="connsiteX98" fmla="*/ 4145 w 10000"/>
                    <a:gd name="connsiteY98" fmla="*/ 1876 h 10000"/>
                    <a:gd name="connsiteX99" fmla="*/ 4340 w 10000"/>
                    <a:gd name="connsiteY99" fmla="*/ 2264 h 10000"/>
                    <a:gd name="connsiteX100" fmla="*/ 4534 w 10000"/>
                    <a:gd name="connsiteY100" fmla="*/ 2665 h 10000"/>
                    <a:gd name="connsiteX101" fmla="*/ 4708 w 10000"/>
                    <a:gd name="connsiteY101" fmla="*/ 3080 h 10000"/>
                    <a:gd name="connsiteX102" fmla="*/ 4893 w 10000"/>
                    <a:gd name="connsiteY102" fmla="*/ 3510 h 10000"/>
                    <a:gd name="connsiteX103" fmla="*/ 5056 w 10000"/>
                    <a:gd name="connsiteY103" fmla="*/ 3953 h 10000"/>
                    <a:gd name="connsiteX104" fmla="*/ 5363 w 10000"/>
                    <a:gd name="connsiteY104" fmla="*/ 4856 h 10000"/>
                    <a:gd name="connsiteX105" fmla="*/ 5967 w 10000"/>
                    <a:gd name="connsiteY105" fmla="*/ 6647 h 10000"/>
                    <a:gd name="connsiteX106" fmla="*/ 6254 w 10000"/>
                    <a:gd name="connsiteY106" fmla="*/ 7479 h 10000"/>
                    <a:gd name="connsiteX107" fmla="*/ 6407 w 10000"/>
                    <a:gd name="connsiteY107" fmla="*/ 7837 h 10000"/>
                    <a:gd name="connsiteX108" fmla="*/ 6551 w 10000"/>
                    <a:gd name="connsiteY108" fmla="*/ 8209 h 10000"/>
                    <a:gd name="connsiteX109" fmla="*/ 6714 w 10000"/>
                    <a:gd name="connsiteY109" fmla="*/ 8539 h 10000"/>
                    <a:gd name="connsiteX110" fmla="*/ 6868 w 10000"/>
                    <a:gd name="connsiteY110" fmla="*/ 8826 h 10000"/>
                    <a:gd name="connsiteX111" fmla="*/ 7021 w 10000"/>
                    <a:gd name="connsiteY111" fmla="*/ 9097 h 10000"/>
                    <a:gd name="connsiteX112" fmla="*/ 7195 w 10000"/>
                    <a:gd name="connsiteY112" fmla="*/ 9298 h 10000"/>
                    <a:gd name="connsiteX113" fmla="*/ 7288 w 10000"/>
                    <a:gd name="connsiteY113" fmla="*/ 9398 h 10000"/>
                    <a:gd name="connsiteX114" fmla="*/ 7369 w 10000"/>
                    <a:gd name="connsiteY114" fmla="*/ 9499 h 10000"/>
                    <a:gd name="connsiteX115" fmla="*/ 7462 w 10000"/>
                    <a:gd name="connsiteY115" fmla="*/ 9556 h 10000"/>
                    <a:gd name="connsiteX116" fmla="*/ 7554 w 10000"/>
                    <a:gd name="connsiteY116" fmla="*/ 9628 h 10000"/>
                    <a:gd name="connsiteX117" fmla="*/ 7646 w 10000"/>
                    <a:gd name="connsiteY117" fmla="*/ 9670 h 10000"/>
                    <a:gd name="connsiteX118" fmla="*/ 7748 w 10000"/>
                    <a:gd name="connsiteY118" fmla="*/ 9699 h 10000"/>
                    <a:gd name="connsiteX119" fmla="*/ 7851 w 10000"/>
                    <a:gd name="connsiteY119" fmla="*/ 9742 h 10000"/>
                    <a:gd name="connsiteX120" fmla="*/ 7943 w 10000"/>
                    <a:gd name="connsiteY120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668 w 10000"/>
                    <a:gd name="connsiteY64" fmla="*/ 243 h 10000"/>
                    <a:gd name="connsiteX65" fmla="*/ 1402 w 10000"/>
                    <a:gd name="connsiteY65" fmla="*/ 329 h 10000"/>
                    <a:gd name="connsiteX66" fmla="*/ 1279 w 10000"/>
                    <a:gd name="connsiteY66" fmla="*/ 415 h 10000"/>
                    <a:gd name="connsiteX67" fmla="*/ 1157 w 10000"/>
                    <a:gd name="connsiteY67" fmla="*/ 501 h 10000"/>
                    <a:gd name="connsiteX68" fmla="*/ 1044 w 10000"/>
                    <a:gd name="connsiteY68" fmla="*/ 616 h 10000"/>
                    <a:gd name="connsiteX69" fmla="*/ 931 w 10000"/>
                    <a:gd name="connsiteY69" fmla="*/ 759 h 10000"/>
                    <a:gd name="connsiteX70" fmla="*/ 809 w 10000"/>
                    <a:gd name="connsiteY70" fmla="*/ 903 h 10000"/>
                    <a:gd name="connsiteX71" fmla="*/ 706 w 10000"/>
                    <a:gd name="connsiteY71" fmla="*/ 1088 h 10000"/>
                    <a:gd name="connsiteX72" fmla="*/ 604 w 10000"/>
                    <a:gd name="connsiteY72" fmla="*/ 1261 h 10000"/>
                    <a:gd name="connsiteX73" fmla="*/ 491 w 10000"/>
                    <a:gd name="connsiteY73" fmla="*/ 1461 h 10000"/>
                    <a:gd name="connsiteX74" fmla="*/ 399 w 10000"/>
                    <a:gd name="connsiteY74" fmla="*/ 1662 h 10000"/>
                    <a:gd name="connsiteX75" fmla="*/ 194 w 10000"/>
                    <a:gd name="connsiteY75" fmla="*/ 2134 h 10000"/>
                    <a:gd name="connsiteX76" fmla="*/ 0 w 10000"/>
                    <a:gd name="connsiteY76" fmla="*/ 2622 h 10000"/>
                    <a:gd name="connsiteX77" fmla="*/ 10 w 10000"/>
                    <a:gd name="connsiteY77" fmla="*/ 945 h 10000"/>
                    <a:gd name="connsiteX78" fmla="*/ 205 w 10000"/>
                    <a:gd name="connsiteY78" fmla="*/ 730 h 10000"/>
                    <a:gd name="connsiteX79" fmla="*/ 399 w 10000"/>
                    <a:gd name="connsiteY79" fmla="*/ 544 h 10000"/>
                    <a:gd name="connsiteX80" fmla="*/ 604 w 10000"/>
                    <a:gd name="connsiteY80" fmla="*/ 358 h 10000"/>
                    <a:gd name="connsiteX81" fmla="*/ 819 w 10000"/>
                    <a:gd name="connsiteY81" fmla="*/ 229 h 10000"/>
                    <a:gd name="connsiteX82" fmla="*/ 1054 w 10000"/>
                    <a:gd name="connsiteY82" fmla="*/ 128 h 10000"/>
                    <a:gd name="connsiteX83" fmla="*/ 1300 w 10000"/>
                    <a:gd name="connsiteY83" fmla="*/ 42 h 10000"/>
                    <a:gd name="connsiteX84" fmla="*/ 1535 w 10000"/>
                    <a:gd name="connsiteY84" fmla="*/ 0 h 10000"/>
                    <a:gd name="connsiteX85" fmla="*/ 2272 w 10000"/>
                    <a:gd name="connsiteY85" fmla="*/ 42 h 10000"/>
                    <a:gd name="connsiteX86" fmla="*/ 2426 w 10000"/>
                    <a:gd name="connsiteY86" fmla="*/ 85 h 10000"/>
                    <a:gd name="connsiteX87" fmla="*/ 2569 w 10000"/>
                    <a:gd name="connsiteY87" fmla="*/ 157 h 10000"/>
                    <a:gd name="connsiteX88" fmla="*/ 2712 w 10000"/>
                    <a:gd name="connsiteY88" fmla="*/ 229 h 10000"/>
                    <a:gd name="connsiteX89" fmla="*/ 2845 w 10000"/>
                    <a:gd name="connsiteY89" fmla="*/ 315 h 10000"/>
                    <a:gd name="connsiteX90" fmla="*/ 2989 w 10000"/>
                    <a:gd name="connsiteY90" fmla="*/ 415 h 10000"/>
                    <a:gd name="connsiteX91" fmla="*/ 3112 w 10000"/>
                    <a:gd name="connsiteY91" fmla="*/ 501 h 10000"/>
                    <a:gd name="connsiteX92" fmla="*/ 3234 w 10000"/>
                    <a:gd name="connsiteY92" fmla="*/ 630 h 10000"/>
                    <a:gd name="connsiteX93" fmla="*/ 3367 w 10000"/>
                    <a:gd name="connsiteY93" fmla="*/ 759 h 10000"/>
                    <a:gd name="connsiteX94" fmla="*/ 3490 w 10000"/>
                    <a:gd name="connsiteY94" fmla="*/ 888 h 10000"/>
                    <a:gd name="connsiteX95" fmla="*/ 3726 w 10000"/>
                    <a:gd name="connsiteY95" fmla="*/ 1174 h 10000"/>
                    <a:gd name="connsiteX96" fmla="*/ 3941 w 10000"/>
                    <a:gd name="connsiteY96" fmla="*/ 1518 h 10000"/>
                    <a:gd name="connsiteX97" fmla="*/ 4145 w 10000"/>
                    <a:gd name="connsiteY97" fmla="*/ 1876 h 10000"/>
                    <a:gd name="connsiteX98" fmla="*/ 4340 w 10000"/>
                    <a:gd name="connsiteY98" fmla="*/ 2264 h 10000"/>
                    <a:gd name="connsiteX99" fmla="*/ 4534 w 10000"/>
                    <a:gd name="connsiteY99" fmla="*/ 2665 h 10000"/>
                    <a:gd name="connsiteX100" fmla="*/ 4708 w 10000"/>
                    <a:gd name="connsiteY100" fmla="*/ 3080 h 10000"/>
                    <a:gd name="connsiteX101" fmla="*/ 4893 w 10000"/>
                    <a:gd name="connsiteY101" fmla="*/ 3510 h 10000"/>
                    <a:gd name="connsiteX102" fmla="*/ 5056 w 10000"/>
                    <a:gd name="connsiteY102" fmla="*/ 3953 h 10000"/>
                    <a:gd name="connsiteX103" fmla="*/ 5363 w 10000"/>
                    <a:gd name="connsiteY103" fmla="*/ 4856 h 10000"/>
                    <a:gd name="connsiteX104" fmla="*/ 5967 w 10000"/>
                    <a:gd name="connsiteY104" fmla="*/ 6647 h 10000"/>
                    <a:gd name="connsiteX105" fmla="*/ 6254 w 10000"/>
                    <a:gd name="connsiteY105" fmla="*/ 7479 h 10000"/>
                    <a:gd name="connsiteX106" fmla="*/ 6407 w 10000"/>
                    <a:gd name="connsiteY106" fmla="*/ 7837 h 10000"/>
                    <a:gd name="connsiteX107" fmla="*/ 6551 w 10000"/>
                    <a:gd name="connsiteY107" fmla="*/ 8209 h 10000"/>
                    <a:gd name="connsiteX108" fmla="*/ 6714 w 10000"/>
                    <a:gd name="connsiteY108" fmla="*/ 8539 h 10000"/>
                    <a:gd name="connsiteX109" fmla="*/ 6868 w 10000"/>
                    <a:gd name="connsiteY109" fmla="*/ 8826 h 10000"/>
                    <a:gd name="connsiteX110" fmla="*/ 7021 w 10000"/>
                    <a:gd name="connsiteY110" fmla="*/ 9097 h 10000"/>
                    <a:gd name="connsiteX111" fmla="*/ 7195 w 10000"/>
                    <a:gd name="connsiteY111" fmla="*/ 9298 h 10000"/>
                    <a:gd name="connsiteX112" fmla="*/ 7288 w 10000"/>
                    <a:gd name="connsiteY112" fmla="*/ 9398 h 10000"/>
                    <a:gd name="connsiteX113" fmla="*/ 7369 w 10000"/>
                    <a:gd name="connsiteY113" fmla="*/ 9499 h 10000"/>
                    <a:gd name="connsiteX114" fmla="*/ 7462 w 10000"/>
                    <a:gd name="connsiteY114" fmla="*/ 9556 h 10000"/>
                    <a:gd name="connsiteX115" fmla="*/ 7554 w 10000"/>
                    <a:gd name="connsiteY115" fmla="*/ 9628 h 10000"/>
                    <a:gd name="connsiteX116" fmla="*/ 7646 w 10000"/>
                    <a:gd name="connsiteY116" fmla="*/ 9670 h 10000"/>
                    <a:gd name="connsiteX117" fmla="*/ 7748 w 10000"/>
                    <a:gd name="connsiteY117" fmla="*/ 9699 h 10000"/>
                    <a:gd name="connsiteX118" fmla="*/ 7851 w 10000"/>
                    <a:gd name="connsiteY118" fmla="*/ 9742 h 10000"/>
                    <a:gd name="connsiteX119" fmla="*/ 7943 w 10000"/>
                    <a:gd name="connsiteY119" fmla="*/ 9742 h 10000"/>
                    <a:gd name="connsiteX0" fmla="*/ 7943 w 10000"/>
                    <a:gd name="connsiteY0" fmla="*/ 9742 h 10000"/>
                    <a:gd name="connsiteX1" fmla="*/ 7943 w 10000"/>
                    <a:gd name="connsiteY1" fmla="*/ 9742 h 10000"/>
                    <a:gd name="connsiteX2" fmla="*/ 8076 w 10000"/>
                    <a:gd name="connsiteY2" fmla="*/ 9742 h 10000"/>
                    <a:gd name="connsiteX3" fmla="*/ 8178 w 10000"/>
                    <a:gd name="connsiteY3" fmla="*/ 9699 h 10000"/>
                    <a:gd name="connsiteX4" fmla="*/ 8291 w 10000"/>
                    <a:gd name="connsiteY4" fmla="*/ 9656 h 10000"/>
                    <a:gd name="connsiteX5" fmla="*/ 8403 w 10000"/>
                    <a:gd name="connsiteY5" fmla="*/ 9613 h 10000"/>
                    <a:gd name="connsiteX6" fmla="*/ 8506 w 10000"/>
                    <a:gd name="connsiteY6" fmla="*/ 9528 h 10000"/>
                    <a:gd name="connsiteX7" fmla="*/ 8608 w 10000"/>
                    <a:gd name="connsiteY7" fmla="*/ 9427 h 10000"/>
                    <a:gd name="connsiteX8" fmla="*/ 8700 w 10000"/>
                    <a:gd name="connsiteY8" fmla="*/ 9341 h 10000"/>
                    <a:gd name="connsiteX9" fmla="*/ 8802 w 10000"/>
                    <a:gd name="connsiteY9" fmla="*/ 9212 h 10000"/>
                    <a:gd name="connsiteX10" fmla="*/ 8915 w 10000"/>
                    <a:gd name="connsiteY10" fmla="*/ 9083 h 10000"/>
                    <a:gd name="connsiteX11" fmla="*/ 9007 w 10000"/>
                    <a:gd name="connsiteY11" fmla="*/ 8940 h 10000"/>
                    <a:gd name="connsiteX12" fmla="*/ 9191 w 10000"/>
                    <a:gd name="connsiteY12" fmla="*/ 8610 h 10000"/>
                    <a:gd name="connsiteX13" fmla="*/ 9376 w 10000"/>
                    <a:gd name="connsiteY13" fmla="*/ 8238 h 10000"/>
                    <a:gd name="connsiteX14" fmla="*/ 9539 w 10000"/>
                    <a:gd name="connsiteY14" fmla="*/ 7837 h 10000"/>
                    <a:gd name="connsiteX15" fmla="*/ 9775 w 10000"/>
                    <a:gd name="connsiteY15" fmla="*/ 8281 h 10000"/>
                    <a:gd name="connsiteX16" fmla="*/ 10000 w 10000"/>
                    <a:gd name="connsiteY16" fmla="*/ 8696 h 10000"/>
                    <a:gd name="connsiteX17" fmla="*/ 9785 w 10000"/>
                    <a:gd name="connsiteY17" fmla="*/ 8983 h 10000"/>
                    <a:gd name="connsiteX18" fmla="*/ 9570 w 10000"/>
                    <a:gd name="connsiteY18" fmla="*/ 9241 h 10000"/>
                    <a:gd name="connsiteX19" fmla="*/ 9324 w 10000"/>
                    <a:gd name="connsiteY19" fmla="*/ 9469 h 10000"/>
                    <a:gd name="connsiteX20" fmla="*/ 9212 w 10000"/>
                    <a:gd name="connsiteY20" fmla="*/ 9556 h 10000"/>
                    <a:gd name="connsiteX21" fmla="*/ 9079 w 10000"/>
                    <a:gd name="connsiteY21" fmla="*/ 9656 h 10000"/>
                    <a:gd name="connsiteX22" fmla="*/ 8946 w 10000"/>
                    <a:gd name="connsiteY22" fmla="*/ 9742 h 10000"/>
                    <a:gd name="connsiteX23" fmla="*/ 8823 w 10000"/>
                    <a:gd name="connsiteY23" fmla="*/ 9799 h 10000"/>
                    <a:gd name="connsiteX24" fmla="*/ 8680 w 10000"/>
                    <a:gd name="connsiteY24" fmla="*/ 9871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3 h 10000"/>
                    <a:gd name="connsiteX35" fmla="*/ 7021 w 10000"/>
                    <a:gd name="connsiteY35" fmla="*/ 9756 h 10000"/>
                    <a:gd name="connsiteX36" fmla="*/ 6888 w 10000"/>
                    <a:gd name="connsiteY36" fmla="*/ 9656 h 10000"/>
                    <a:gd name="connsiteX37" fmla="*/ 6745 w 10000"/>
                    <a:gd name="connsiteY37" fmla="*/ 9556 h 10000"/>
                    <a:gd name="connsiteX38" fmla="*/ 6622 w 10000"/>
                    <a:gd name="connsiteY38" fmla="*/ 9469 h 10000"/>
                    <a:gd name="connsiteX39" fmla="*/ 6479 w 10000"/>
                    <a:gd name="connsiteY39" fmla="*/ 9341 h 10000"/>
                    <a:gd name="connsiteX40" fmla="*/ 6366 w 10000"/>
                    <a:gd name="connsiteY40" fmla="*/ 9227 h 10000"/>
                    <a:gd name="connsiteX41" fmla="*/ 6244 w 10000"/>
                    <a:gd name="connsiteY41" fmla="*/ 9083 h 10000"/>
                    <a:gd name="connsiteX42" fmla="*/ 6008 w 10000"/>
                    <a:gd name="connsiteY42" fmla="*/ 8782 h 10000"/>
                    <a:gd name="connsiteX43" fmla="*/ 5793 w 10000"/>
                    <a:gd name="connsiteY43" fmla="*/ 8453 h 10000"/>
                    <a:gd name="connsiteX44" fmla="*/ 5589 w 10000"/>
                    <a:gd name="connsiteY44" fmla="*/ 8094 h 10000"/>
                    <a:gd name="connsiteX45" fmla="*/ 5394 w 10000"/>
                    <a:gd name="connsiteY45" fmla="*/ 7707 h 10000"/>
                    <a:gd name="connsiteX46" fmla="*/ 5200 w 10000"/>
                    <a:gd name="connsiteY46" fmla="*/ 7306 h 10000"/>
                    <a:gd name="connsiteX47" fmla="*/ 5026 w 10000"/>
                    <a:gd name="connsiteY47" fmla="*/ 6891 h 10000"/>
                    <a:gd name="connsiteX48" fmla="*/ 4852 w 10000"/>
                    <a:gd name="connsiteY48" fmla="*/ 6461 h 10000"/>
                    <a:gd name="connsiteX49" fmla="*/ 4688 w 10000"/>
                    <a:gd name="connsiteY49" fmla="*/ 6017 h 10000"/>
                    <a:gd name="connsiteX50" fmla="*/ 4371 w 10000"/>
                    <a:gd name="connsiteY50" fmla="*/ 5115 h 10000"/>
                    <a:gd name="connsiteX51" fmla="*/ 3777 w 10000"/>
                    <a:gd name="connsiteY51" fmla="*/ 3338 h 10000"/>
                    <a:gd name="connsiteX52" fmla="*/ 3644 w 10000"/>
                    <a:gd name="connsiteY52" fmla="*/ 2893 h 10000"/>
                    <a:gd name="connsiteX53" fmla="*/ 3490 w 10000"/>
                    <a:gd name="connsiteY53" fmla="*/ 2492 h 10000"/>
                    <a:gd name="connsiteX54" fmla="*/ 3347 w 10000"/>
                    <a:gd name="connsiteY54" fmla="*/ 2134 h 10000"/>
                    <a:gd name="connsiteX55" fmla="*/ 3193 w 10000"/>
                    <a:gd name="connsiteY55" fmla="*/ 1762 h 10000"/>
                    <a:gd name="connsiteX56" fmla="*/ 3040 w 10000"/>
                    <a:gd name="connsiteY56" fmla="*/ 1432 h 10000"/>
                    <a:gd name="connsiteX57" fmla="*/ 2886 w 10000"/>
                    <a:gd name="connsiteY57" fmla="*/ 1145 h 10000"/>
                    <a:gd name="connsiteX58" fmla="*/ 2723 w 10000"/>
                    <a:gd name="connsiteY58" fmla="*/ 874 h 10000"/>
                    <a:gd name="connsiteX59" fmla="*/ 2559 w 10000"/>
                    <a:gd name="connsiteY59" fmla="*/ 673 h 10000"/>
                    <a:gd name="connsiteX60" fmla="*/ 2467 w 10000"/>
                    <a:gd name="connsiteY60" fmla="*/ 573 h 10000"/>
                    <a:gd name="connsiteX61" fmla="*/ 2375 w 10000"/>
                    <a:gd name="connsiteY61" fmla="*/ 472 h 10000"/>
                    <a:gd name="connsiteX62" fmla="*/ 2282 w 10000"/>
                    <a:gd name="connsiteY62" fmla="*/ 415 h 10000"/>
                    <a:gd name="connsiteX63" fmla="*/ 2190 w 10000"/>
                    <a:gd name="connsiteY63" fmla="*/ 343 h 10000"/>
                    <a:gd name="connsiteX64" fmla="*/ 1402 w 10000"/>
                    <a:gd name="connsiteY64" fmla="*/ 329 h 10000"/>
                    <a:gd name="connsiteX65" fmla="*/ 1279 w 10000"/>
                    <a:gd name="connsiteY65" fmla="*/ 415 h 10000"/>
                    <a:gd name="connsiteX66" fmla="*/ 1157 w 10000"/>
                    <a:gd name="connsiteY66" fmla="*/ 501 h 10000"/>
                    <a:gd name="connsiteX67" fmla="*/ 1044 w 10000"/>
                    <a:gd name="connsiteY67" fmla="*/ 616 h 10000"/>
                    <a:gd name="connsiteX68" fmla="*/ 931 w 10000"/>
                    <a:gd name="connsiteY68" fmla="*/ 759 h 10000"/>
                    <a:gd name="connsiteX69" fmla="*/ 809 w 10000"/>
                    <a:gd name="connsiteY69" fmla="*/ 903 h 10000"/>
                    <a:gd name="connsiteX70" fmla="*/ 706 w 10000"/>
                    <a:gd name="connsiteY70" fmla="*/ 1088 h 10000"/>
                    <a:gd name="connsiteX71" fmla="*/ 604 w 10000"/>
                    <a:gd name="connsiteY71" fmla="*/ 1261 h 10000"/>
                    <a:gd name="connsiteX72" fmla="*/ 491 w 10000"/>
                    <a:gd name="connsiteY72" fmla="*/ 1461 h 10000"/>
                    <a:gd name="connsiteX73" fmla="*/ 399 w 10000"/>
                    <a:gd name="connsiteY73" fmla="*/ 1662 h 10000"/>
                    <a:gd name="connsiteX74" fmla="*/ 194 w 10000"/>
                    <a:gd name="connsiteY74" fmla="*/ 2134 h 10000"/>
                    <a:gd name="connsiteX75" fmla="*/ 0 w 10000"/>
                    <a:gd name="connsiteY75" fmla="*/ 2622 h 10000"/>
                    <a:gd name="connsiteX76" fmla="*/ 10 w 10000"/>
                    <a:gd name="connsiteY76" fmla="*/ 945 h 10000"/>
                    <a:gd name="connsiteX77" fmla="*/ 205 w 10000"/>
                    <a:gd name="connsiteY77" fmla="*/ 730 h 10000"/>
                    <a:gd name="connsiteX78" fmla="*/ 399 w 10000"/>
                    <a:gd name="connsiteY78" fmla="*/ 544 h 10000"/>
                    <a:gd name="connsiteX79" fmla="*/ 604 w 10000"/>
                    <a:gd name="connsiteY79" fmla="*/ 358 h 10000"/>
                    <a:gd name="connsiteX80" fmla="*/ 819 w 10000"/>
                    <a:gd name="connsiteY80" fmla="*/ 229 h 10000"/>
                    <a:gd name="connsiteX81" fmla="*/ 1054 w 10000"/>
                    <a:gd name="connsiteY81" fmla="*/ 128 h 10000"/>
                    <a:gd name="connsiteX82" fmla="*/ 1300 w 10000"/>
                    <a:gd name="connsiteY82" fmla="*/ 42 h 10000"/>
                    <a:gd name="connsiteX83" fmla="*/ 1535 w 10000"/>
                    <a:gd name="connsiteY83" fmla="*/ 0 h 10000"/>
                    <a:gd name="connsiteX84" fmla="*/ 2272 w 10000"/>
                    <a:gd name="connsiteY84" fmla="*/ 42 h 10000"/>
                    <a:gd name="connsiteX85" fmla="*/ 2426 w 10000"/>
                    <a:gd name="connsiteY85" fmla="*/ 85 h 10000"/>
                    <a:gd name="connsiteX86" fmla="*/ 2569 w 10000"/>
                    <a:gd name="connsiteY86" fmla="*/ 157 h 10000"/>
                    <a:gd name="connsiteX87" fmla="*/ 2712 w 10000"/>
                    <a:gd name="connsiteY87" fmla="*/ 229 h 10000"/>
                    <a:gd name="connsiteX88" fmla="*/ 2845 w 10000"/>
                    <a:gd name="connsiteY88" fmla="*/ 315 h 10000"/>
                    <a:gd name="connsiteX89" fmla="*/ 2989 w 10000"/>
                    <a:gd name="connsiteY89" fmla="*/ 415 h 10000"/>
                    <a:gd name="connsiteX90" fmla="*/ 3112 w 10000"/>
                    <a:gd name="connsiteY90" fmla="*/ 501 h 10000"/>
                    <a:gd name="connsiteX91" fmla="*/ 3234 w 10000"/>
                    <a:gd name="connsiteY91" fmla="*/ 630 h 10000"/>
                    <a:gd name="connsiteX92" fmla="*/ 3367 w 10000"/>
                    <a:gd name="connsiteY92" fmla="*/ 759 h 10000"/>
                    <a:gd name="connsiteX93" fmla="*/ 3490 w 10000"/>
                    <a:gd name="connsiteY93" fmla="*/ 888 h 10000"/>
                    <a:gd name="connsiteX94" fmla="*/ 3726 w 10000"/>
                    <a:gd name="connsiteY94" fmla="*/ 1174 h 10000"/>
                    <a:gd name="connsiteX95" fmla="*/ 3941 w 10000"/>
                    <a:gd name="connsiteY95" fmla="*/ 1518 h 10000"/>
                    <a:gd name="connsiteX96" fmla="*/ 4145 w 10000"/>
                    <a:gd name="connsiteY96" fmla="*/ 1876 h 10000"/>
                    <a:gd name="connsiteX97" fmla="*/ 4340 w 10000"/>
                    <a:gd name="connsiteY97" fmla="*/ 2264 h 10000"/>
                    <a:gd name="connsiteX98" fmla="*/ 4534 w 10000"/>
                    <a:gd name="connsiteY98" fmla="*/ 2665 h 10000"/>
                    <a:gd name="connsiteX99" fmla="*/ 4708 w 10000"/>
                    <a:gd name="connsiteY99" fmla="*/ 3080 h 10000"/>
                    <a:gd name="connsiteX100" fmla="*/ 4893 w 10000"/>
                    <a:gd name="connsiteY100" fmla="*/ 3510 h 10000"/>
                    <a:gd name="connsiteX101" fmla="*/ 5056 w 10000"/>
                    <a:gd name="connsiteY101" fmla="*/ 3953 h 10000"/>
                    <a:gd name="connsiteX102" fmla="*/ 5363 w 10000"/>
                    <a:gd name="connsiteY102" fmla="*/ 4856 h 10000"/>
                    <a:gd name="connsiteX103" fmla="*/ 5967 w 10000"/>
                    <a:gd name="connsiteY103" fmla="*/ 6647 h 10000"/>
                    <a:gd name="connsiteX104" fmla="*/ 6254 w 10000"/>
                    <a:gd name="connsiteY104" fmla="*/ 7479 h 10000"/>
                    <a:gd name="connsiteX105" fmla="*/ 6407 w 10000"/>
                    <a:gd name="connsiteY105" fmla="*/ 7837 h 10000"/>
                    <a:gd name="connsiteX106" fmla="*/ 6551 w 10000"/>
                    <a:gd name="connsiteY106" fmla="*/ 8209 h 10000"/>
                    <a:gd name="connsiteX107" fmla="*/ 6714 w 10000"/>
                    <a:gd name="connsiteY107" fmla="*/ 8539 h 10000"/>
                    <a:gd name="connsiteX108" fmla="*/ 6868 w 10000"/>
                    <a:gd name="connsiteY108" fmla="*/ 8826 h 10000"/>
                    <a:gd name="connsiteX109" fmla="*/ 7021 w 10000"/>
                    <a:gd name="connsiteY109" fmla="*/ 9097 h 10000"/>
                    <a:gd name="connsiteX110" fmla="*/ 7195 w 10000"/>
                    <a:gd name="connsiteY110" fmla="*/ 9298 h 10000"/>
                    <a:gd name="connsiteX111" fmla="*/ 7288 w 10000"/>
                    <a:gd name="connsiteY111" fmla="*/ 9398 h 10000"/>
                    <a:gd name="connsiteX112" fmla="*/ 7369 w 10000"/>
                    <a:gd name="connsiteY112" fmla="*/ 9499 h 10000"/>
                    <a:gd name="connsiteX113" fmla="*/ 7462 w 10000"/>
                    <a:gd name="connsiteY113" fmla="*/ 9556 h 10000"/>
                    <a:gd name="connsiteX114" fmla="*/ 7554 w 10000"/>
                    <a:gd name="connsiteY114" fmla="*/ 9628 h 10000"/>
                    <a:gd name="connsiteX115" fmla="*/ 7646 w 10000"/>
                    <a:gd name="connsiteY115" fmla="*/ 9670 h 10000"/>
                    <a:gd name="connsiteX116" fmla="*/ 7748 w 10000"/>
                    <a:gd name="connsiteY116" fmla="*/ 9699 h 10000"/>
                    <a:gd name="connsiteX117" fmla="*/ 7851 w 10000"/>
                    <a:gd name="connsiteY117" fmla="*/ 9742 h 10000"/>
                    <a:gd name="connsiteX118" fmla="*/ 7943 w 10000"/>
                    <a:gd name="connsiteY118" fmla="*/ 9742 h 10000"/>
                    <a:gd name="connsiteX0" fmla="*/ 7943 w 10000"/>
                    <a:gd name="connsiteY0" fmla="*/ 9700 h 9958"/>
                    <a:gd name="connsiteX1" fmla="*/ 7943 w 10000"/>
                    <a:gd name="connsiteY1" fmla="*/ 9700 h 9958"/>
                    <a:gd name="connsiteX2" fmla="*/ 8076 w 10000"/>
                    <a:gd name="connsiteY2" fmla="*/ 9700 h 9958"/>
                    <a:gd name="connsiteX3" fmla="*/ 8178 w 10000"/>
                    <a:gd name="connsiteY3" fmla="*/ 9657 h 9958"/>
                    <a:gd name="connsiteX4" fmla="*/ 8291 w 10000"/>
                    <a:gd name="connsiteY4" fmla="*/ 9614 h 9958"/>
                    <a:gd name="connsiteX5" fmla="*/ 8403 w 10000"/>
                    <a:gd name="connsiteY5" fmla="*/ 9571 h 9958"/>
                    <a:gd name="connsiteX6" fmla="*/ 8506 w 10000"/>
                    <a:gd name="connsiteY6" fmla="*/ 9486 h 9958"/>
                    <a:gd name="connsiteX7" fmla="*/ 8608 w 10000"/>
                    <a:gd name="connsiteY7" fmla="*/ 9385 h 9958"/>
                    <a:gd name="connsiteX8" fmla="*/ 8700 w 10000"/>
                    <a:gd name="connsiteY8" fmla="*/ 9299 h 9958"/>
                    <a:gd name="connsiteX9" fmla="*/ 8802 w 10000"/>
                    <a:gd name="connsiteY9" fmla="*/ 9170 h 9958"/>
                    <a:gd name="connsiteX10" fmla="*/ 8915 w 10000"/>
                    <a:gd name="connsiteY10" fmla="*/ 9041 h 9958"/>
                    <a:gd name="connsiteX11" fmla="*/ 9007 w 10000"/>
                    <a:gd name="connsiteY11" fmla="*/ 8898 h 9958"/>
                    <a:gd name="connsiteX12" fmla="*/ 9191 w 10000"/>
                    <a:gd name="connsiteY12" fmla="*/ 8568 h 9958"/>
                    <a:gd name="connsiteX13" fmla="*/ 9376 w 10000"/>
                    <a:gd name="connsiteY13" fmla="*/ 8196 h 9958"/>
                    <a:gd name="connsiteX14" fmla="*/ 9539 w 10000"/>
                    <a:gd name="connsiteY14" fmla="*/ 7795 h 9958"/>
                    <a:gd name="connsiteX15" fmla="*/ 9775 w 10000"/>
                    <a:gd name="connsiteY15" fmla="*/ 8239 h 9958"/>
                    <a:gd name="connsiteX16" fmla="*/ 10000 w 10000"/>
                    <a:gd name="connsiteY16" fmla="*/ 8654 h 9958"/>
                    <a:gd name="connsiteX17" fmla="*/ 9785 w 10000"/>
                    <a:gd name="connsiteY17" fmla="*/ 8941 h 9958"/>
                    <a:gd name="connsiteX18" fmla="*/ 9570 w 10000"/>
                    <a:gd name="connsiteY18" fmla="*/ 9199 h 9958"/>
                    <a:gd name="connsiteX19" fmla="*/ 9324 w 10000"/>
                    <a:gd name="connsiteY19" fmla="*/ 9427 h 9958"/>
                    <a:gd name="connsiteX20" fmla="*/ 9212 w 10000"/>
                    <a:gd name="connsiteY20" fmla="*/ 9514 h 9958"/>
                    <a:gd name="connsiteX21" fmla="*/ 9079 w 10000"/>
                    <a:gd name="connsiteY21" fmla="*/ 9614 h 9958"/>
                    <a:gd name="connsiteX22" fmla="*/ 8946 w 10000"/>
                    <a:gd name="connsiteY22" fmla="*/ 9700 h 9958"/>
                    <a:gd name="connsiteX23" fmla="*/ 8823 w 10000"/>
                    <a:gd name="connsiteY23" fmla="*/ 9757 h 9958"/>
                    <a:gd name="connsiteX24" fmla="*/ 8680 w 10000"/>
                    <a:gd name="connsiteY24" fmla="*/ 9829 h 9958"/>
                    <a:gd name="connsiteX25" fmla="*/ 8547 w 10000"/>
                    <a:gd name="connsiteY25" fmla="*/ 9872 h 9958"/>
                    <a:gd name="connsiteX26" fmla="*/ 8403 w 10000"/>
                    <a:gd name="connsiteY26" fmla="*/ 9901 h 9958"/>
                    <a:gd name="connsiteX27" fmla="*/ 8260 w 10000"/>
                    <a:gd name="connsiteY27" fmla="*/ 9929 h 9958"/>
                    <a:gd name="connsiteX28" fmla="*/ 8106 w 10000"/>
                    <a:gd name="connsiteY28" fmla="*/ 9958 h 9958"/>
                    <a:gd name="connsiteX29" fmla="*/ 7943 w 10000"/>
                    <a:gd name="connsiteY29" fmla="*/ 9958 h 9958"/>
                    <a:gd name="connsiteX30" fmla="*/ 7779 w 10000"/>
                    <a:gd name="connsiteY30" fmla="*/ 9958 h 9958"/>
                    <a:gd name="connsiteX31" fmla="*/ 7625 w 10000"/>
                    <a:gd name="connsiteY31" fmla="*/ 9915 h 9958"/>
                    <a:gd name="connsiteX32" fmla="*/ 7462 w 10000"/>
                    <a:gd name="connsiteY32" fmla="*/ 9887 h 9958"/>
                    <a:gd name="connsiteX33" fmla="*/ 7308 w 10000"/>
                    <a:gd name="connsiteY33" fmla="*/ 9844 h 9958"/>
                    <a:gd name="connsiteX34" fmla="*/ 7165 w 10000"/>
                    <a:gd name="connsiteY34" fmla="*/ 9771 h 9958"/>
                    <a:gd name="connsiteX35" fmla="*/ 7021 w 10000"/>
                    <a:gd name="connsiteY35" fmla="*/ 9714 h 9958"/>
                    <a:gd name="connsiteX36" fmla="*/ 6888 w 10000"/>
                    <a:gd name="connsiteY36" fmla="*/ 9614 h 9958"/>
                    <a:gd name="connsiteX37" fmla="*/ 6745 w 10000"/>
                    <a:gd name="connsiteY37" fmla="*/ 9514 h 9958"/>
                    <a:gd name="connsiteX38" fmla="*/ 6622 w 10000"/>
                    <a:gd name="connsiteY38" fmla="*/ 9427 h 9958"/>
                    <a:gd name="connsiteX39" fmla="*/ 6479 w 10000"/>
                    <a:gd name="connsiteY39" fmla="*/ 9299 h 9958"/>
                    <a:gd name="connsiteX40" fmla="*/ 6366 w 10000"/>
                    <a:gd name="connsiteY40" fmla="*/ 9185 h 9958"/>
                    <a:gd name="connsiteX41" fmla="*/ 6244 w 10000"/>
                    <a:gd name="connsiteY41" fmla="*/ 9041 h 9958"/>
                    <a:gd name="connsiteX42" fmla="*/ 6008 w 10000"/>
                    <a:gd name="connsiteY42" fmla="*/ 8740 h 9958"/>
                    <a:gd name="connsiteX43" fmla="*/ 5793 w 10000"/>
                    <a:gd name="connsiteY43" fmla="*/ 8411 h 9958"/>
                    <a:gd name="connsiteX44" fmla="*/ 5589 w 10000"/>
                    <a:gd name="connsiteY44" fmla="*/ 8052 h 9958"/>
                    <a:gd name="connsiteX45" fmla="*/ 5394 w 10000"/>
                    <a:gd name="connsiteY45" fmla="*/ 7665 h 9958"/>
                    <a:gd name="connsiteX46" fmla="*/ 5200 w 10000"/>
                    <a:gd name="connsiteY46" fmla="*/ 7264 h 9958"/>
                    <a:gd name="connsiteX47" fmla="*/ 5026 w 10000"/>
                    <a:gd name="connsiteY47" fmla="*/ 6849 h 9958"/>
                    <a:gd name="connsiteX48" fmla="*/ 4852 w 10000"/>
                    <a:gd name="connsiteY48" fmla="*/ 6419 h 9958"/>
                    <a:gd name="connsiteX49" fmla="*/ 4688 w 10000"/>
                    <a:gd name="connsiteY49" fmla="*/ 5975 h 9958"/>
                    <a:gd name="connsiteX50" fmla="*/ 4371 w 10000"/>
                    <a:gd name="connsiteY50" fmla="*/ 5073 h 9958"/>
                    <a:gd name="connsiteX51" fmla="*/ 3777 w 10000"/>
                    <a:gd name="connsiteY51" fmla="*/ 3296 h 9958"/>
                    <a:gd name="connsiteX52" fmla="*/ 3644 w 10000"/>
                    <a:gd name="connsiteY52" fmla="*/ 2851 h 9958"/>
                    <a:gd name="connsiteX53" fmla="*/ 3490 w 10000"/>
                    <a:gd name="connsiteY53" fmla="*/ 2450 h 9958"/>
                    <a:gd name="connsiteX54" fmla="*/ 3347 w 10000"/>
                    <a:gd name="connsiteY54" fmla="*/ 2092 h 9958"/>
                    <a:gd name="connsiteX55" fmla="*/ 3193 w 10000"/>
                    <a:gd name="connsiteY55" fmla="*/ 1720 h 9958"/>
                    <a:gd name="connsiteX56" fmla="*/ 3040 w 10000"/>
                    <a:gd name="connsiteY56" fmla="*/ 1390 h 9958"/>
                    <a:gd name="connsiteX57" fmla="*/ 2886 w 10000"/>
                    <a:gd name="connsiteY57" fmla="*/ 1103 h 9958"/>
                    <a:gd name="connsiteX58" fmla="*/ 2723 w 10000"/>
                    <a:gd name="connsiteY58" fmla="*/ 832 h 9958"/>
                    <a:gd name="connsiteX59" fmla="*/ 2559 w 10000"/>
                    <a:gd name="connsiteY59" fmla="*/ 631 h 9958"/>
                    <a:gd name="connsiteX60" fmla="*/ 2467 w 10000"/>
                    <a:gd name="connsiteY60" fmla="*/ 531 h 9958"/>
                    <a:gd name="connsiteX61" fmla="*/ 2375 w 10000"/>
                    <a:gd name="connsiteY61" fmla="*/ 430 h 9958"/>
                    <a:gd name="connsiteX62" fmla="*/ 2282 w 10000"/>
                    <a:gd name="connsiteY62" fmla="*/ 373 h 9958"/>
                    <a:gd name="connsiteX63" fmla="*/ 2190 w 10000"/>
                    <a:gd name="connsiteY63" fmla="*/ 301 h 9958"/>
                    <a:gd name="connsiteX64" fmla="*/ 1402 w 10000"/>
                    <a:gd name="connsiteY64" fmla="*/ 287 h 9958"/>
                    <a:gd name="connsiteX65" fmla="*/ 1279 w 10000"/>
                    <a:gd name="connsiteY65" fmla="*/ 373 h 9958"/>
                    <a:gd name="connsiteX66" fmla="*/ 1157 w 10000"/>
                    <a:gd name="connsiteY66" fmla="*/ 459 h 9958"/>
                    <a:gd name="connsiteX67" fmla="*/ 1044 w 10000"/>
                    <a:gd name="connsiteY67" fmla="*/ 574 h 9958"/>
                    <a:gd name="connsiteX68" fmla="*/ 931 w 10000"/>
                    <a:gd name="connsiteY68" fmla="*/ 717 h 9958"/>
                    <a:gd name="connsiteX69" fmla="*/ 809 w 10000"/>
                    <a:gd name="connsiteY69" fmla="*/ 861 h 9958"/>
                    <a:gd name="connsiteX70" fmla="*/ 706 w 10000"/>
                    <a:gd name="connsiteY70" fmla="*/ 1046 h 9958"/>
                    <a:gd name="connsiteX71" fmla="*/ 604 w 10000"/>
                    <a:gd name="connsiteY71" fmla="*/ 1219 h 9958"/>
                    <a:gd name="connsiteX72" fmla="*/ 491 w 10000"/>
                    <a:gd name="connsiteY72" fmla="*/ 1419 h 9958"/>
                    <a:gd name="connsiteX73" fmla="*/ 399 w 10000"/>
                    <a:gd name="connsiteY73" fmla="*/ 1620 h 9958"/>
                    <a:gd name="connsiteX74" fmla="*/ 194 w 10000"/>
                    <a:gd name="connsiteY74" fmla="*/ 2092 h 9958"/>
                    <a:gd name="connsiteX75" fmla="*/ 0 w 10000"/>
                    <a:gd name="connsiteY75" fmla="*/ 2580 h 9958"/>
                    <a:gd name="connsiteX76" fmla="*/ 10 w 10000"/>
                    <a:gd name="connsiteY76" fmla="*/ 903 h 9958"/>
                    <a:gd name="connsiteX77" fmla="*/ 205 w 10000"/>
                    <a:gd name="connsiteY77" fmla="*/ 688 h 9958"/>
                    <a:gd name="connsiteX78" fmla="*/ 399 w 10000"/>
                    <a:gd name="connsiteY78" fmla="*/ 502 h 9958"/>
                    <a:gd name="connsiteX79" fmla="*/ 604 w 10000"/>
                    <a:gd name="connsiteY79" fmla="*/ 316 h 9958"/>
                    <a:gd name="connsiteX80" fmla="*/ 819 w 10000"/>
                    <a:gd name="connsiteY80" fmla="*/ 187 h 9958"/>
                    <a:gd name="connsiteX81" fmla="*/ 1054 w 10000"/>
                    <a:gd name="connsiteY81" fmla="*/ 86 h 9958"/>
                    <a:gd name="connsiteX82" fmla="*/ 1300 w 10000"/>
                    <a:gd name="connsiteY82" fmla="*/ 0 h 9958"/>
                    <a:gd name="connsiteX83" fmla="*/ 2272 w 10000"/>
                    <a:gd name="connsiteY83" fmla="*/ 0 h 9958"/>
                    <a:gd name="connsiteX84" fmla="*/ 2426 w 10000"/>
                    <a:gd name="connsiteY84" fmla="*/ 43 h 9958"/>
                    <a:gd name="connsiteX85" fmla="*/ 2569 w 10000"/>
                    <a:gd name="connsiteY85" fmla="*/ 115 h 9958"/>
                    <a:gd name="connsiteX86" fmla="*/ 2712 w 10000"/>
                    <a:gd name="connsiteY86" fmla="*/ 187 h 9958"/>
                    <a:gd name="connsiteX87" fmla="*/ 2845 w 10000"/>
                    <a:gd name="connsiteY87" fmla="*/ 273 h 9958"/>
                    <a:gd name="connsiteX88" fmla="*/ 2989 w 10000"/>
                    <a:gd name="connsiteY88" fmla="*/ 373 h 9958"/>
                    <a:gd name="connsiteX89" fmla="*/ 3112 w 10000"/>
                    <a:gd name="connsiteY89" fmla="*/ 459 h 9958"/>
                    <a:gd name="connsiteX90" fmla="*/ 3234 w 10000"/>
                    <a:gd name="connsiteY90" fmla="*/ 588 h 9958"/>
                    <a:gd name="connsiteX91" fmla="*/ 3367 w 10000"/>
                    <a:gd name="connsiteY91" fmla="*/ 717 h 9958"/>
                    <a:gd name="connsiteX92" fmla="*/ 3490 w 10000"/>
                    <a:gd name="connsiteY92" fmla="*/ 846 h 9958"/>
                    <a:gd name="connsiteX93" fmla="*/ 3726 w 10000"/>
                    <a:gd name="connsiteY93" fmla="*/ 1132 h 9958"/>
                    <a:gd name="connsiteX94" fmla="*/ 3941 w 10000"/>
                    <a:gd name="connsiteY94" fmla="*/ 1476 h 9958"/>
                    <a:gd name="connsiteX95" fmla="*/ 4145 w 10000"/>
                    <a:gd name="connsiteY95" fmla="*/ 1834 h 9958"/>
                    <a:gd name="connsiteX96" fmla="*/ 4340 w 10000"/>
                    <a:gd name="connsiteY96" fmla="*/ 2222 h 9958"/>
                    <a:gd name="connsiteX97" fmla="*/ 4534 w 10000"/>
                    <a:gd name="connsiteY97" fmla="*/ 2623 h 9958"/>
                    <a:gd name="connsiteX98" fmla="*/ 4708 w 10000"/>
                    <a:gd name="connsiteY98" fmla="*/ 3038 h 9958"/>
                    <a:gd name="connsiteX99" fmla="*/ 4893 w 10000"/>
                    <a:gd name="connsiteY99" fmla="*/ 3468 h 9958"/>
                    <a:gd name="connsiteX100" fmla="*/ 5056 w 10000"/>
                    <a:gd name="connsiteY100" fmla="*/ 3911 h 9958"/>
                    <a:gd name="connsiteX101" fmla="*/ 5363 w 10000"/>
                    <a:gd name="connsiteY101" fmla="*/ 4814 h 9958"/>
                    <a:gd name="connsiteX102" fmla="*/ 5967 w 10000"/>
                    <a:gd name="connsiteY102" fmla="*/ 6605 h 9958"/>
                    <a:gd name="connsiteX103" fmla="*/ 6254 w 10000"/>
                    <a:gd name="connsiteY103" fmla="*/ 7437 h 9958"/>
                    <a:gd name="connsiteX104" fmla="*/ 6407 w 10000"/>
                    <a:gd name="connsiteY104" fmla="*/ 7795 h 9958"/>
                    <a:gd name="connsiteX105" fmla="*/ 6551 w 10000"/>
                    <a:gd name="connsiteY105" fmla="*/ 8167 h 9958"/>
                    <a:gd name="connsiteX106" fmla="*/ 6714 w 10000"/>
                    <a:gd name="connsiteY106" fmla="*/ 8497 h 9958"/>
                    <a:gd name="connsiteX107" fmla="*/ 6868 w 10000"/>
                    <a:gd name="connsiteY107" fmla="*/ 8784 h 9958"/>
                    <a:gd name="connsiteX108" fmla="*/ 7021 w 10000"/>
                    <a:gd name="connsiteY108" fmla="*/ 9055 h 9958"/>
                    <a:gd name="connsiteX109" fmla="*/ 7195 w 10000"/>
                    <a:gd name="connsiteY109" fmla="*/ 9256 h 9958"/>
                    <a:gd name="connsiteX110" fmla="*/ 7288 w 10000"/>
                    <a:gd name="connsiteY110" fmla="*/ 9356 h 9958"/>
                    <a:gd name="connsiteX111" fmla="*/ 7369 w 10000"/>
                    <a:gd name="connsiteY111" fmla="*/ 9457 h 9958"/>
                    <a:gd name="connsiteX112" fmla="*/ 7462 w 10000"/>
                    <a:gd name="connsiteY112" fmla="*/ 9514 h 9958"/>
                    <a:gd name="connsiteX113" fmla="*/ 7554 w 10000"/>
                    <a:gd name="connsiteY113" fmla="*/ 9586 h 9958"/>
                    <a:gd name="connsiteX114" fmla="*/ 7646 w 10000"/>
                    <a:gd name="connsiteY114" fmla="*/ 9628 h 9958"/>
                    <a:gd name="connsiteX115" fmla="*/ 7748 w 10000"/>
                    <a:gd name="connsiteY115" fmla="*/ 9657 h 9958"/>
                    <a:gd name="connsiteX116" fmla="*/ 7851 w 10000"/>
                    <a:gd name="connsiteY116" fmla="*/ 9700 h 9958"/>
                    <a:gd name="connsiteX117" fmla="*/ 7943 w 10000"/>
                    <a:gd name="connsiteY117" fmla="*/ 9700 h 9958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402 w 10000"/>
                    <a:gd name="connsiteY64" fmla="*/ 288 h 10000"/>
                    <a:gd name="connsiteX65" fmla="*/ 1279 w 10000"/>
                    <a:gd name="connsiteY65" fmla="*/ 375 h 10000"/>
                    <a:gd name="connsiteX66" fmla="*/ 1157 w 10000"/>
                    <a:gd name="connsiteY66" fmla="*/ 461 h 10000"/>
                    <a:gd name="connsiteX67" fmla="*/ 1044 w 10000"/>
                    <a:gd name="connsiteY67" fmla="*/ 576 h 10000"/>
                    <a:gd name="connsiteX68" fmla="*/ 931 w 10000"/>
                    <a:gd name="connsiteY68" fmla="*/ 720 h 10000"/>
                    <a:gd name="connsiteX69" fmla="*/ 809 w 10000"/>
                    <a:gd name="connsiteY69" fmla="*/ 865 h 10000"/>
                    <a:gd name="connsiteX70" fmla="*/ 706 w 10000"/>
                    <a:gd name="connsiteY70" fmla="*/ 1050 h 10000"/>
                    <a:gd name="connsiteX71" fmla="*/ 604 w 10000"/>
                    <a:gd name="connsiteY71" fmla="*/ 1224 h 10000"/>
                    <a:gd name="connsiteX72" fmla="*/ 491 w 10000"/>
                    <a:gd name="connsiteY72" fmla="*/ 1425 h 10000"/>
                    <a:gd name="connsiteX73" fmla="*/ 399 w 10000"/>
                    <a:gd name="connsiteY73" fmla="*/ 1627 h 10000"/>
                    <a:gd name="connsiteX74" fmla="*/ 194 w 10000"/>
                    <a:gd name="connsiteY74" fmla="*/ 2101 h 10000"/>
                    <a:gd name="connsiteX75" fmla="*/ 0 w 10000"/>
                    <a:gd name="connsiteY75" fmla="*/ 2591 h 10000"/>
                    <a:gd name="connsiteX76" fmla="*/ 10 w 10000"/>
                    <a:gd name="connsiteY76" fmla="*/ 907 h 10000"/>
                    <a:gd name="connsiteX77" fmla="*/ 205 w 10000"/>
                    <a:gd name="connsiteY77" fmla="*/ 691 h 10000"/>
                    <a:gd name="connsiteX78" fmla="*/ 399 w 10000"/>
                    <a:gd name="connsiteY78" fmla="*/ 504 h 10000"/>
                    <a:gd name="connsiteX79" fmla="*/ 604 w 10000"/>
                    <a:gd name="connsiteY79" fmla="*/ 317 h 10000"/>
                    <a:gd name="connsiteX80" fmla="*/ 819 w 10000"/>
                    <a:gd name="connsiteY80" fmla="*/ 188 h 10000"/>
                    <a:gd name="connsiteX81" fmla="*/ 1054 w 10000"/>
                    <a:gd name="connsiteY81" fmla="*/ 86 h 10000"/>
                    <a:gd name="connsiteX82" fmla="*/ 2272 w 10000"/>
                    <a:gd name="connsiteY82" fmla="*/ 0 h 10000"/>
                    <a:gd name="connsiteX83" fmla="*/ 2426 w 10000"/>
                    <a:gd name="connsiteY83" fmla="*/ 43 h 10000"/>
                    <a:gd name="connsiteX84" fmla="*/ 2569 w 10000"/>
                    <a:gd name="connsiteY84" fmla="*/ 115 h 10000"/>
                    <a:gd name="connsiteX85" fmla="*/ 2712 w 10000"/>
                    <a:gd name="connsiteY85" fmla="*/ 188 h 10000"/>
                    <a:gd name="connsiteX86" fmla="*/ 2845 w 10000"/>
                    <a:gd name="connsiteY86" fmla="*/ 274 h 10000"/>
                    <a:gd name="connsiteX87" fmla="*/ 2989 w 10000"/>
                    <a:gd name="connsiteY87" fmla="*/ 375 h 10000"/>
                    <a:gd name="connsiteX88" fmla="*/ 3112 w 10000"/>
                    <a:gd name="connsiteY88" fmla="*/ 461 h 10000"/>
                    <a:gd name="connsiteX89" fmla="*/ 3234 w 10000"/>
                    <a:gd name="connsiteY89" fmla="*/ 590 h 10000"/>
                    <a:gd name="connsiteX90" fmla="*/ 3367 w 10000"/>
                    <a:gd name="connsiteY90" fmla="*/ 720 h 10000"/>
                    <a:gd name="connsiteX91" fmla="*/ 3490 w 10000"/>
                    <a:gd name="connsiteY91" fmla="*/ 850 h 10000"/>
                    <a:gd name="connsiteX92" fmla="*/ 3726 w 10000"/>
                    <a:gd name="connsiteY92" fmla="*/ 1137 h 10000"/>
                    <a:gd name="connsiteX93" fmla="*/ 3941 w 10000"/>
                    <a:gd name="connsiteY93" fmla="*/ 1482 h 10000"/>
                    <a:gd name="connsiteX94" fmla="*/ 4145 w 10000"/>
                    <a:gd name="connsiteY94" fmla="*/ 1842 h 10000"/>
                    <a:gd name="connsiteX95" fmla="*/ 4340 w 10000"/>
                    <a:gd name="connsiteY95" fmla="*/ 2231 h 10000"/>
                    <a:gd name="connsiteX96" fmla="*/ 4534 w 10000"/>
                    <a:gd name="connsiteY96" fmla="*/ 2634 h 10000"/>
                    <a:gd name="connsiteX97" fmla="*/ 4708 w 10000"/>
                    <a:gd name="connsiteY97" fmla="*/ 3051 h 10000"/>
                    <a:gd name="connsiteX98" fmla="*/ 4893 w 10000"/>
                    <a:gd name="connsiteY98" fmla="*/ 3483 h 10000"/>
                    <a:gd name="connsiteX99" fmla="*/ 5056 w 10000"/>
                    <a:gd name="connsiteY99" fmla="*/ 3927 h 10000"/>
                    <a:gd name="connsiteX100" fmla="*/ 5363 w 10000"/>
                    <a:gd name="connsiteY100" fmla="*/ 4834 h 10000"/>
                    <a:gd name="connsiteX101" fmla="*/ 5967 w 10000"/>
                    <a:gd name="connsiteY101" fmla="*/ 6633 h 10000"/>
                    <a:gd name="connsiteX102" fmla="*/ 6254 w 10000"/>
                    <a:gd name="connsiteY102" fmla="*/ 7468 h 10000"/>
                    <a:gd name="connsiteX103" fmla="*/ 6407 w 10000"/>
                    <a:gd name="connsiteY103" fmla="*/ 7828 h 10000"/>
                    <a:gd name="connsiteX104" fmla="*/ 6551 w 10000"/>
                    <a:gd name="connsiteY104" fmla="*/ 8201 h 10000"/>
                    <a:gd name="connsiteX105" fmla="*/ 6714 w 10000"/>
                    <a:gd name="connsiteY105" fmla="*/ 8533 h 10000"/>
                    <a:gd name="connsiteX106" fmla="*/ 6868 w 10000"/>
                    <a:gd name="connsiteY106" fmla="*/ 8821 h 10000"/>
                    <a:gd name="connsiteX107" fmla="*/ 7021 w 10000"/>
                    <a:gd name="connsiteY107" fmla="*/ 9093 h 10000"/>
                    <a:gd name="connsiteX108" fmla="*/ 7195 w 10000"/>
                    <a:gd name="connsiteY108" fmla="*/ 9295 h 10000"/>
                    <a:gd name="connsiteX109" fmla="*/ 7288 w 10000"/>
                    <a:gd name="connsiteY109" fmla="*/ 9395 h 10000"/>
                    <a:gd name="connsiteX110" fmla="*/ 7369 w 10000"/>
                    <a:gd name="connsiteY110" fmla="*/ 9497 h 10000"/>
                    <a:gd name="connsiteX111" fmla="*/ 7462 w 10000"/>
                    <a:gd name="connsiteY111" fmla="*/ 9554 h 10000"/>
                    <a:gd name="connsiteX112" fmla="*/ 7554 w 10000"/>
                    <a:gd name="connsiteY112" fmla="*/ 9626 h 10000"/>
                    <a:gd name="connsiteX113" fmla="*/ 7646 w 10000"/>
                    <a:gd name="connsiteY113" fmla="*/ 9669 h 10000"/>
                    <a:gd name="connsiteX114" fmla="*/ 7748 w 10000"/>
                    <a:gd name="connsiteY114" fmla="*/ 9698 h 10000"/>
                    <a:gd name="connsiteX115" fmla="*/ 7851 w 10000"/>
                    <a:gd name="connsiteY115" fmla="*/ 9741 h 10000"/>
                    <a:gd name="connsiteX116" fmla="*/ 7943 w 10000"/>
                    <a:gd name="connsiteY11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279 w 10000"/>
                    <a:gd name="connsiteY64" fmla="*/ 375 h 10000"/>
                    <a:gd name="connsiteX65" fmla="*/ 1157 w 10000"/>
                    <a:gd name="connsiteY65" fmla="*/ 461 h 10000"/>
                    <a:gd name="connsiteX66" fmla="*/ 1044 w 10000"/>
                    <a:gd name="connsiteY66" fmla="*/ 576 h 10000"/>
                    <a:gd name="connsiteX67" fmla="*/ 931 w 10000"/>
                    <a:gd name="connsiteY67" fmla="*/ 720 h 10000"/>
                    <a:gd name="connsiteX68" fmla="*/ 809 w 10000"/>
                    <a:gd name="connsiteY68" fmla="*/ 865 h 10000"/>
                    <a:gd name="connsiteX69" fmla="*/ 706 w 10000"/>
                    <a:gd name="connsiteY69" fmla="*/ 1050 h 10000"/>
                    <a:gd name="connsiteX70" fmla="*/ 604 w 10000"/>
                    <a:gd name="connsiteY70" fmla="*/ 1224 h 10000"/>
                    <a:gd name="connsiteX71" fmla="*/ 491 w 10000"/>
                    <a:gd name="connsiteY71" fmla="*/ 1425 h 10000"/>
                    <a:gd name="connsiteX72" fmla="*/ 399 w 10000"/>
                    <a:gd name="connsiteY72" fmla="*/ 1627 h 10000"/>
                    <a:gd name="connsiteX73" fmla="*/ 194 w 10000"/>
                    <a:gd name="connsiteY73" fmla="*/ 2101 h 10000"/>
                    <a:gd name="connsiteX74" fmla="*/ 0 w 10000"/>
                    <a:gd name="connsiteY74" fmla="*/ 2591 h 10000"/>
                    <a:gd name="connsiteX75" fmla="*/ 10 w 10000"/>
                    <a:gd name="connsiteY75" fmla="*/ 907 h 10000"/>
                    <a:gd name="connsiteX76" fmla="*/ 205 w 10000"/>
                    <a:gd name="connsiteY76" fmla="*/ 691 h 10000"/>
                    <a:gd name="connsiteX77" fmla="*/ 399 w 10000"/>
                    <a:gd name="connsiteY77" fmla="*/ 504 h 10000"/>
                    <a:gd name="connsiteX78" fmla="*/ 604 w 10000"/>
                    <a:gd name="connsiteY78" fmla="*/ 317 h 10000"/>
                    <a:gd name="connsiteX79" fmla="*/ 819 w 10000"/>
                    <a:gd name="connsiteY79" fmla="*/ 188 h 10000"/>
                    <a:gd name="connsiteX80" fmla="*/ 1054 w 10000"/>
                    <a:gd name="connsiteY80" fmla="*/ 86 h 10000"/>
                    <a:gd name="connsiteX81" fmla="*/ 2272 w 10000"/>
                    <a:gd name="connsiteY81" fmla="*/ 0 h 10000"/>
                    <a:gd name="connsiteX82" fmla="*/ 2426 w 10000"/>
                    <a:gd name="connsiteY82" fmla="*/ 43 h 10000"/>
                    <a:gd name="connsiteX83" fmla="*/ 2569 w 10000"/>
                    <a:gd name="connsiteY83" fmla="*/ 115 h 10000"/>
                    <a:gd name="connsiteX84" fmla="*/ 2712 w 10000"/>
                    <a:gd name="connsiteY84" fmla="*/ 188 h 10000"/>
                    <a:gd name="connsiteX85" fmla="*/ 2845 w 10000"/>
                    <a:gd name="connsiteY85" fmla="*/ 274 h 10000"/>
                    <a:gd name="connsiteX86" fmla="*/ 2989 w 10000"/>
                    <a:gd name="connsiteY86" fmla="*/ 375 h 10000"/>
                    <a:gd name="connsiteX87" fmla="*/ 3112 w 10000"/>
                    <a:gd name="connsiteY87" fmla="*/ 461 h 10000"/>
                    <a:gd name="connsiteX88" fmla="*/ 3234 w 10000"/>
                    <a:gd name="connsiteY88" fmla="*/ 590 h 10000"/>
                    <a:gd name="connsiteX89" fmla="*/ 3367 w 10000"/>
                    <a:gd name="connsiteY89" fmla="*/ 720 h 10000"/>
                    <a:gd name="connsiteX90" fmla="*/ 3490 w 10000"/>
                    <a:gd name="connsiteY90" fmla="*/ 850 h 10000"/>
                    <a:gd name="connsiteX91" fmla="*/ 3726 w 10000"/>
                    <a:gd name="connsiteY91" fmla="*/ 1137 h 10000"/>
                    <a:gd name="connsiteX92" fmla="*/ 3941 w 10000"/>
                    <a:gd name="connsiteY92" fmla="*/ 1482 h 10000"/>
                    <a:gd name="connsiteX93" fmla="*/ 4145 w 10000"/>
                    <a:gd name="connsiteY93" fmla="*/ 1842 h 10000"/>
                    <a:gd name="connsiteX94" fmla="*/ 4340 w 10000"/>
                    <a:gd name="connsiteY94" fmla="*/ 2231 h 10000"/>
                    <a:gd name="connsiteX95" fmla="*/ 4534 w 10000"/>
                    <a:gd name="connsiteY95" fmla="*/ 2634 h 10000"/>
                    <a:gd name="connsiteX96" fmla="*/ 4708 w 10000"/>
                    <a:gd name="connsiteY96" fmla="*/ 3051 h 10000"/>
                    <a:gd name="connsiteX97" fmla="*/ 4893 w 10000"/>
                    <a:gd name="connsiteY97" fmla="*/ 3483 h 10000"/>
                    <a:gd name="connsiteX98" fmla="*/ 5056 w 10000"/>
                    <a:gd name="connsiteY98" fmla="*/ 3927 h 10000"/>
                    <a:gd name="connsiteX99" fmla="*/ 5363 w 10000"/>
                    <a:gd name="connsiteY99" fmla="*/ 4834 h 10000"/>
                    <a:gd name="connsiteX100" fmla="*/ 5967 w 10000"/>
                    <a:gd name="connsiteY100" fmla="*/ 6633 h 10000"/>
                    <a:gd name="connsiteX101" fmla="*/ 6254 w 10000"/>
                    <a:gd name="connsiteY101" fmla="*/ 7468 h 10000"/>
                    <a:gd name="connsiteX102" fmla="*/ 6407 w 10000"/>
                    <a:gd name="connsiteY102" fmla="*/ 7828 h 10000"/>
                    <a:gd name="connsiteX103" fmla="*/ 6551 w 10000"/>
                    <a:gd name="connsiteY103" fmla="*/ 8201 h 10000"/>
                    <a:gd name="connsiteX104" fmla="*/ 6714 w 10000"/>
                    <a:gd name="connsiteY104" fmla="*/ 8533 h 10000"/>
                    <a:gd name="connsiteX105" fmla="*/ 6868 w 10000"/>
                    <a:gd name="connsiteY105" fmla="*/ 8821 h 10000"/>
                    <a:gd name="connsiteX106" fmla="*/ 7021 w 10000"/>
                    <a:gd name="connsiteY106" fmla="*/ 9093 h 10000"/>
                    <a:gd name="connsiteX107" fmla="*/ 7195 w 10000"/>
                    <a:gd name="connsiteY107" fmla="*/ 9295 h 10000"/>
                    <a:gd name="connsiteX108" fmla="*/ 7288 w 10000"/>
                    <a:gd name="connsiteY108" fmla="*/ 9395 h 10000"/>
                    <a:gd name="connsiteX109" fmla="*/ 7369 w 10000"/>
                    <a:gd name="connsiteY109" fmla="*/ 9497 h 10000"/>
                    <a:gd name="connsiteX110" fmla="*/ 7462 w 10000"/>
                    <a:gd name="connsiteY110" fmla="*/ 9554 h 10000"/>
                    <a:gd name="connsiteX111" fmla="*/ 7554 w 10000"/>
                    <a:gd name="connsiteY111" fmla="*/ 9626 h 10000"/>
                    <a:gd name="connsiteX112" fmla="*/ 7646 w 10000"/>
                    <a:gd name="connsiteY112" fmla="*/ 9669 h 10000"/>
                    <a:gd name="connsiteX113" fmla="*/ 7748 w 10000"/>
                    <a:gd name="connsiteY113" fmla="*/ 9698 h 10000"/>
                    <a:gd name="connsiteX114" fmla="*/ 7851 w 10000"/>
                    <a:gd name="connsiteY114" fmla="*/ 9741 h 10000"/>
                    <a:gd name="connsiteX115" fmla="*/ 7943 w 10000"/>
                    <a:gd name="connsiteY11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157 w 10000"/>
                    <a:gd name="connsiteY64" fmla="*/ 461 h 10000"/>
                    <a:gd name="connsiteX65" fmla="*/ 1044 w 10000"/>
                    <a:gd name="connsiteY65" fmla="*/ 576 h 10000"/>
                    <a:gd name="connsiteX66" fmla="*/ 931 w 10000"/>
                    <a:gd name="connsiteY66" fmla="*/ 720 h 10000"/>
                    <a:gd name="connsiteX67" fmla="*/ 809 w 10000"/>
                    <a:gd name="connsiteY67" fmla="*/ 865 h 10000"/>
                    <a:gd name="connsiteX68" fmla="*/ 706 w 10000"/>
                    <a:gd name="connsiteY68" fmla="*/ 1050 h 10000"/>
                    <a:gd name="connsiteX69" fmla="*/ 604 w 10000"/>
                    <a:gd name="connsiteY69" fmla="*/ 1224 h 10000"/>
                    <a:gd name="connsiteX70" fmla="*/ 491 w 10000"/>
                    <a:gd name="connsiteY70" fmla="*/ 1425 h 10000"/>
                    <a:gd name="connsiteX71" fmla="*/ 399 w 10000"/>
                    <a:gd name="connsiteY71" fmla="*/ 1627 h 10000"/>
                    <a:gd name="connsiteX72" fmla="*/ 194 w 10000"/>
                    <a:gd name="connsiteY72" fmla="*/ 2101 h 10000"/>
                    <a:gd name="connsiteX73" fmla="*/ 0 w 10000"/>
                    <a:gd name="connsiteY73" fmla="*/ 2591 h 10000"/>
                    <a:gd name="connsiteX74" fmla="*/ 10 w 10000"/>
                    <a:gd name="connsiteY74" fmla="*/ 907 h 10000"/>
                    <a:gd name="connsiteX75" fmla="*/ 205 w 10000"/>
                    <a:gd name="connsiteY75" fmla="*/ 691 h 10000"/>
                    <a:gd name="connsiteX76" fmla="*/ 399 w 10000"/>
                    <a:gd name="connsiteY76" fmla="*/ 504 h 10000"/>
                    <a:gd name="connsiteX77" fmla="*/ 604 w 10000"/>
                    <a:gd name="connsiteY77" fmla="*/ 317 h 10000"/>
                    <a:gd name="connsiteX78" fmla="*/ 819 w 10000"/>
                    <a:gd name="connsiteY78" fmla="*/ 188 h 10000"/>
                    <a:gd name="connsiteX79" fmla="*/ 1054 w 10000"/>
                    <a:gd name="connsiteY79" fmla="*/ 86 h 10000"/>
                    <a:gd name="connsiteX80" fmla="*/ 2272 w 10000"/>
                    <a:gd name="connsiteY80" fmla="*/ 0 h 10000"/>
                    <a:gd name="connsiteX81" fmla="*/ 2426 w 10000"/>
                    <a:gd name="connsiteY81" fmla="*/ 43 h 10000"/>
                    <a:gd name="connsiteX82" fmla="*/ 2569 w 10000"/>
                    <a:gd name="connsiteY82" fmla="*/ 115 h 10000"/>
                    <a:gd name="connsiteX83" fmla="*/ 2712 w 10000"/>
                    <a:gd name="connsiteY83" fmla="*/ 188 h 10000"/>
                    <a:gd name="connsiteX84" fmla="*/ 2845 w 10000"/>
                    <a:gd name="connsiteY84" fmla="*/ 274 h 10000"/>
                    <a:gd name="connsiteX85" fmla="*/ 2989 w 10000"/>
                    <a:gd name="connsiteY85" fmla="*/ 375 h 10000"/>
                    <a:gd name="connsiteX86" fmla="*/ 3112 w 10000"/>
                    <a:gd name="connsiteY86" fmla="*/ 461 h 10000"/>
                    <a:gd name="connsiteX87" fmla="*/ 3234 w 10000"/>
                    <a:gd name="connsiteY87" fmla="*/ 590 h 10000"/>
                    <a:gd name="connsiteX88" fmla="*/ 3367 w 10000"/>
                    <a:gd name="connsiteY88" fmla="*/ 720 h 10000"/>
                    <a:gd name="connsiteX89" fmla="*/ 3490 w 10000"/>
                    <a:gd name="connsiteY89" fmla="*/ 850 h 10000"/>
                    <a:gd name="connsiteX90" fmla="*/ 3726 w 10000"/>
                    <a:gd name="connsiteY90" fmla="*/ 1137 h 10000"/>
                    <a:gd name="connsiteX91" fmla="*/ 3941 w 10000"/>
                    <a:gd name="connsiteY91" fmla="*/ 1482 h 10000"/>
                    <a:gd name="connsiteX92" fmla="*/ 4145 w 10000"/>
                    <a:gd name="connsiteY92" fmla="*/ 1842 h 10000"/>
                    <a:gd name="connsiteX93" fmla="*/ 4340 w 10000"/>
                    <a:gd name="connsiteY93" fmla="*/ 2231 h 10000"/>
                    <a:gd name="connsiteX94" fmla="*/ 4534 w 10000"/>
                    <a:gd name="connsiteY94" fmla="*/ 2634 h 10000"/>
                    <a:gd name="connsiteX95" fmla="*/ 4708 w 10000"/>
                    <a:gd name="connsiteY95" fmla="*/ 3051 h 10000"/>
                    <a:gd name="connsiteX96" fmla="*/ 4893 w 10000"/>
                    <a:gd name="connsiteY96" fmla="*/ 3483 h 10000"/>
                    <a:gd name="connsiteX97" fmla="*/ 5056 w 10000"/>
                    <a:gd name="connsiteY97" fmla="*/ 3927 h 10000"/>
                    <a:gd name="connsiteX98" fmla="*/ 5363 w 10000"/>
                    <a:gd name="connsiteY98" fmla="*/ 4834 h 10000"/>
                    <a:gd name="connsiteX99" fmla="*/ 5967 w 10000"/>
                    <a:gd name="connsiteY99" fmla="*/ 6633 h 10000"/>
                    <a:gd name="connsiteX100" fmla="*/ 6254 w 10000"/>
                    <a:gd name="connsiteY100" fmla="*/ 7468 h 10000"/>
                    <a:gd name="connsiteX101" fmla="*/ 6407 w 10000"/>
                    <a:gd name="connsiteY101" fmla="*/ 7828 h 10000"/>
                    <a:gd name="connsiteX102" fmla="*/ 6551 w 10000"/>
                    <a:gd name="connsiteY102" fmla="*/ 8201 h 10000"/>
                    <a:gd name="connsiteX103" fmla="*/ 6714 w 10000"/>
                    <a:gd name="connsiteY103" fmla="*/ 8533 h 10000"/>
                    <a:gd name="connsiteX104" fmla="*/ 6868 w 10000"/>
                    <a:gd name="connsiteY104" fmla="*/ 8821 h 10000"/>
                    <a:gd name="connsiteX105" fmla="*/ 7021 w 10000"/>
                    <a:gd name="connsiteY105" fmla="*/ 9093 h 10000"/>
                    <a:gd name="connsiteX106" fmla="*/ 7195 w 10000"/>
                    <a:gd name="connsiteY106" fmla="*/ 9295 h 10000"/>
                    <a:gd name="connsiteX107" fmla="*/ 7288 w 10000"/>
                    <a:gd name="connsiteY107" fmla="*/ 9395 h 10000"/>
                    <a:gd name="connsiteX108" fmla="*/ 7369 w 10000"/>
                    <a:gd name="connsiteY108" fmla="*/ 9497 h 10000"/>
                    <a:gd name="connsiteX109" fmla="*/ 7462 w 10000"/>
                    <a:gd name="connsiteY109" fmla="*/ 9554 h 10000"/>
                    <a:gd name="connsiteX110" fmla="*/ 7554 w 10000"/>
                    <a:gd name="connsiteY110" fmla="*/ 9626 h 10000"/>
                    <a:gd name="connsiteX111" fmla="*/ 7646 w 10000"/>
                    <a:gd name="connsiteY111" fmla="*/ 9669 h 10000"/>
                    <a:gd name="connsiteX112" fmla="*/ 7748 w 10000"/>
                    <a:gd name="connsiteY112" fmla="*/ 9698 h 10000"/>
                    <a:gd name="connsiteX113" fmla="*/ 7851 w 10000"/>
                    <a:gd name="connsiteY113" fmla="*/ 9741 h 10000"/>
                    <a:gd name="connsiteX114" fmla="*/ 7943 w 10000"/>
                    <a:gd name="connsiteY11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1054 w 10000"/>
                    <a:gd name="connsiteY78" fmla="*/ 86 h 10000"/>
                    <a:gd name="connsiteX79" fmla="*/ 2272 w 10000"/>
                    <a:gd name="connsiteY79" fmla="*/ 0 h 10000"/>
                    <a:gd name="connsiteX80" fmla="*/ 2426 w 10000"/>
                    <a:gd name="connsiteY80" fmla="*/ 43 h 10000"/>
                    <a:gd name="connsiteX81" fmla="*/ 2569 w 10000"/>
                    <a:gd name="connsiteY81" fmla="*/ 115 h 10000"/>
                    <a:gd name="connsiteX82" fmla="*/ 2712 w 10000"/>
                    <a:gd name="connsiteY82" fmla="*/ 188 h 10000"/>
                    <a:gd name="connsiteX83" fmla="*/ 2845 w 10000"/>
                    <a:gd name="connsiteY83" fmla="*/ 274 h 10000"/>
                    <a:gd name="connsiteX84" fmla="*/ 2989 w 10000"/>
                    <a:gd name="connsiteY84" fmla="*/ 375 h 10000"/>
                    <a:gd name="connsiteX85" fmla="*/ 3112 w 10000"/>
                    <a:gd name="connsiteY85" fmla="*/ 461 h 10000"/>
                    <a:gd name="connsiteX86" fmla="*/ 3234 w 10000"/>
                    <a:gd name="connsiteY86" fmla="*/ 590 h 10000"/>
                    <a:gd name="connsiteX87" fmla="*/ 3367 w 10000"/>
                    <a:gd name="connsiteY87" fmla="*/ 720 h 10000"/>
                    <a:gd name="connsiteX88" fmla="*/ 3490 w 10000"/>
                    <a:gd name="connsiteY88" fmla="*/ 850 h 10000"/>
                    <a:gd name="connsiteX89" fmla="*/ 3726 w 10000"/>
                    <a:gd name="connsiteY89" fmla="*/ 1137 h 10000"/>
                    <a:gd name="connsiteX90" fmla="*/ 3941 w 10000"/>
                    <a:gd name="connsiteY90" fmla="*/ 1482 h 10000"/>
                    <a:gd name="connsiteX91" fmla="*/ 4145 w 10000"/>
                    <a:gd name="connsiteY91" fmla="*/ 1842 h 10000"/>
                    <a:gd name="connsiteX92" fmla="*/ 4340 w 10000"/>
                    <a:gd name="connsiteY92" fmla="*/ 2231 h 10000"/>
                    <a:gd name="connsiteX93" fmla="*/ 4534 w 10000"/>
                    <a:gd name="connsiteY93" fmla="*/ 2634 h 10000"/>
                    <a:gd name="connsiteX94" fmla="*/ 4708 w 10000"/>
                    <a:gd name="connsiteY94" fmla="*/ 3051 h 10000"/>
                    <a:gd name="connsiteX95" fmla="*/ 4893 w 10000"/>
                    <a:gd name="connsiteY95" fmla="*/ 3483 h 10000"/>
                    <a:gd name="connsiteX96" fmla="*/ 5056 w 10000"/>
                    <a:gd name="connsiteY96" fmla="*/ 3927 h 10000"/>
                    <a:gd name="connsiteX97" fmla="*/ 5363 w 10000"/>
                    <a:gd name="connsiteY97" fmla="*/ 4834 h 10000"/>
                    <a:gd name="connsiteX98" fmla="*/ 5967 w 10000"/>
                    <a:gd name="connsiteY98" fmla="*/ 6633 h 10000"/>
                    <a:gd name="connsiteX99" fmla="*/ 6254 w 10000"/>
                    <a:gd name="connsiteY99" fmla="*/ 7468 h 10000"/>
                    <a:gd name="connsiteX100" fmla="*/ 6407 w 10000"/>
                    <a:gd name="connsiteY100" fmla="*/ 7828 h 10000"/>
                    <a:gd name="connsiteX101" fmla="*/ 6551 w 10000"/>
                    <a:gd name="connsiteY101" fmla="*/ 8201 h 10000"/>
                    <a:gd name="connsiteX102" fmla="*/ 6714 w 10000"/>
                    <a:gd name="connsiteY102" fmla="*/ 8533 h 10000"/>
                    <a:gd name="connsiteX103" fmla="*/ 6868 w 10000"/>
                    <a:gd name="connsiteY103" fmla="*/ 8821 h 10000"/>
                    <a:gd name="connsiteX104" fmla="*/ 7021 w 10000"/>
                    <a:gd name="connsiteY104" fmla="*/ 9093 h 10000"/>
                    <a:gd name="connsiteX105" fmla="*/ 7195 w 10000"/>
                    <a:gd name="connsiteY105" fmla="*/ 9295 h 10000"/>
                    <a:gd name="connsiteX106" fmla="*/ 7288 w 10000"/>
                    <a:gd name="connsiteY106" fmla="*/ 9395 h 10000"/>
                    <a:gd name="connsiteX107" fmla="*/ 7369 w 10000"/>
                    <a:gd name="connsiteY107" fmla="*/ 9497 h 10000"/>
                    <a:gd name="connsiteX108" fmla="*/ 7462 w 10000"/>
                    <a:gd name="connsiteY108" fmla="*/ 9554 h 10000"/>
                    <a:gd name="connsiteX109" fmla="*/ 7554 w 10000"/>
                    <a:gd name="connsiteY109" fmla="*/ 9626 h 10000"/>
                    <a:gd name="connsiteX110" fmla="*/ 7646 w 10000"/>
                    <a:gd name="connsiteY110" fmla="*/ 9669 h 10000"/>
                    <a:gd name="connsiteX111" fmla="*/ 7748 w 10000"/>
                    <a:gd name="connsiteY111" fmla="*/ 9698 h 10000"/>
                    <a:gd name="connsiteX112" fmla="*/ 7851 w 10000"/>
                    <a:gd name="connsiteY112" fmla="*/ 9741 h 10000"/>
                    <a:gd name="connsiteX113" fmla="*/ 7943 w 10000"/>
                    <a:gd name="connsiteY11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044 w 10000"/>
                    <a:gd name="connsiteY64" fmla="*/ 576 h 10000"/>
                    <a:gd name="connsiteX65" fmla="*/ 931 w 10000"/>
                    <a:gd name="connsiteY65" fmla="*/ 720 h 10000"/>
                    <a:gd name="connsiteX66" fmla="*/ 809 w 10000"/>
                    <a:gd name="connsiteY66" fmla="*/ 865 h 10000"/>
                    <a:gd name="connsiteX67" fmla="*/ 706 w 10000"/>
                    <a:gd name="connsiteY67" fmla="*/ 1050 h 10000"/>
                    <a:gd name="connsiteX68" fmla="*/ 604 w 10000"/>
                    <a:gd name="connsiteY68" fmla="*/ 1224 h 10000"/>
                    <a:gd name="connsiteX69" fmla="*/ 491 w 10000"/>
                    <a:gd name="connsiteY69" fmla="*/ 1425 h 10000"/>
                    <a:gd name="connsiteX70" fmla="*/ 399 w 10000"/>
                    <a:gd name="connsiteY70" fmla="*/ 1627 h 10000"/>
                    <a:gd name="connsiteX71" fmla="*/ 194 w 10000"/>
                    <a:gd name="connsiteY71" fmla="*/ 2101 h 10000"/>
                    <a:gd name="connsiteX72" fmla="*/ 0 w 10000"/>
                    <a:gd name="connsiteY72" fmla="*/ 2591 h 10000"/>
                    <a:gd name="connsiteX73" fmla="*/ 10 w 10000"/>
                    <a:gd name="connsiteY73" fmla="*/ 907 h 10000"/>
                    <a:gd name="connsiteX74" fmla="*/ 205 w 10000"/>
                    <a:gd name="connsiteY74" fmla="*/ 691 h 10000"/>
                    <a:gd name="connsiteX75" fmla="*/ 399 w 10000"/>
                    <a:gd name="connsiteY75" fmla="*/ 504 h 10000"/>
                    <a:gd name="connsiteX76" fmla="*/ 604 w 10000"/>
                    <a:gd name="connsiteY76" fmla="*/ 317 h 10000"/>
                    <a:gd name="connsiteX77" fmla="*/ 819 w 10000"/>
                    <a:gd name="connsiteY77" fmla="*/ 188 h 10000"/>
                    <a:gd name="connsiteX78" fmla="*/ 2272 w 10000"/>
                    <a:gd name="connsiteY78" fmla="*/ 0 h 10000"/>
                    <a:gd name="connsiteX79" fmla="*/ 2426 w 10000"/>
                    <a:gd name="connsiteY79" fmla="*/ 43 h 10000"/>
                    <a:gd name="connsiteX80" fmla="*/ 2569 w 10000"/>
                    <a:gd name="connsiteY80" fmla="*/ 115 h 10000"/>
                    <a:gd name="connsiteX81" fmla="*/ 2712 w 10000"/>
                    <a:gd name="connsiteY81" fmla="*/ 188 h 10000"/>
                    <a:gd name="connsiteX82" fmla="*/ 2845 w 10000"/>
                    <a:gd name="connsiteY82" fmla="*/ 274 h 10000"/>
                    <a:gd name="connsiteX83" fmla="*/ 2989 w 10000"/>
                    <a:gd name="connsiteY83" fmla="*/ 375 h 10000"/>
                    <a:gd name="connsiteX84" fmla="*/ 3112 w 10000"/>
                    <a:gd name="connsiteY84" fmla="*/ 461 h 10000"/>
                    <a:gd name="connsiteX85" fmla="*/ 3234 w 10000"/>
                    <a:gd name="connsiteY85" fmla="*/ 590 h 10000"/>
                    <a:gd name="connsiteX86" fmla="*/ 3367 w 10000"/>
                    <a:gd name="connsiteY86" fmla="*/ 720 h 10000"/>
                    <a:gd name="connsiteX87" fmla="*/ 3490 w 10000"/>
                    <a:gd name="connsiteY87" fmla="*/ 850 h 10000"/>
                    <a:gd name="connsiteX88" fmla="*/ 3726 w 10000"/>
                    <a:gd name="connsiteY88" fmla="*/ 1137 h 10000"/>
                    <a:gd name="connsiteX89" fmla="*/ 3941 w 10000"/>
                    <a:gd name="connsiteY89" fmla="*/ 1482 h 10000"/>
                    <a:gd name="connsiteX90" fmla="*/ 4145 w 10000"/>
                    <a:gd name="connsiteY90" fmla="*/ 1842 h 10000"/>
                    <a:gd name="connsiteX91" fmla="*/ 4340 w 10000"/>
                    <a:gd name="connsiteY91" fmla="*/ 2231 h 10000"/>
                    <a:gd name="connsiteX92" fmla="*/ 4534 w 10000"/>
                    <a:gd name="connsiteY92" fmla="*/ 2634 h 10000"/>
                    <a:gd name="connsiteX93" fmla="*/ 4708 w 10000"/>
                    <a:gd name="connsiteY93" fmla="*/ 3051 h 10000"/>
                    <a:gd name="connsiteX94" fmla="*/ 4893 w 10000"/>
                    <a:gd name="connsiteY94" fmla="*/ 3483 h 10000"/>
                    <a:gd name="connsiteX95" fmla="*/ 5056 w 10000"/>
                    <a:gd name="connsiteY95" fmla="*/ 3927 h 10000"/>
                    <a:gd name="connsiteX96" fmla="*/ 5363 w 10000"/>
                    <a:gd name="connsiteY96" fmla="*/ 4834 h 10000"/>
                    <a:gd name="connsiteX97" fmla="*/ 5967 w 10000"/>
                    <a:gd name="connsiteY97" fmla="*/ 6633 h 10000"/>
                    <a:gd name="connsiteX98" fmla="*/ 6254 w 10000"/>
                    <a:gd name="connsiteY98" fmla="*/ 7468 h 10000"/>
                    <a:gd name="connsiteX99" fmla="*/ 6407 w 10000"/>
                    <a:gd name="connsiteY99" fmla="*/ 7828 h 10000"/>
                    <a:gd name="connsiteX100" fmla="*/ 6551 w 10000"/>
                    <a:gd name="connsiteY100" fmla="*/ 8201 h 10000"/>
                    <a:gd name="connsiteX101" fmla="*/ 6714 w 10000"/>
                    <a:gd name="connsiteY101" fmla="*/ 8533 h 10000"/>
                    <a:gd name="connsiteX102" fmla="*/ 6868 w 10000"/>
                    <a:gd name="connsiteY102" fmla="*/ 8821 h 10000"/>
                    <a:gd name="connsiteX103" fmla="*/ 7021 w 10000"/>
                    <a:gd name="connsiteY103" fmla="*/ 9093 h 10000"/>
                    <a:gd name="connsiteX104" fmla="*/ 7195 w 10000"/>
                    <a:gd name="connsiteY104" fmla="*/ 9295 h 10000"/>
                    <a:gd name="connsiteX105" fmla="*/ 7288 w 10000"/>
                    <a:gd name="connsiteY105" fmla="*/ 9395 h 10000"/>
                    <a:gd name="connsiteX106" fmla="*/ 7369 w 10000"/>
                    <a:gd name="connsiteY106" fmla="*/ 9497 h 10000"/>
                    <a:gd name="connsiteX107" fmla="*/ 7462 w 10000"/>
                    <a:gd name="connsiteY107" fmla="*/ 9554 h 10000"/>
                    <a:gd name="connsiteX108" fmla="*/ 7554 w 10000"/>
                    <a:gd name="connsiteY108" fmla="*/ 9626 h 10000"/>
                    <a:gd name="connsiteX109" fmla="*/ 7646 w 10000"/>
                    <a:gd name="connsiteY109" fmla="*/ 9669 h 10000"/>
                    <a:gd name="connsiteX110" fmla="*/ 7748 w 10000"/>
                    <a:gd name="connsiteY110" fmla="*/ 9698 h 10000"/>
                    <a:gd name="connsiteX111" fmla="*/ 7851 w 10000"/>
                    <a:gd name="connsiteY111" fmla="*/ 9741 h 10000"/>
                    <a:gd name="connsiteX112" fmla="*/ 7943 w 10000"/>
                    <a:gd name="connsiteY11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819 w 10000"/>
                    <a:gd name="connsiteY76" fmla="*/ 188 h 10000"/>
                    <a:gd name="connsiteX77" fmla="*/ 2272 w 10000"/>
                    <a:gd name="connsiteY77" fmla="*/ 0 h 10000"/>
                    <a:gd name="connsiteX78" fmla="*/ 2426 w 10000"/>
                    <a:gd name="connsiteY78" fmla="*/ 43 h 10000"/>
                    <a:gd name="connsiteX79" fmla="*/ 2569 w 10000"/>
                    <a:gd name="connsiteY79" fmla="*/ 115 h 10000"/>
                    <a:gd name="connsiteX80" fmla="*/ 2712 w 10000"/>
                    <a:gd name="connsiteY80" fmla="*/ 188 h 10000"/>
                    <a:gd name="connsiteX81" fmla="*/ 2845 w 10000"/>
                    <a:gd name="connsiteY81" fmla="*/ 274 h 10000"/>
                    <a:gd name="connsiteX82" fmla="*/ 2989 w 10000"/>
                    <a:gd name="connsiteY82" fmla="*/ 375 h 10000"/>
                    <a:gd name="connsiteX83" fmla="*/ 3112 w 10000"/>
                    <a:gd name="connsiteY83" fmla="*/ 461 h 10000"/>
                    <a:gd name="connsiteX84" fmla="*/ 3234 w 10000"/>
                    <a:gd name="connsiteY84" fmla="*/ 590 h 10000"/>
                    <a:gd name="connsiteX85" fmla="*/ 3367 w 10000"/>
                    <a:gd name="connsiteY85" fmla="*/ 720 h 10000"/>
                    <a:gd name="connsiteX86" fmla="*/ 3490 w 10000"/>
                    <a:gd name="connsiteY86" fmla="*/ 850 h 10000"/>
                    <a:gd name="connsiteX87" fmla="*/ 3726 w 10000"/>
                    <a:gd name="connsiteY87" fmla="*/ 1137 h 10000"/>
                    <a:gd name="connsiteX88" fmla="*/ 3941 w 10000"/>
                    <a:gd name="connsiteY88" fmla="*/ 1482 h 10000"/>
                    <a:gd name="connsiteX89" fmla="*/ 4145 w 10000"/>
                    <a:gd name="connsiteY89" fmla="*/ 1842 h 10000"/>
                    <a:gd name="connsiteX90" fmla="*/ 4340 w 10000"/>
                    <a:gd name="connsiteY90" fmla="*/ 2231 h 10000"/>
                    <a:gd name="connsiteX91" fmla="*/ 4534 w 10000"/>
                    <a:gd name="connsiteY91" fmla="*/ 2634 h 10000"/>
                    <a:gd name="connsiteX92" fmla="*/ 4708 w 10000"/>
                    <a:gd name="connsiteY92" fmla="*/ 3051 h 10000"/>
                    <a:gd name="connsiteX93" fmla="*/ 4893 w 10000"/>
                    <a:gd name="connsiteY93" fmla="*/ 3483 h 10000"/>
                    <a:gd name="connsiteX94" fmla="*/ 5056 w 10000"/>
                    <a:gd name="connsiteY94" fmla="*/ 3927 h 10000"/>
                    <a:gd name="connsiteX95" fmla="*/ 5363 w 10000"/>
                    <a:gd name="connsiteY95" fmla="*/ 4834 h 10000"/>
                    <a:gd name="connsiteX96" fmla="*/ 5967 w 10000"/>
                    <a:gd name="connsiteY96" fmla="*/ 6633 h 10000"/>
                    <a:gd name="connsiteX97" fmla="*/ 6254 w 10000"/>
                    <a:gd name="connsiteY97" fmla="*/ 7468 h 10000"/>
                    <a:gd name="connsiteX98" fmla="*/ 6407 w 10000"/>
                    <a:gd name="connsiteY98" fmla="*/ 7828 h 10000"/>
                    <a:gd name="connsiteX99" fmla="*/ 6551 w 10000"/>
                    <a:gd name="connsiteY99" fmla="*/ 8201 h 10000"/>
                    <a:gd name="connsiteX100" fmla="*/ 6714 w 10000"/>
                    <a:gd name="connsiteY100" fmla="*/ 8533 h 10000"/>
                    <a:gd name="connsiteX101" fmla="*/ 6868 w 10000"/>
                    <a:gd name="connsiteY101" fmla="*/ 8821 h 10000"/>
                    <a:gd name="connsiteX102" fmla="*/ 7021 w 10000"/>
                    <a:gd name="connsiteY102" fmla="*/ 9093 h 10000"/>
                    <a:gd name="connsiteX103" fmla="*/ 7195 w 10000"/>
                    <a:gd name="connsiteY103" fmla="*/ 9295 h 10000"/>
                    <a:gd name="connsiteX104" fmla="*/ 7288 w 10000"/>
                    <a:gd name="connsiteY104" fmla="*/ 9395 h 10000"/>
                    <a:gd name="connsiteX105" fmla="*/ 7369 w 10000"/>
                    <a:gd name="connsiteY105" fmla="*/ 9497 h 10000"/>
                    <a:gd name="connsiteX106" fmla="*/ 7462 w 10000"/>
                    <a:gd name="connsiteY106" fmla="*/ 9554 h 10000"/>
                    <a:gd name="connsiteX107" fmla="*/ 7554 w 10000"/>
                    <a:gd name="connsiteY107" fmla="*/ 9626 h 10000"/>
                    <a:gd name="connsiteX108" fmla="*/ 7646 w 10000"/>
                    <a:gd name="connsiteY108" fmla="*/ 9669 h 10000"/>
                    <a:gd name="connsiteX109" fmla="*/ 7748 w 10000"/>
                    <a:gd name="connsiteY109" fmla="*/ 9698 h 10000"/>
                    <a:gd name="connsiteX110" fmla="*/ 7851 w 10000"/>
                    <a:gd name="connsiteY110" fmla="*/ 9741 h 10000"/>
                    <a:gd name="connsiteX111" fmla="*/ 7943 w 10000"/>
                    <a:gd name="connsiteY11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931 w 10000"/>
                    <a:gd name="connsiteY64" fmla="*/ 720 h 10000"/>
                    <a:gd name="connsiteX65" fmla="*/ 809 w 10000"/>
                    <a:gd name="connsiteY65" fmla="*/ 865 h 10000"/>
                    <a:gd name="connsiteX66" fmla="*/ 706 w 10000"/>
                    <a:gd name="connsiteY66" fmla="*/ 1050 h 10000"/>
                    <a:gd name="connsiteX67" fmla="*/ 604 w 10000"/>
                    <a:gd name="connsiteY67" fmla="*/ 1224 h 10000"/>
                    <a:gd name="connsiteX68" fmla="*/ 491 w 10000"/>
                    <a:gd name="connsiteY68" fmla="*/ 1425 h 10000"/>
                    <a:gd name="connsiteX69" fmla="*/ 399 w 10000"/>
                    <a:gd name="connsiteY69" fmla="*/ 1627 h 10000"/>
                    <a:gd name="connsiteX70" fmla="*/ 194 w 10000"/>
                    <a:gd name="connsiteY70" fmla="*/ 2101 h 10000"/>
                    <a:gd name="connsiteX71" fmla="*/ 0 w 10000"/>
                    <a:gd name="connsiteY71" fmla="*/ 2591 h 10000"/>
                    <a:gd name="connsiteX72" fmla="*/ 10 w 10000"/>
                    <a:gd name="connsiteY72" fmla="*/ 907 h 10000"/>
                    <a:gd name="connsiteX73" fmla="*/ 205 w 10000"/>
                    <a:gd name="connsiteY73" fmla="*/ 691 h 10000"/>
                    <a:gd name="connsiteX74" fmla="*/ 399 w 10000"/>
                    <a:gd name="connsiteY74" fmla="*/ 504 h 10000"/>
                    <a:gd name="connsiteX75" fmla="*/ 604 w 10000"/>
                    <a:gd name="connsiteY75" fmla="*/ 317 h 10000"/>
                    <a:gd name="connsiteX76" fmla="*/ 2272 w 10000"/>
                    <a:gd name="connsiteY76" fmla="*/ 0 h 10000"/>
                    <a:gd name="connsiteX77" fmla="*/ 2426 w 10000"/>
                    <a:gd name="connsiteY77" fmla="*/ 43 h 10000"/>
                    <a:gd name="connsiteX78" fmla="*/ 2569 w 10000"/>
                    <a:gd name="connsiteY78" fmla="*/ 115 h 10000"/>
                    <a:gd name="connsiteX79" fmla="*/ 2712 w 10000"/>
                    <a:gd name="connsiteY79" fmla="*/ 188 h 10000"/>
                    <a:gd name="connsiteX80" fmla="*/ 2845 w 10000"/>
                    <a:gd name="connsiteY80" fmla="*/ 274 h 10000"/>
                    <a:gd name="connsiteX81" fmla="*/ 2989 w 10000"/>
                    <a:gd name="connsiteY81" fmla="*/ 375 h 10000"/>
                    <a:gd name="connsiteX82" fmla="*/ 3112 w 10000"/>
                    <a:gd name="connsiteY82" fmla="*/ 461 h 10000"/>
                    <a:gd name="connsiteX83" fmla="*/ 3234 w 10000"/>
                    <a:gd name="connsiteY83" fmla="*/ 590 h 10000"/>
                    <a:gd name="connsiteX84" fmla="*/ 3367 w 10000"/>
                    <a:gd name="connsiteY84" fmla="*/ 720 h 10000"/>
                    <a:gd name="connsiteX85" fmla="*/ 3490 w 10000"/>
                    <a:gd name="connsiteY85" fmla="*/ 850 h 10000"/>
                    <a:gd name="connsiteX86" fmla="*/ 3726 w 10000"/>
                    <a:gd name="connsiteY86" fmla="*/ 1137 h 10000"/>
                    <a:gd name="connsiteX87" fmla="*/ 3941 w 10000"/>
                    <a:gd name="connsiteY87" fmla="*/ 1482 h 10000"/>
                    <a:gd name="connsiteX88" fmla="*/ 4145 w 10000"/>
                    <a:gd name="connsiteY88" fmla="*/ 1842 h 10000"/>
                    <a:gd name="connsiteX89" fmla="*/ 4340 w 10000"/>
                    <a:gd name="connsiteY89" fmla="*/ 2231 h 10000"/>
                    <a:gd name="connsiteX90" fmla="*/ 4534 w 10000"/>
                    <a:gd name="connsiteY90" fmla="*/ 2634 h 10000"/>
                    <a:gd name="connsiteX91" fmla="*/ 4708 w 10000"/>
                    <a:gd name="connsiteY91" fmla="*/ 3051 h 10000"/>
                    <a:gd name="connsiteX92" fmla="*/ 4893 w 10000"/>
                    <a:gd name="connsiteY92" fmla="*/ 3483 h 10000"/>
                    <a:gd name="connsiteX93" fmla="*/ 5056 w 10000"/>
                    <a:gd name="connsiteY93" fmla="*/ 3927 h 10000"/>
                    <a:gd name="connsiteX94" fmla="*/ 5363 w 10000"/>
                    <a:gd name="connsiteY94" fmla="*/ 4834 h 10000"/>
                    <a:gd name="connsiteX95" fmla="*/ 5967 w 10000"/>
                    <a:gd name="connsiteY95" fmla="*/ 6633 h 10000"/>
                    <a:gd name="connsiteX96" fmla="*/ 6254 w 10000"/>
                    <a:gd name="connsiteY96" fmla="*/ 7468 h 10000"/>
                    <a:gd name="connsiteX97" fmla="*/ 6407 w 10000"/>
                    <a:gd name="connsiteY97" fmla="*/ 7828 h 10000"/>
                    <a:gd name="connsiteX98" fmla="*/ 6551 w 10000"/>
                    <a:gd name="connsiteY98" fmla="*/ 8201 h 10000"/>
                    <a:gd name="connsiteX99" fmla="*/ 6714 w 10000"/>
                    <a:gd name="connsiteY99" fmla="*/ 8533 h 10000"/>
                    <a:gd name="connsiteX100" fmla="*/ 6868 w 10000"/>
                    <a:gd name="connsiteY100" fmla="*/ 8821 h 10000"/>
                    <a:gd name="connsiteX101" fmla="*/ 7021 w 10000"/>
                    <a:gd name="connsiteY101" fmla="*/ 9093 h 10000"/>
                    <a:gd name="connsiteX102" fmla="*/ 7195 w 10000"/>
                    <a:gd name="connsiteY102" fmla="*/ 9295 h 10000"/>
                    <a:gd name="connsiteX103" fmla="*/ 7288 w 10000"/>
                    <a:gd name="connsiteY103" fmla="*/ 9395 h 10000"/>
                    <a:gd name="connsiteX104" fmla="*/ 7369 w 10000"/>
                    <a:gd name="connsiteY104" fmla="*/ 9497 h 10000"/>
                    <a:gd name="connsiteX105" fmla="*/ 7462 w 10000"/>
                    <a:gd name="connsiteY105" fmla="*/ 9554 h 10000"/>
                    <a:gd name="connsiteX106" fmla="*/ 7554 w 10000"/>
                    <a:gd name="connsiteY106" fmla="*/ 9626 h 10000"/>
                    <a:gd name="connsiteX107" fmla="*/ 7646 w 10000"/>
                    <a:gd name="connsiteY107" fmla="*/ 9669 h 10000"/>
                    <a:gd name="connsiteX108" fmla="*/ 7748 w 10000"/>
                    <a:gd name="connsiteY108" fmla="*/ 9698 h 10000"/>
                    <a:gd name="connsiteX109" fmla="*/ 7851 w 10000"/>
                    <a:gd name="connsiteY109" fmla="*/ 9741 h 10000"/>
                    <a:gd name="connsiteX110" fmla="*/ 7943 w 10000"/>
                    <a:gd name="connsiteY110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706 w 10000"/>
                    <a:gd name="connsiteY65" fmla="*/ 1050 h 10000"/>
                    <a:gd name="connsiteX66" fmla="*/ 604 w 10000"/>
                    <a:gd name="connsiteY66" fmla="*/ 1224 h 10000"/>
                    <a:gd name="connsiteX67" fmla="*/ 491 w 10000"/>
                    <a:gd name="connsiteY67" fmla="*/ 1425 h 10000"/>
                    <a:gd name="connsiteX68" fmla="*/ 399 w 10000"/>
                    <a:gd name="connsiteY68" fmla="*/ 1627 h 10000"/>
                    <a:gd name="connsiteX69" fmla="*/ 194 w 10000"/>
                    <a:gd name="connsiteY69" fmla="*/ 2101 h 10000"/>
                    <a:gd name="connsiteX70" fmla="*/ 0 w 10000"/>
                    <a:gd name="connsiteY70" fmla="*/ 2591 h 10000"/>
                    <a:gd name="connsiteX71" fmla="*/ 10 w 10000"/>
                    <a:gd name="connsiteY71" fmla="*/ 907 h 10000"/>
                    <a:gd name="connsiteX72" fmla="*/ 205 w 10000"/>
                    <a:gd name="connsiteY72" fmla="*/ 691 h 10000"/>
                    <a:gd name="connsiteX73" fmla="*/ 399 w 10000"/>
                    <a:gd name="connsiteY73" fmla="*/ 504 h 10000"/>
                    <a:gd name="connsiteX74" fmla="*/ 604 w 10000"/>
                    <a:gd name="connsiteY74" fmla="*/ 317 h 10000"/>
                    <a:gd name="connsiteX75" fmla="*/ 2272 w 10000"/>
                    <a:gd name="connsiteY75" fmla="*/ 0 h 10000"/>
                    <a:gd name="connsiteX76" fmla="*/ 2426 w 10000"/>
                    <a:gd name="connsiteY76" fmla="*/ 43 h 10000"/>
                    <a:gd name="connsiteX77" fmla="*/ 2569 w 10000"/>
                    <a:gd name="connsiteY77" fmla="*/ 115 h 10000"/>
                    <a:gd name="connsiteX78" fmla="*/ 2712 w 10000"/>
                    <a:gd name="connsiteY78" fmla="*/ 188 h 10000"/>
                    <a:gd name="connsiteX79" fmla="*/ 2845 w 10000"/>
                    <a:gd name="connsiteY79" fmla="*/ 274 h 10000"/>
                    <a:gd name="connsiteX80" fmla="*/ 2989 w 10000"/>
                    <a:gd name="connsiteY80" fmla="*/ 375 h 10000"/>
                    <a:gd name="connsiteX81" fmla="*/ 3112 w 10000"/>
                    <a:gd name="connsiteY81" fmla="*/ 461 h 10000"/>
                    <a:gd name="connsiteX82" fmla="*/ 3234 w 10000"/>
                    <a:gd name="connsiteY82" fmla="*/ 590 h 10000"/>
                    <a:gd name="connsiteX83" fmla="*/ 3367 w 10000"/>
                    <a:gd name="connsiteY83" fmla="*/ 720 h 10000"/>
                    <a:gd name="connsiteX84" fmla="*/ 3490 w 10000"/>
                    <a:gd name="connsiteY84" fmla="*/ 850 h 10000"/>
                    <a:gd name="connsiteX85" fmla="*/ 3726 w 10000"/>
                    <a:gd name="connsiteY85" fmla="*/ 1137 h 10000"/>
                    <a:gd name="connsiteX86" fmla="*/ 3941 w 10000"/>
                    <a:gd name="connsiteY86" fmla="*/ 1482 h 10000"/>
                    <a:gd name="connsiteX87" fmla="*/ 4145 w 10000"/>
                    <a:gd name="connsiteY87" fmla="*/ 1842 h 10000"/>
                    <a:gd name="connsiteX88" fmla="*/ 4340 w 10000"/>
                    <a:gd name="connsiteY88" fmla="*/ 2231 h 10000"/>
                    <a:gd name="connsiteX89" fmla="*/ 4534 w 10000"/>
                    <a:gd name="connsiteY89" fmla="*/ 2634 h 10000"/>
                    <a:gd name="connsiteX90" fmla="*/ 4708 w 10000"/>
                    <a:gd name="connsiteY90" fmla="*/ 3051 h 10000"/>
                    <a:gd name="connsiteX91" fmla="*/ 4893 w 10000"/>
                    <a:gd name="connsiteY91" fmla="*/ 3483 h 10000"/>
                    <a:gd name="connsiteX92" fmla="*/ 5056 w 10000"/>
                    <a:gd name="connsiteY92" fmla="*/ 3927 h 10000"/>
                    <a:gd name="connsiteX93" fmla="*/ 5363 w 10000"/>
                    <a:gd name="connsiteY93" fmla="*/ 4834 h 10000"/>
                    <a:gd name="connsiteX94" fmla="*/ 5967 w 10000"/>
                    <a:gd name="connsiteY94" fmla="*/ 6633 h 10000"/>
                    <a:gd name="connsiteX95" fmla="*/ 6254 w 10000"/>
                    <a:gd name="connsiteY95" fmla="*/ 7468 h 10000"/>
                    <a:gd name="connsiteX96" fmla="*/ 6407 w 10000"/>
                    <a:gd name="connsiteY96" fmla="*/ 7828 h 10000"/>
                    <a:gd name="connsiteX97" fmla="*/ 6551 w 10000"/>
                    <a:gd name="connsiteY97" fmla="*/ 8201 h 10000"/>
                    <a:gd name="connsiteX98" fmla="*/ 6714 w 10000"/>
                    <a:gd name="connsiteY98" fmla="*/ 8533 h 10000"/>
                    <a:gd name="connsiteX99" fmla="*/ 6868 w 10000"/>
                    <a:gd name="connsiteY99" fmla="*/ 8821 h 10000"/>
                    <a:gd name="connsiteX100" fmla="*/ 7021 w 10000"/>
                    <a:gd name="connsiteY100" fmla="*/ 9093 h 10000"/>
                    <a:gd name="connsiteX101" fmla="*/ 7195 w 10000"/>
                    <a:gd name="connsiteY101" fmla="*/ 9295 h 10000"/>
                    <a:gd name="connsiteX102" fmla="*/ 7288 w 10000"/>
                    <a:gd name="connsiteY102" fmla="*/ 9395 h 10000"/>
                    <a:gd name="connsiteX103" fmla="*/ 7369 w 10000"/>
                    <a:gd name="connsiteY103" fmla="*/ 9497 h 10000"/>
                    <a:gd name="connsiteX104" fmla="*/ 7462 w 10000"/>
                    <a:gd name="connsiteY104" fmla="*/ 9554 h 10000"/>
                    <a:gd name="connsiteX105" fmla="*/ 7554 w 10000"/>
                    <a:gd name="connsiteY105" fmla="*/ 9626 h 10000"/>
                    <a:gd name="connsiteX106" fmla="*/ 7646 w 10000"/>
                    <a:gd name="connsiteY106" fmla="*/ 9669 h 10000"/>
                    <a:gd name="connsiteX107" fmla="*/ 7748 w 10000"/>
                    <a:gd name="connsiteY107" fmla="*/ 9698 h 10000"/>
                    <a:gd name="connsiteX108" fmla="*/ 7851 w 10000"/>
                    <a:gd name="connsiteY108" fmla="*/ 9741 h 10000"/>
                    <a:gd name="connsiteX109" fmla="*/ 7943 w 10000"/>
                    <a:gd name="connsiteY109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809 w 10000"/>
                    <a:gd name="connsiteY64" fmla="*/ 865 h 10000"/>
                    <a:gd name="connsiteX65" fmla="*/ 604 w 10000"/>
                    <a:gd name="connsiteY65" fmla="*/ 1224 h 10000"/>
                    <a:gd name="connsiteX66" fmla="*/ 491 w 10000"/>
                    <a:gd name="connsiteY66" fmla="*/ 1425 h 10000"/>
                    <a:gd name="connsiteX67" fmla="*/ 399 w 10000"/>
                    <a:gd name="connsiteY67" fmla="*/ 1627 h 10000"/>
                    <a:gd name="connsiteX68" fmla="*/ 194 w 10000"/>
                    <a:gd name="connsiteY68" fmla="*/ 2101 h 10000"/>
                    <a:gd name="connsiteX69" fmla="*/ 0 w 10000"/>
                    <a:gd name="connsiteY69" fmla="*/ 2591 h 10000"/>
                    <a:gd name="connsiteX70" fmla="*/ 10 w 10000"/>
                    <a:gd name="connsiteY70" fmla="*/ 907 h 10000"/>
                    <a:gd name="connsiteX71" fmla="*/ 205 w 10000"/>
                    <a:gd name="connsiteY71" fmla="*/ 691 h 10000"/>
                    <a:gd name="connsiteX72" fmla="*/ 399 w 10000"/>
                    <a:gd name="connsiteY72" fmla="*/ 504 h 10000"/>
                    <a:gd name="connsiteX73" fmla="*/ 604 w 10000"/>
                    <a:gd name="connsiteY73" fmla="*/ 317 h 10000"/>
                    <a:gd name="connsiteX74" fmla="*/ 2272 w 10000"/>
                    <a:gd name="connsiteY74" fmla="*/ 0 h 10000"/>
                    <a:gd name="connsiteX75" fmla="*/ 2426 w 10000"/>
                    <a:gd name="connsiteY75" fmla="*/ 43 h 10000"/>
                    <a:gd name="connsiteX76" fmla="*/ 2569 w 10000"/>
                    <a:gd name="connsiteY76" fmla="*/ 115 h 10000"/>
                    <a:gd name="connsiteX77" fmla="*/ 2712 w 10000"/>
                    <a:gd name="connsiteY77" fmla="*/ 188 h 10000"/>
                    <a:gd name="connsiteX78" fmla="*/ 2845 w 10000"/>
                    <a:gd name="connsiteY78" fmla="*/ 274 h 10000"/>
                    <a:gd name="connsiteX79" fmla="*/ 2989 w 10000"/>
                    <a:gd name="connsiteY79" fmla="*/ 375 h 10000"/>
                    <a:gd name="connsiteX80" fmla="*/ 3112 w 10000"/>
                    <a:gd name="connsiteY80" fmla="*/ 461 h 10000"/>
                    <a:gd name="connsiteX81" fmla="*/ 3234 w 10000"/>
                    <a:gd name="connsiteY81" fmla="*/ 590 h 10000"/>
                    <a:gd name="connsiteX82" fmla="*/ 3367 w 10000"/>
                    <a:gd name="connsiteY82" fmla="*/ 720 h 10000"/>
                    <a:gd name="connsiteX83" fmla="*/ 3490 w 10000"/>
                    <a:gd name="connsiteY83" fmla="*/ 850 h 10000"/>
                    <a:gd name="connsiteX84" fmla="*/ 3726 w 10000"/>
                    <a:gd name="connsiteY84" fmla="*/ 1137 h 10000"/>
                    <a:gd name="connsiteX85" fmla="*/ 3941 w 10000"/>
                    <a:gd name="connsiteY85" fmla="*/ 1482 h 10000"/>
                    <a:gd name="connsiteX86" fmla="*/ 4145 w 10000"/>
                    <a:gd name="connsiteY86" fmla="*/ 1842 h 10000"/>
                    <a:gd name="connsiteX87" fmla="*/ 4340 w 10000"/>
                    <a:gd name="connsiteY87" fmla="*/ 2231 h 10000"/>
                    <a:gd name="connsiteX88" fmla="*/ 4534 w 10000"/>
                    <a:gd name="connsiteY88" fmla="*/ 2634 h 10000"/>
                    <a:gd name="connsiteX89" fmla="*/ 4708 w 10000"/>
                    <a:gd name="connsiteY89" fmla="*/ 3051 h 10000"/>
                    <a:gd name="connsiteX90" fmla="*/ 4893 w 10000"/>
                    <a:gd name="connsiteY90" fmla="*/ 3483 h 10000"/>
                    <a:gd name="connsiteX91" fmla="*/ 5056 w 10000"/>
                    <a:gd name="connsiteY91" fmla="*/ 3927 h 10000"/>
                    <a:gd name="connsiteX92" fmla="*/ 5363 w 10000"/>
                    <a:gd name="connsiteY92" fmla="*/ 4834 h 10000"/>
                    <a:gd name="connsiteX93" fmla="*/ 5967 w 10000"/>
                    <a:gd name="connsiteY93" fmla="*/ 6633 h 10000"/>
                    <a:gd name="connsiteX94" fmla="*/ 6254 w 10000"/>
                    <a:gd name="connsiteY94" fmla="*/ 7468 h 10000"/>
                    <a:gd name="connsiteX95" fmla="*/ 6407 w 10000"/>
                    <a:gd name="connsiteY95" fmla="*/ 7828 h 10000"/>
                    <a:gd name="connsiteX96" fmla="*/ 6551 w 10000"/>
                    <a:gd name="connsiteY96" fmla="*/ 8201 h 10000"/>
                    <a:gd name="connsiteX97" fmla="*/ 6714 w 10000"/>
                    <a:gd name="connsiteY97" fmla="*/ 8533 h 10000"/>
                    <a:gd name="connsiteX98" fmla="*/ 6868 w 10000"/>
                    <a:gd name="connsiteY98" fmla="*/ 8821 h 10000"/>
                    <a:gd name="connsiteX99" fmla="*/ 7021 w 10000"/>
                    <a:gd name="connsiteY99" fmla="*/ 9093 h 10000"/>
                    <a:gd name="connsiteX100" fmla="*/ 7195 w 10000"/>
                    <a:gd name="connsiteY100" fmla="*/ 9295 h 10000"/>
                    <a:gd name="connsiteX101" fmla="*/ 7288 w 10000"/>
                    <a:gd name="connsiteY101" fmla="*/ 9395 h 10000"/>
                    <a:gd name="connsiteX102" fmla="*/ 7369 w 10000"/>
                    <a:gd name="connsiteY102" fmla="*/ 9497 h 10000"/>
                    <a:gd name="connsiteX103" fmla="*/ 7462 w 10000"/>
                    <a:gd name="connsiteY103" fmla="*/ 9554 h 10000"/>
                    <a:gd name="connsiteX104" fmla="*/ 7554 w 10000"/>
                    <a:gd name="connsiteY104" fmla="*/ 9626 h 10000"/>
                    <a:gd name="connsiteX105" fmla="*/ 7646 w 10000"/>
                    <a:gd name="connsiteY105" fmla="*/ 9669 h 10000"/>
                    <a:gd name="connsiteX106" fmla="*/ 7748 w 10000"/>
                    <a:gd name="connsiteY106" fmla="*/ 9698 h 10000"/>
                    <a:gd name="connsiteX107" fmla="*/ 7851 w 10000"/>
                    <a:gd name="connsiteY107" fmla="*/ 9741 h 10000"/>
                    <a:gd name="connsiteX108" fmla="*/ 7943 w 10000"/>
                    <a:gd name="connsiteY108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604 w 10000"/>
                    <a:gd name="connsiteY72" fmla="*/ 317 h 10000"/>
                    <a:gd name="connsiteX73" fmla="*/ 2272 w 10000"/>
                    <a:gd name="connsiteY73" fmla="*/ 0 h 10000"/>
                    <a:gd name="connsiteX74" fmla="*/ 2426 w 10000"/>
                    <a:gd name="connsiteY74" fmla="*/ 43 h 10000"/>
                    <a:gd name="connsiteX75" fmla="*/ 2569 w 10000"/>
                    <a:gd name="connsiteY75" fmla="*/ 115 h 10000"/>
                    <a:gd name="connsiteX76" fmla="*/ 2712 w 10000"/>
                    <a:gd name="connsiteY76" fmla="*/ 188 h 10000"/>
                    <a:gd name="connsiteX77" fmla="*/ 2845 w 10000"/>
                    <a:gd name="connsiteY77" fmla="*/ 274 h 10000"/>
                    <a:gd name="connsiteX78" fmla="*/ 2989 w 10000"/>
                    <a:gd name="connsiteY78" fmla="*/ 375 h 10000"/>
                    <a:gd name="connsiteX79" fmla="*/ 3112 w 10000"/>
                    <a:gd name="connsiteY79" fmla="*/ 461 h 10000"/>
                    <a:gd name="connsiteX80" fmla="*/ 3234 w 10000"/>
                    <a:gd name="connsiteY80" fmla="*/ 590 h 10000"/>
                    <a:gd name="connsiteX81" fmla="*/ 3367 w 10000"/>
                    <a:gd name="connsiteY81" fmla="*/ 720 h 10000"/>
                    <a:gd name="connsiteX82" fmla="*/ 3490 w 10000"/>
                    <a:gd name="connsiteY82" fmla="*/ 850 h 10000"/>
                    <a:gd name="connsiteX83" fmla="*/ 3726 w 10000"/>
                    <a:gd name="connsiteY83" fmla="*/ 1137 h 10000"/>
                    <a:gd name="connsiteX84" fmla="*/ 3941 w 10000"/>
                    <a:gd name="connsiteY84" fmla="*/ 1482 h 10000"/>
                    <a:gd name="connsiteX85" fmla="*/ 4145 w 10000"/>
                    <a:gd name="connsiteY85" fmla="*/ 1842 h 10000"/>
                    <a:gd name="connsiteX86" fmla="*/ 4340 w 10000"/>
                    <a:gd name="connsiteY86" fmla="*/ 2231 h 10000"/>
                    <a:gd name="connsiteX87" fmla="*/ 4534 w 10000"/>
                    <a:gd name="connsiteY87" fmla="*/ 2634 h 10000"/>
                    <a:gd name="connsiteX88" fmla="*/ 4708 w 10000"/>
                    <a:gd name="connsiteY88" fmla="*/ 3051 h 10000"/>
                    <a:gd name="connsiteX89" fmla="*/ 4893 w 10000"/>
                    <a:gd name="connsiteY89" fmla="*/ 3483 h 10000"/>
                    <a:gd name="connsiteX90" fmla="*/ 5056 w 10000"/>
                    <a:gd name="connsiteY90" fmla="*/ 3927 h 10000"/>
                    <a:gd name="connsiteX91" fmla="*/ 5363 w 10000"/>
                    <a:gd name="connsiteY91" fmla="*/ 4834 h 10000"/>
                    <a:gd name="connsiteX92" fmla="*/ 5967 w 10000"/>
                    <a:gd name="connsiteY92" fmla="*/ 6633 h 10000"/>
                    <a:gd name="connsiteX93" fmla="*/ 6254 w 10000"/>
                    <a:gd name="connsiteY93" fmla="*/ 7468 h 10000"/>
                    <a:gd name="connsiteX94" fmla="*/ 6407 w 10000"/>
                    <a:gd name="connsiteY94" fmla="*/ 7828 h 10000"/>
                    <a:gd name="connsiteX95" fmla="*/ 6551 w 10000"/>
                    <a:gd name="connsiteY95" fmla="*/ 8201 h 10000"/>
                    <a:gd name="connsiteX96" fmla="*/ 6714 w 10000"/>
                    <a:gd name="connsiteY96" fmla="*/ 8533 h 10000"/>
                    <a:gd name="connsiteX97" fmla="*/ 6868 w 10000"/>
                    <a:gd name="connsiteY97" fmla="*/ 8821 h 10000"/>
                    <a:gd name="connsiteX98" fmla="*/ 7021 w 10000"/>
                    <a:gd name="connsiteY98" fmla="*/ 9093 h 10000"/>
                    <a:gd name="connsiteX99" fmla="*/ 7195 w 10000"/>
                    <a:gd name="connsiteY99" fmla="*/ 9295 h 10000"/>
                    <a:gd name="connsiteX100" fmla="*/ 7288 w 10000"/>
                    <a:gd name="connsiteY100" fmla="*/ 9395 h 10000"/>
                    <a:gd name="connsiteX101" fmla="*/ 7369 w 10000"/>
                    <a:gd name="connsiteY101" fmla="*/ 9497 h 10000"/>
                    <a:gd name="connsiteX102" fmla="*/ 7462 w 10000"/>
                    <a:gd name="connsiteY102" fmla="*/ 9554 h 10000"/>
                    <a:gd name="connsiteX103" fmla="*/ 7554 w 10000"/>
                    <a:gd name="connsiteY103" fmla="*/ 9626 h 10000"/>
                    <a:gd name="connsiteX104" fmla="*/ 7646 w 10000"/>
                    <a:gd name="connsiteY104" fmla="*/ 9669 h 10000"/>
                    <a:gd name="connsiteX105" fmla="*/ 7748 w 10000"/>
                    <a:gd name="connsiteY105" fmla="*/ 9698 h 10000"/>
                    <a:gd name="connsiteX106" fmla="*/ 7851 w 10000"/>
                    <a:gd name="connsiteY106" fmla="*/ 9741 h 10000"/>
                    <a:gd name="connsiteX107" fmla="*/ 7943 w 10000"/>
                    <a:gd name="connsiteY107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399 w 10000"/>
                    <a:gd name="connsiteY71" fmla="*/ 504 h 10000"/>
                    <a:gd name="connsiteX72" fmla="*/ 2272 w 10000"/>
                    <a:gd name="connsiteY72" fmla="*/ 0 h 10000"/>
                    <a:gd name="connsiteX73" fmla="*/ 2426 w 10000"/>
                    <a:gd name="connsiteY73" fmla="*/ 43 h 10000"/>
                    <a:gd name="connsiteX74" fmla="*/ 2569 w 10000"/>
                    <a:gd name="connsiteY74" fmla="*/ 115 h 10000"/>
                    <a:gd name="connsiteX75" fmla="*/ 2712 w 10000"/>
                    <a:gd name="connsiteY75" fmla="*/ 188 h 10000"/>
                    <a:gd name="connsiteX76" fmla="*/ 2845 w 10000"/>
                    <a:gd name="connsiteY76" fmla="*/ 274 h 10000"/>
                    <a:gd name="connsiteX77" fmla="*/ 2989 w 10000"/>
                    <a:gd name="connsiteY77" fmla="*/ 375 h 10000"/>
                    <a:gd name="connsiteX78" fmla="*/ 3112 w 10000"/>
                    <a:gd name="connsiteY78" fmla="*/ 461 h 10000"/>
                    <a:gd name="connsiteX79" fmla="*/ 3234 w 10000"/>
                    <a:gd name="connsiteY79" fmla="*/ 590 h 10000"/>
                    <a:gd name="connsiteX80" fmla="*/ 3367 w 10000"/>
                    <a:gd name="connsiteY80" fmla="*/ 720 h 10000"/>
                    <a:gd name="connsiteX81" fmla="*/ 3490 w 10000"/>
                    <a:gd name="connsiteY81" fmla="*/ 850 h 10000"/>
                    <a:gd name="connsiteX82" fmla="*/ 3726 w 10000"/>
                    <a:gd name="connsiteY82" fmla="*/ 1137 h 10000"/>
                    <a:gd name="connsiteX83" fmla="*/ 3941 w 10000"/>
                    <a:gd name="connsiteY83" fmla="*/ 1482 h 10000"/>
                    <a:gd name="connsiteX84" fmla="*/ 4145 w 10000"/>
                    <a:gd name="connsiteY84" fmla="*/ 1842 h 10000"/>
                    <a:gd name="connsiteX85" fmla="*/ 4340 w 10000"/>
                    <a:gd name="connsiteY85" fmla="*/ 2231 h 10000"/>
                    <a:gd name="connsiteX86" fmla="*/ 4534 w 10000"/>
                    <a:gd name="connsiteY86" fmla="*/ 2634 h 10000"/>
                    <a:gd name="connsiteX87" fmla="*/ 4708 w 10000"/>
                    <a:gd name="connsiteY87" fmla="*/ 3051 h 10000"/>
                    <a:gd name="connsiteX88" fmla="*/ 4893 w 10000"/>
                    <a:gd name="connsiteY88" fmla="*/ 3483 h 10000"/>
                    <a:gd name="connsiteX89" fmla="*/ 5056 w 10000"/>
                    <a:gd name="connsiteY89" fmla="*/ 3927 h 10000"/>
                    <a:gd name="connsiteX90" fmla="*/ 5363 w 10000"/>
                    <a:gd name="connsiteY90" fmla="*/ 4834 h 10000"/>
                    <a:gd name="connsiteX91" fmla="*/ 5967 w 10000"/>
                    <a:gd name="connsiteY91" fmla="*/ 6633 h 10000"/>
                    <a:gd name="connsiteX92" fmla="*/ 6254 w 10000"/>
                    <a:gd name="connsiteY92" fmla="*/ 7468 h 10000"/>
                    <a:gd name="connsiteX93" fmla="*/ 6407 w 10000"/>
                    <a:gd name="connsiteY93" fmla="*/ 7828 h 10000"/>
                    <a:gd name="connsiteX94" fmla="*/ 6551 w 10000"/>
                    <a:gd name="connsiteY94" fmla="*/ 8201 h 10000"/>
                    <a:gd name="connsiteX95" fmla="*/ 6714 w 10000"/>
                    <a:gd name="connsiteY95" fmla="*/ 8533 h 10000"/>
                    <a:gd name="connsiteX96" fmla="*/ 6868 w 10000"/>
                    <a:gd name="connsiteY96" fmla="*/ 8821 h 10000"/>
                    <a:gd name="connsiteX97" fmla="*/ 7021 w 10000"/>
                    <a:gd name="connsiteY97" fmla="*/ 9093 h 10000"/>
                    <a:gd name="connsiteX98" fmla="*/ 7195 w 10000"/>
                    <a:gd name="connsiteY98" fmla="*/ 9295 h 10000"/>
                    <a:gd name="connsiteX99" fmla="*/ 7288 w 10000"/>
                    <a:gd name="connsiteY99" fmla="*/ 9395 h 10000"/>
                    <a:gd name="connsiteX100" fmla="*/ 7369 w 10000"/>
                    <a:gd name="connsiteY100" fmla="*/ 9497 h 10000"/>
                    <a:gd name="connsiteX101" fmla="*/ 7462 w 10000"/>
                    <a:gd name="connsiteY101" fmla="*/ 9554 h 10000"/>
                    <a:gd name="connsiteX102" fmla="*/ 7554 w 10000"/>
                    <a:gd name="connsiteY102" fmla="*/ 9626 h 10000"/>
                    <a:gd name="connsiteX103" fmla="*/ 7646 w 10000"/>
                    <a:gd name="connsiteY103" fmla="*/ 9669 h 10000"/>
                    <a:gd name="connsiteX104" fmla="*/ 7748 w 10000"/>
                    <a:gd name="connsiteY104" fmla="*/ 9698 h 10000"/>
                    <a:gd name="connsiteX105" fmla="*/ 7851 w 10000"/>
                    <a:gd name="connsiteY105" fmla="*/ 9741 h 10000"/>
                    <a:gd name="connsiteX106" fmla="*/ 7943 w 10000"/>
                    <a:gd name="connsiteY106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604 w 10000"/>
                    <a:gd name="connsiteY64" fmla="*/ 1224 h 10000"/>
                    <a:gd name="connsiteX65" fmla="*/ 491 w 10000"/>
                    <a:gd name="connsiteY65" fmla="*/ 1425 h 10000"/>
                    <a:gd name="connsiteX66" fmla="*/ 399 w 10000"/>
                    <a:gd name="connsiteY66" fmla="*/ 1627 h 10000"/>
                    <a:gd name="connsiteX67" fmla="*/ 194 w 10000"/>
                    <a:gd name="connsiteY67" fmla="*/ 2101 h 10000"/>
                    <a:gd name="connsiteX68" fmla="*/ 0 w 10000"/>
                    <a:gd name="connsiteY68" fmla="*/ 2591 h 10000"/>
                    <a:gd name="connsiteX69" fmla="*/ 10 w 10000"/>
                    <a:gd name="connsiteY69" fmla="*/ 907 h 10000"/>
                    <a:gd name="connsiteX70" fmla="*/ 205 w 10000"/>
                    <a:gd name="connsiteY70" fmla="*/ 691 h 10000"/>
                    <a:gd name="connsiteX71" fmla="*/ 2272 w 10000"/>
                    <a:gd name="connsiteY71" fmla="*/ 0 h 10000"/>
                    <a:gd name="connsiteX72" fmla="*/ 2426 w 10000"/>
                    <a:gd name="connsiteY72" fmla="*/ 43 h 10000"/>
                    <a:gd name="connsiteX73" fmla="*/ 2569 w 10000"/>
                    <a:gd name="connsiteY73" fmla="*/ 115 h 10000"/>
                    <a:gd name="connsiteX74" fmla="*/ 2712 w 10000"/>
                    <a:gd name="connsiteY74" fmla="*/ 188 h 10000"/>
                    <a:gd name="connsiteX75" fmla="*/ 2845 w 10000"/>
                    <a:gd name="connsiteY75" fmla="*/ 274 h 10000"/>
                    <a:gd name="connsiteX76" fmla="*/ 2989 w 10000"/>
                    <a:gd name="connsiteY76" fmla="*/ 375 h 10000"/>
                    <a:gd name="connsiteX77" fmla="*/ 3112 w 10000"/>
                    <a:gd name="connsiteY77" fmla="*/ 461 h 10000"/>
                    <a:gd name="connsiteX78" fmla="*/ 3234 w 10000"/>
                    <a:gd name="connsiteY78" fmla="*/ 590 h 10000"/>
                    <a:gd name="connsiteX79" fmla="*/ 3367 w 10000"/>
                    <a:gd name="connsiteY79" fmla="*/ 720 h 10000"/>
                    <a:gd name="connsiteX80" fmla="*/ 3490 w 10000"/>
                    <a:gd name="connsiteY80" fmla="*/ 850 h 10000"/>
                    <a:gd name="connsiteX81" fmla="*/ 3726 w 10000"/>
                    <a:gd name="connsiteY81" fmla="*/ 1137 h 10000"/>
                    <a:gd name="connsiteX82" fmla="*/ 3941 w 10000"/>
                    <a:gd name="connsiteY82" fmla="*/ 1482 h 10000"/>
                    <a:gd name="connsiteX83" fmla="*/ 4145 w 10000"/>
                    <a:gd name="connsiteY83" fmla="*/ 1842 h 10000"/>
                    <a:gd name="connsiteX84" fmla="*/ 4340 w 10000"/>
                    <a:gd name="connsiteY84" fmla="*/ 2231 h 10000"/>
                    <a:gd name="connsiteX85" fmla="*/ 4534 w 10000"/>
                    <a:gd name="connsiteY85" fmla="*/ 2634 h 10000"/>
                    <a:gd name="connsiteX86" fmla="*/ 4708 w 10000"/>
                    <a:gd name="connsiteY86" fmla="*/ 3051 h 10000"/>
                    <a:gd name="connsiteX87" fmla="*/ 4893 w 10000"/>
                    <a:gd name="connsiteY87" fmla="*/ 3483 h 10000"/>
                    <a:gd name="connsiteX88" fmla="*/ 5056 w 10000"/>
                    <a:gd name="connsiteY88" fmla="*/ 3927 h 10000"/>
                    <a:gd name="connsiteX89" fmla="*/ 5363 w 10000"/>
                    <a:gd name="connsiteY89" fmla="*/ 4834 h 10000"/>
                    <a:gd name="connsiteX90" fmla="*/ 5967 w 10000"/>
                    <a:gd name="connsiteY90" fmla="*/ 6633 h 10000"/>
                    <a:gd name="connsiteX91" fmla="*/ 6254 w 10000"/>
                    <a:gd name="connsiteY91" fmla="*/ 7468 h 10000"/>
                    <a:gd name="connsiteX92" fmla="*/ 6407 w 10000"/>
                    <a:gd name="connsiteY92" fmla="*/ 7828 h 10000"/>
                    <a:gd name="connsiteX93" fmla="*/ 6551 w 10000"/>
                    <a:gd name="connsiteY93" fmla="*/ 8201 h 10000"/>
                    <a:gd name="connsiteX94" fmla="*/ 6714 w 10000"/>
                    <a:gd name="connsiteY94" fmla="*/ 8533 h 10000"/>
                    <a:gd name="connsiteX95" fmla="*/ 6868 w 10000"/>
                    <a:gd name="connsiteY95" fmla="*/ 8821 h 10000"/>
                    <a:gd name="connsiteX96" fmla="*/ 7021 w 10000"/>
                    <a:gd name="connsiteY96" fmla="*/ 9093 h 10000"/>
                    <a:gd name="connsiteX97" fmla="*/ 7195 w 10000"/>
                    <a:gd name="connsiteY97" fmla="*/ 9295 h 10000"/>
                    <a:gd name="connsiteX98" fmla="*/ 7288 w 10000"/>
                    <a:gd name="connsiteY98" fmla="*/ 9395 h 10000"/>
                    <a:gd name="connsiteX99" fmla="*/ 7369 w 10000"/>
                    <a:gd name="connsiteY99" fmla="*/ 9497 h 10000"/>
                    <a:gd name="connsiteX100" fmla="*/ 7462 w 10000"/>
                    <a:gd name="connsiteY100" fmla="*/ 9554 h 10000"/>
                    <a:gd name="connsiteX101" fmla="*/ 7554 w 10000"/>
                    <a:gd name="connsiteY101" fmla="*/ 9626 h 10000"/>
                    <a:gd name="connsiteX102" fmla="*/ 7646 w 10000"/>
                    <a:gd name="connsiteY102" fmla="*/ 9669 h 10000"/>
                    <a:gd name="connsiteX103" fmla="*/ 7748 w 10000"/>
                    <a:gd name="connsiteY103" fmla="*/ 9698 h 10000"/>
                    <a:gd name="connsiteX104" fmla="*/ 7851 w 10000"/>
                    <a:gd name="connsiteY104" fmla="*/ 9741 h 10000"/>
                    <a:gd name="connsiteX105" fmla="*/ 7943 w 10000"/>
                    <a:gd name="connsiteY105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399 w 10000"/>
                    <a:gd name="connsiteY65" fmla="*/ 1627 h 10000"/>
                    <a:gd name="connsiteX66" fmla="*/ 194 w 10000"/>
                    <a:gd name="connsiteY66" fmla="*/ 2101 h 10000"/>
                    <a:gd name="connsiteX67" fmla="*/ 0 w 10000"/>
                    <a:gd name="connsiteY67" fmla="*/ 2591 h 10000"/>
                    <a:gd name="connsiteX68" fmla="*/ 10 w 10000"/>
                    <a:gd name="connsiteY68" fmla="*/ 907 h 10000"/>
                    <a:gd name="connsiteX69" fmla="*/ 205 w 10000"/>
                    <a:gd name="connsiteY69" fmla="*/ 691 h 10000"/>
                    <a:gd name="connsiteX70" fmla="*/ 2272 w 10000"/>
                    <a:gd name="connsiteY70" fmla="*/ 0 h 10000"/>
                    <a:gd name="connsiteX71" fmla="*/ 2426 w 10000"/>
                    <a:gd name="connsiteY71" fmla="*/ 43 h 10000"/>
                    <a:gd name="connsiteX72" fmla="*/ 2569 w 10000"/>
                    <a:gd name="connsiteY72" fmla="*/ 115 h 10000"/>
                    <a:gd name="connsiteX73" fmla="*/ 2712 w 10000"/>
                    <a:gd name="connsiteY73" fmla="*/ 188 h 10000"/>
                    <a:gd name="connsiteX74" fmla="*/ 2845 w 10000"/>
                    <a:gd name="connsiteY74" fmla="*/ 274 h 10000"/>
                    <a:gd name="connsiteX75" fmla="*/ 2989 w 10000"/>
                    <a:gd name="connsiteY75" fmla="*/ 375 h 10000"/>
                    <a:gd name="connsiteX76" fmla="*/ 3112 w 10000"/>
                    <a:gd name="connsiteY76" fmla="*/ 461 h 10000"/>
                    <a:gd name="connsiteX77" fmla="*/ 3234 w 10000"/>
                    <a:gd name="connsiteY77" fmla="*/ 590 h 10000"/>
                    <a:gd name="connsiteX78" fmla="*/ 3367 w 10000"/>
                    <a:gd name="connsiteY78" fmla="*/ 720 h 10000"/>
                    <a:gd name="connsiteX79" fmla="*/ 3490 w 10000"/>
                    <a:gd name="connsiteY79" fmla="*/ 850 h 10000"/>
                    <a:gd name="connsiteX80" fmla="*/ 3726 w 10000"/>
                    <a:gd name="connsiteY80" fmla="*/ 1137 h 10000"/>
                    <a:gd name="connsiteX81" fmla="*/ 3941 w 10000"/>
                    <a:gd name="connsiteY81" fmla="*/ 1482 h 10000"/>
                    <a:gd name="connsiteX82" fmla="*/ 4145 w 10000"/>
                    <a:gd name="connsiteY82" fmla="*/ 1842 h 10000"/>
                    <a:gd name="connsiteX83" fmla="*/ 4340 w 10000"/>
                    <a:gd name="connsiteY83" fmla="*/ 2231 h 10000"/>
                    <a:gd name="connsiteX84" fmla="*/ 4534 w 10000"/>
                    <a:gd name="connsiteY84" fmla="*/ 2634 h 10000"/>
                    <a:gd name="connsiteX85" fmla="*/ 4708 w 10000"/>
                    <a:gd name="connsiteY85" fmla="*/ 3051 h 10000"/>
                    <a:gd name="connsiteX86" fmla="*/ 4893 w 10000"/>
                    <a:gd name="connsiteY86" fmla="*/ 3483 h 10000"/>
                    <a:gd name="connsiteX87" fmla="*/ 5056 w 10000"/>
                    <a:gd name="connsiteY87" fmla="*/ 3927 h 10000"/>
                    <a:gd name="connsiteX88" fmla="*/ 5363 w 10000"/>
                    <a:gd name="connsiteY88" fmla="*/ 4834 h 10000"/>
                    <a:gd name="connsiteX89" fmla="*/ 5967 w 10000"/>
                    <a:gd name="connsiteY89" fmla="*/ 6633 h 10000"/>
                    <a:gd name="connsiteX90" fmla="*/ 6254 w 10000"/>
                    <a:gd name="connsiteY90" fmla="*/ 7468 h 10000"/>
                    <a:gd name="connsiteX91" fmla="*/ 6407 w 10000"/>
                    <a:gd name="connsiteY91" fmla="*/ 7828 h 10000"/>
                    <a:gd name="connsiteX92" fmla="*/ 6551 w 10000"/>
                    <a:gd name="connsiteY92" fmla="*/ 8201 h 10000"/>
                    <a:gd name="connsiteX93" fmla="*/ 6714 w 10000"/>
                    <a:gd name="connsiteY93" fmla="*/ 8533 h 10000"/>
                    <a:gd name="connsiteX94" fmla="*/ 6868 w 10000"/>
                    <a:gd name="connsiteY94" fmla="*/ 8821 h 10000"/>
                    <a:gd name="connsiteX95" fmla="*/ 7021 w 10000"/>
                    <a:gd name="connsiteY95" fmla="*/ 9093 h 10000"/>
                    <a:gd name="connsiteX96" fmla="*/ 7195 w 10000"/>
                    <a:gd name="connsiteY96" fmla="*/ 9295 h 10000"/>
                    <a:gd name="connsiteX97" fmla="*/ 7288 w 10000"/>
                    <a:gd name="connsiteY97" fmla="*/ 9395 h 10000"/>
                    <a:gd name="connsiteX98" fmla="*/ 7369 w 10000"/>
                    <a:gd name="connsiteY98" fmla="*/ 9497 h 10000"/>
                    <a:gd name="connsiteX99" fmla="*/ 7462 w 10000"/>
                    <a:gd name="connsiteY99" fmla="*/ 9554 h 10000"/>
                    <a:gd name="connsiteX100" fmla="*/ 7554 w 10000"/>
                    <a:gd name="connsiteY100" fmla="*/ 9626 h 10000"/>
                    <a:gd name="connsiteX101" fmla="*/ 7646 w 10000"/>
                    <a:gd name="connsiteY101" fmla="*/ 9669 h 10000"/>
                    <a:gd name="connsiteX102" fmla="*/ 7748 w 10000"/>
                    <a:gd name="connsiteY102" fmla="*/ 9698 h 10000"/>
                    <a:gd name="connsiteX103" fmla="*/ 7851 w 10000"/>
                    <a:gd name="connsiteY103" fmla="*/ 9741 h 10000"/>
                    <a:gd name="connsiteX104" fmla="*/ 7943 w 10000"/>
                    <a:gd name="connsiteY104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491 w 10000"/>
                    <a:gd name="connsiteY64" fmla="*/ 1425 h 10000"/>
                    <a:gd name="connsiteX65" fmla="*/ 194 w 10000"/>
                    <a:gd name="connsiteY65" fmla="*/ 2101 h 10000"/>
                    <a:gd name="connsiteX66" fmla="*/ 0 w 10000"/>
                    <a:gd name="connsiteY66" fmla="*/ 2591 h 10000"/>
                    <a:gd name="connsiteX67" fmla="*/ 10 w 10000"/>
                    <a:gd name="connsiteY67" fmla="*/ 907 h 10000"/>
                    <a:gd name="connsiteX68" fmla="*/ 205 w 10000"/>
                    <a:gd name="connsiteY68" fmla="*/ 691 h 10000"/>
                    <a:gd name="connsiteX69" fmla="*/ 2272 w 10000"/>
                    <a:gd name="connsiteY69" fmla="*/ 0 h 10000"/>
                    <a:gd name="connsiteX70" fmla="*/ 2426 w 10000"/>
                    <a:gd name="connsiteY70" fmla="*/ 43 h 10000"/>
                    <a:gd name="connsiteX71" fmla="*/ 2569 w 10000"/>
                    <a:gd name="connsiteY71" fmla="*/ 115 h 10000"/>
                    <a:gd name="connsiteX72" fmla="*/ 2712 w 10000"/>
                    <a:gd name="connsiteY72" fmla="*/ 188 h 10000"/>
                    <a:gd name="connsiteX73" fmla="*/ 2845 w 10000"/>
                    <a:gd name="connsiteY73" fmla="*/ 274 h 10000"/>
                    <a:gd name="connsiteX74" fmla="*/ 2989 w 10000"/>
                    <a:gd name="connsiteY74" fmla="*/ 375 h 10000"/>
                    <a:gd name="connsiteX75" fmla="*/ 3112 w 10000"/>
                    <a:gd name="connsiteY75" fmla="*/ 461 h 10000"/>
                    <a:gd name="connsiteX76" fmla="*/ 3234 w 10000"/>
                    <a:gd name="connsiteY76" fmla="*/ 590 h 10000"/>
                    <a:gd name="connsiteX77" fmla="*/ 3367 w 10000"/>
                    <a:gd name="connsiteY77" fmla="*/ 720 h 10000"/>
                    <a:gd name="connsiteX78" fmla="*/ 3490 w 10000"/>
                    <a:gd name="connsiteY78" fmla="*/ 850 h 10000"/>
                    <a:gd name="connsiteX79" fmla="*/ 3726 w 10000"/>
                    <a:gd name="connsiteY79" fmla="*/ 1137 h 10000"/>
                    <a:gd name="connsiteX80" fmla="*/ 3941 w 10000"/>
                    <a:gd name="connsiteY80" fmla="*/ 1482 h 10000"/>
                    <a:gd name="connsiteX81" fmla="*/ 4145 w 10000"/>
                    <a:gd name="connsiteY81" fmla="*/ 1842 h 10000"/>
                    <a:gd name="connsiteX82" fmla="*/ 4340 w 10000"/>
                    <a:gd name="connsiteY82" fmla="*/ 2231 h 10000"/>
                    <a:gd name="connsiteX83" fmla="*/ 4534 w 10000"/>
                    <a:gd name="connsiteY83" fmla="*/ 2634 h 10000"/>
                    <a:gd name="connsiteX84" fmla="*/ 4708 w 10000"/>
                    <a:gd name="connsiteY84" fmla="*/ 3051 h 10000"/>
                    <a:gd name="connsiteX85" fmla="*/ 4893 w 10000"/>
                    <a:gd name="connsiteY85" fmla="*/ 3483 h 10000"/>
                    <a:gd name="connsiteX86" fmla="*/ 5056 w 10000"/>
                    <a:gd name="connsiteY86" fmla="*/ 3927 h 10000"/>
                    <a:gd name="connsiteX87" fmla="*/ 5363 w 10000"/>
                    <a:gd name="connsiteY87" fmla="*/ 4834 h 10000"/>
                    <a:gd name="connsiteX88" fmla="*/ 5967 w 10000"/>
                    <a:gd name="connsiteY88" fmla="*/ 6633 h 10000"/>
                    <a:gd name="connsiteX89" fmla="*/ 6254 w 10000"/>
                    <a:gd name="connsiteY89" fmla="*/ 7468 h 10000"/>
                    <a:gd name="connsiteX90" fmla="*/ 6407 w 10000"/>
                    <a:gd name="connsiteY90" fmla="*/ 7828 h 10000"/>
                    <a:gd name="connsiteX91" fmla="*/ 6551 w 10000"/>
                    <a:gd name="connsiteY91" fmla="*/ 8201 h 10000"/>
                    <a:gd name="connsiteX92" fmla="*/ 6714 w 10000"/>
                    <a:gd name="connsiteY92" fmla="*/ 8533 h 10000"/>
                    <a:gd name="connsiteX93" fmla="*/ 6868 w 10000"/>
                    <a:gd name="connsiteY93" fmla="*/ 8821 h 10000"/>
                    <a:gd name="connsiteX94" fmla="*/ 7021 w 10000"/>
                    <a:gd name="connsiteY94" fmla="*/ 9093 h 10000"/>
                    <a:gd name="connsiteX95" fmla="*/ 7195 w 10000"/>
                    <a:gd name="connsiteY95" fmla="*/ 9295 h 10000"/>
                    <a:gd name="connsiteX96" fmla="*/ 7288 w 10000"/>
                    <a:gd name="connsiteY96" fmla="*/ 9395 h 10000"/>
                    <a:gd name="connsiteX97" fmla="*/ 7369 w 10000"/>
                    <a:gd name="connsiteY97" fmla="*/ 9497 h 10000"/>
                    <a:gd name="connsiteX98" fmla="*/ 7462 w 10000"/>
                    <a:gd name="connsiteY98" fmla="*/ 9554 h 10000"/>
                    <a:gd name="connsiteX99" fmla="*/ 7554 w 10000"/>
                    <a:gd name="connsiteY99" fmla="*/ 9626 h 10000"/>
                    <a:gd name="connsiteX100" fmla="*/ 7646 w 10000"/>
                    <a:gd name="connsiteY100" fmla="*/ 9669 h 10000"/>
                    <a:gd name="connsiteX101" fmla="*/ 7748 w 10000"/>
                    <a:gd name="connsiteY101" fmla="*/ 9698 h 10000"/>
                    <a:gd name="connsiteX102" fmla="*/ 7851 w 10000"/>
                    <a:gd name="connsiteY102" fmla="*/ 9741 h 10000"/>
                    <a:gd name="connsiteX103" fmla="*/ 7943 w 10000"/>
                    <a:gd name="connsiteY103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05 w 10000"/>
                    <a:gd name="connsiteY67" fmla="*/ 691 h 10000"/>
                    <a:gd name="connsiteX68" fmla="*/ 2272 w 10000"/>
                    <a:gd name="connsiteY68" fmla="*/ 0 h 10000"/>
                    <a:gd name="connsiteX69" fmla="*/ 2426 w 10000"/>
                    <a:gd name="connsiteY69" fmla="*/ 43 h 10000"/>
                    <a:gd name="connsiteX70" fmla="*/ 2569 w 10000"/>
                    <a:gd name="connsiteY70" fmla="*/ 115 h 10000"/>
                    <a:gd name="connsiteX71" fmla="*/ 2712 w 10000"/>
                    <a:gd name="connsiteY71" fmla="*/ 188 h 10000"/>
                    <a:gd name="connsiteX72" fmla="*/ 2845 w 10000"/>
                    <a:gd name="connsiteY72" fmla="*/ 274 h 10000"/>
                    <a:gd name="connsiteX73" fmla="*/ 2989 w 10000"/>
                    <a:gd name="connsiteY73" fmla="*/ 375 h 10000"/>
                    <a:gd name="connsiteX74" fmla="*/ 3112 w 10000"/>
                    <a:gd name="connsiteY74" fmla="*/ 461 h 10000"/>
                    <a:gd name="connsiteX75" fmla="*/ 3234 w 10000"/>
                    <a:gd name="connsiteY75" fmla="*/ 590 h 10000"/>
                    <a:gd name="connsiteX76" fmla="*/ 3367 w 10000"/>
                    <a:gd name="connsiteY76" fmla="*/ 720 h 10000"/>
                    <a:gd name="connsiteX77" fmla="*/ 3490 w 10000"/>
                    <a:gd name="connsiteY77" fmla="*/ 850 h 10000"/>
                    <a:gd name="connsiteX78" fmla="*/ 3726 w 10000"/>
                    <a:gd name="connsiteY78" fmla="*/ 1137 h 10000"/>
                    <a:gd name="connsiteX79" fmla="*/ 3941 w 10000"/>
                    <a:gd name="connsiteY79" fmla="*/ 1482 h 10000"/>
                    <a:gd name="connsiteX80" fmla="*/ 4145 w 10000"/>
                    <a:gd name="connsiteY80" fmla="*/ 1842 h 10000"/>
                    <a:gd name="connsiteX81" fmla="*/ 4340 w 10000"/>
                    <a:gd name="connsiteY81" fmla="*/ 2231 h 10000"/>
                    <a:gd name="connsiteX82" fmla="*/ 4534 w 10000"/>
                    <a:gd name="connsiteY82" fmla="*/ 2634 h 10000"/>
                    <a:gd name="connsiteX83" fmla="*/ 4708 w 10000"/>
                    <a:gd name="connsiteY83" fmla="*/ 3051 h 10000"/>
                    <a:gd name="connsiteX84" fmla="*/ 4893 w 10000"/>
                    <a:gd name="connsiteY84" fmla="*/ 3483 h 10000"/>
                    <a:gd name="connsiteX85" fmla="*/ 5056 w 10000"/>
                    <a:gd name="connsiteY85" fmla="*/ 3927 h 10000"/>
                    <a:gd name="connsiteX86" fmla="*/ 5363 w 10000"/>
                    <a:gd name="connsiteY86" fmla="*/ 4834 h 10000"/>
                    <a:gd name="connsiteX87" fmla="*/ 5967 w 10000"/>
                    <a:gd name="connsiteY87" fmla="*/ 6633 h 10000"/>
                    <a:gd name="connsiteX88" fmla="*/ 6254 w 10000"/>
                    <a:gd name="connsiteY88" fmla="*/ 7468 h 10000"/>
                    <a:gd name="connsiteX89" fmla="*/ 6407 w 10000"/>
                    <a:gd name="connsiteY89" fmla="*/ 7828 h 10000"/>
                    <a:gd name="connsiteX90" fmla="*/ 6551 w 10000"/>
                    <a:gd name="connsiteY90" fmla="*/ 8201 h 10000"/>
                    <a:gd name="connsiteX91" fmla="*/ 6714 w 10000"/>
                    <a:gd name="connsiteY91" fmla="*/ 8533 h 10000"/>
                    <a:gd name="connsiteX92" fmla="*/ 6868 w 10000"/>
                    <a:gd name="connsiteY92" fmla="*/ 8821 h 10000"/>
                    <a:gd name="connsiteX93" fmla="*/ 7021 w 10000"/>
                    <a:gd name="connsiteY93" fmla="*/ 9093 h 10000"/>
                    <a:gd name="connsiteX94" fmla="*/ 7195 w 10000"/>
                    <a:gd name="connsiteY94" fmla="*/ 9295 h 10000"/>
                    <a:gd name="connsiteX95" fmla="*/ 7288 w 10000"/>
                    <a:gd name="connsiteY95" fmla="*/ 9395 h 10000"/>
                    <a:gd name="connsiteX96" fmla="*/ 7369 w 10000"/>
                    <a:gd name="connsiteY96" fmla="*/ 9497 h 10000"/>
                    <a:gd name="connsiteX97" fmla="*/ 7462 w 10000"/>
                    <a:gd name="connsiteY97" fmla="*/ 9554 h 10000"/>
                    <a:gd name="connsiteX98" fmla="*/ 7554 w 10000"/>
                    <a:gd name="connsiteY98" fmla="*/ 9626 h 10000"/>
                    <a:gd name="connsiteX99" fmla="*/ 7646 w 10000"/>
                    <a:gd name="connsiteY99" fmla="*/ 9669 h 10000"/>
                    <a:gd name="connsiteX100" fmla="*/ 7748 w 10000"/>
                    <a:gd name="connsiteY100" fmla="*/ 9698 h 10000"/>
                    <a:gd name="connsiteX101" fmla="*/ 7851 w 10000"/>
                    <a:gd name="connsiteY101" fmla="*/ 9741 h 10000"/>
                    <a:gd name="connsiteX102" fmla="*/ 7943 w 10000"/>
                    <a:gd name="connsiteY102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194 w 10000"/>
                    <a:gd name="connsiteY64" fmla="*/ 2101 h 10000"/>
                    <a:gd name="connsiteX65" fmla="*/ 0 w 10000"/>
                    <a:gd name="connsiteY65" fmla="*/ 2591 h 10000"/>
                    <a:gd name="connsiteX66" fmla="*/ 10 w 10000"/>
                    <a:gd name="connsiteY66" fmla="*/ 907 h 10000"/>
                    <a:gd name="connsiteX67" fmla="*/ 2272 w 10000"/>
                    <a:gd name="connsiteY67" fmla="*/ 0 h 10000"/>
                    <a:gd name="connsiteX68" fmla="*/ 2426 w 10000"/>
                    <a:gd name="connsiteY68" fmla="*/ 43 h 10000"/>
                    <a:gd name="connsiteX69" fmla="*/ 2569 w 10000"/>
                    <a:gd name="connsiteY69" fmla="*/ 115 h 10000"/>
                    <a:gd name="connsiteX70" fmla="*/ 2712 w 10000"/>
                    <a:gd name="connsiteY70" fmla="*/ 188 h 10000"/>
                    <a:gd name="connsiteX71" fmla="*/ 2845 w 10000"/>
                    <a:gd name="connsiteY71" fmla="*/ 274 h 10000"/>
                    <a:gd name="connsiteX72" fmla="*/ 2989 w 10000"/>
                    <a:gd name="connsiteY72" fmla="*/ 375 h 10000"/>
                    <a:gd name="connsiteX73" fmla="*/ 3112 w 10000"/>
                    <a:gd name="connsiteY73" fmla="*/ 461 h 10000"/>
                    <a:gd name="connsiteX74" fmla="*/ 3234 w 10000"/>
                    <a:gd name="connsiteY74" fmla="*/ 590 h 10000"/>
                    <a:gd name="connsiteX75" fmla="*/ 3367 w 10000"/>
                    <a:gd name="connsiteY75" fmla="*/ 720 h 10000"/>
                    <a:gd name="connsiteX76" fmla="*/ 3490 w 10000"/>
                    <a:gd name="connsiteY76" fmla="*/ 850 h 10000"/>
                    <a:gd name="connsiteX77" fmla="*/ 3726 w 10000"/>
                    <a:gd name="connsiteY77" fmla="*/ 1137 h 10000"/>
                    <a:gd name="connsiteX78" fmla="*/ 3941 w 10000"/>
                    <a:gd name="connsiteY78" fmla="*/ 1482 h 10000"/>
                    <a:gd name="connsiteX79" fmla="*/ 4145 w 10000"/>
                    <a:gd name="connsiteY79" fmla="*/ 1842 h 10000"/>
                    <a:gd name="connsiteX80" fmla="*/ 4340 w 10000"/>
                    <a:gd name="connsiteY80" fmla="*/ 2231 h 10000"/>
                    <a:gd name="connsiteX81" fmla="*/ 4534 w 10000"/>
                    <a:gd name="connsiteY81" fmla="*/ 2634 h 10000"/>
                    <a:gd name="connsiteX82" fmla="*/ 4708 w 10000"/>
                    <a:gd name="connsiteY82" fmla="*/ 3051 h 10000"/>
                    <a:gd name="connsiteX83" fmla="*/ 4893 w 10000"/>
                    <a:gd name="connsiteY83" fmla="*/ 3483 h 10000"/>
                    <a:gd name="connsiteX84" fmla="*/ 5056 w 10000"/>
                    <a:gd name="connsiteY84" fmla="*/ 3927 h 10000"/>
                    <a:gd name="connsiteX85" fmla="*/ 5363 w 10000"/>
                    <a:gd name="connsiteY85" fmla="*/ 4834 h 10000"/>
                    <a:gd name="connsiteX86" fmla="*/ 5967 w 10000"/>
                    <a:gd name="connsiteY86" fmla="*/ 6633 h 10000"/>
                    <a:gd name="connsiteX87" fmla="*/ 6254 w 10000"/>
                    <a:gd name="connsiteY87" fmla="*/ 7468 h 10000"/>
                    <a:gd name="connsiteX88" fmla="*/ 6407 w 10000"/>
                    <a:gd name="connsiteY88" fmla="*/ 7828 h 10000"/>
                    <a:gd name="connsiteX89" fmla="*/ 6551 w 10000"/>
                    <a:gd name="connsiteY89" fmla="*/ 8201 h 10000"/>
                    <a:gd name="connsiteX90" fmla="*/ 6714 w 10000"/>
                    <a:gd name="connsiteY90" fmla="*/ 8533 h 10000"/>
                    <a:gd name="connsiteX91" fmla="*/ 6868 w 10000"/>
                    <a:gd name="connsiteY91" fmla="*/ 8821 h 10000"/>
                    <a:gd name="connsiteX92" fmla="*/ 7021 w 10000"/>
                    <a:gd name="connsiteY92" fmla="*/ 9093 h 10000"/>
                    <a:gd name="connsiteX93" fmla="*/ 7195 w 10000"/>
                    <a:gd name="connsiteY93" fmla="*/ 9295 h 10000"/>
                    <a:gd name="connsiteX94" fmla="*/ 7288 w 10000"/>
                    <a:gd name="connsiteY94" fmla="*/ 9395 h 10000"/>
                    <a:gd name="connsiteX95" fmla="*/ 7369 w 10000"/>
                    <a:gd name="connsiteY95" fmla="*/ 9497 h 10000"/>
                    <a:gd name="connsiteX96" fmla="*/ 7462 w 10000"/>
                    <a:gd name="connsiteY96" fmla="*/ 9554 h 10000"/>
                    <a:gd name="connsiteX97" fmla="*/ 7554 w 10000"/>
                    <a:gd name="connsiteY97" fmla="*/ 9626 h 10000"/>
                    <a:gd name="connsiteX98" fmla="*/ 7646 w 10000"/>
                    <a:gd name="connsiteY98" fmla="*/ 9669 h 10000"/>
                    <a:gd name="connsiteX99" fmla="*/ 7748 w 10000"/>
                    <a:gd name="connsiteY99" fmla="*/ 9698 h 10000"/>
                    <a:gd name="connsiteX100" fmla="*/ 7851 w 10000"/>
                    <a:gd name="connsiteY100" fmla="*/ 9741 h 10000"/>
                    <a:gd name="connsiteX101" fmla="*/ 7943 w 10000"/>
                    <a:gd name="connsiteY101" fmla="*/ 9741 h 10000"/>
                    <a:gd name="connsiteX0" fmla="*/ 7943 w 10000"/>
                    <a:gd name="connsiteY0" fmla="*/ 9741 h 10000"/>
                    <a:gd name="connsiteX1" fmla="*/ 7943 w 10000"/>
                    <a:gd name="connsiteY1" fmla="*/ 9741 h 10000"/>
                    <a:gd name="connsiteX2" fmla="*/ 8076 w 10000"/>
                    <a:gd name="connsiteY2" fmla="*/ 9741 h 10000"/>
                    <a:gd name="connsiteX3" fmla="*/ 8178 w 10000"/>
                    <a:gd name="connsiteY3" fmla="*/ 9698 h 10000"/>
                    <a:gd name="connsiteX4" fmla="*/ 8291 w 10000"/>
                    <a:gd name="connsiteY4" fmla="*/ 9655 h 10000"/>
                    <a:gd name="connsiteX5" fmla="*/ 8403 w 10000"/>
                    <a:gd name="connsiteY5" fmla="*/ 9611 h 10000"/>
                    <a:gd name="connsiteX6" fmla="*/ 8506 w 10000"/>
                    <a:gd name="connsiteY6" fmla="*/ 9526 h 10000"/>
                    <a:gd name="connsiteX7" fmla="*/ 8608 w 10000"/>
                    <a:gd name="connsiteY7" fmla="*/ 9425 h 10000"/>
                    <a:gd name="connsiteX8" fmla="*/ 8700 w 10000"/>
                    <a:gd name="connsiteY8" fmla="*/ 9338 h 10000"/>
                    <a:gd name="connsiteX9" fmla="*/ 8802 w 10000"/>
                    <a:gd name="connsiteY9" fmla="*/ 9209 h 10000"/>
                    <a:gd name="connsiteX10" fmla="*/ 8915 w 10000"/>
                    <a:gd name="connsiteY10" fmla="*/ 9079 h 10000"/>
                    <a:gd name="connsiteX11" fmla="*/ 9007 w 10000"/>
                    <a:gd name="connsiteY11" fmla="*/ 8936 h 10000"/>
                    <a:gd name="connsiteX12" fmla="*/ 9191 w 10000"/>
                    <a:gd name="connsiteY12" fmla="*/ 8604 h 10000"/>
                    <a:gd name="connsiteX13" fmla="*/ 9376 w 10000"/>
                    <a:gd name="connsiteY13" fmla="*/ 8231 h 10000"/>
                    <a:gd name="connsiteX14" fmla="*/ 9539 w 10000"/>
                    <a:gd name="connsiteY14" fmla="*/ 7828 h 10000"/>
                    <a:gd name="connsiteX15" fmla="*/ 9775 w 10000"/>
                    <a:gd name="connsiteY15" fmla="*/ 8274 h 10000"/>
                    <a:gd name="connsiteX16" fmla="*/ 10000 w 10000"/>
                    <a:gd name="connsiteY16" fmla="*/ 8691 h 10000"/>
                    <a:gd name="connsiteX17" fmla="*/ 9785 w 10000"/>
                    <a:gd name="connsiteY17" fmla="*/ 8979 h 10000"/>
                    <a:gd name="connsiteX18" fmla="*/ 9570 w 10000"/>
                    <a:gd name="connsiteY18" fmla="*/ 9238 h 10000"/>
                    <a:gd name="connsiteX19" fmla="*/ 9324 w 10000"/>
                    <a:gd name="connsiteY19" fmla="*/ 9467 h 10000"/>
                    <a:gd name="connsiteX20" fmla="*/ 9212 w 10000"/>
                    <a:gd name="connsiteY20" fmla="*/ 9554 h 10000"/>
                    <a:gd name="connsiteX21" fmla="*/ 9079 w 10000"/>
                    <a:gd name="connsiteY21" fmla="*/ 9655 h 10000"/>
                    <a:gd name="connsiteX22" fmla="*/ 8946 w 10000"/>
                    <a:gd name="connsiteY22" fmla="*/ 9741 h 10000"/>
                    <a:gd name="connsiteX23" fmla="*/ 8823 w 10000"/>
                    <a:gd name="connsiteY23" fmla="*/ 9798 h 10000"/>
                    <a:gd name="connsiteX24" fmla="*/ 8680 w 10000"/>
                    <a:gd name="connsiteY24" fmla="*/ 9870 h 10000"/>
                    <a:gd name="connsiteX25" fmla="*/ 8547 w 10000"/>
                    <a:gd name="connsiteY25" fmla="*/ 9914 h 10000"/>
                    <a:gd name="connsiteX26" fmla="*/ 8403 w 10000"/>
                    <a:gd name="connsiteY26" fmla="*/ 9943 h 10000"/>
                    <a:gd name="connsiteX27" fmla="*/ 8260 w 10000"/>
                    <a:gd name="connsiteY27" fmla="*/ 9971 h 10000"/>
                    <a:gd name="connsiteX28" fmla="*/ 8106 w 10000"/>
                    <a:gd name="connsiteY28" fmla="*/ 10000 h 10000"/>
                    <a:gd name="connsiteX29" fmla="*/ 7943 w 10000"/>
                    <a:gd name="connsiteY29" fmla="*/ 10000 h 10000"/>
                    <a:gd name="connsiteX30" fmla="*/ 7779 w 10000"/>
                    <a:gd name="connsiteY30" fmla="*/ 10000 h 10000"/>
                    <a:gd name="connsiteX31" fmla="*/ 7625 w 10000"/>
                    <a:gd name="connsiteY31" fmla="*/ 9957 h 10000"/>
                    <a:gd name="connsiteX32" fmla="*/ 7462 w 10000"/>
                    <a:gd name="connsiteY32" fmla="*/ 9929 h 10000"/>
                    <a:gd name="connsiteX33" fmla="*/ 7308 w 10000"/>
                    <a:gd name="connsiteY33" fmla="*/ 9886 h 10000"/>
                    <a:gd name="connsiteX34" fmla="*/ 7165 w 10000"/>
                    <a:gd name="connsiteY34" fmla="*/ 9812 h 10000"/>
                    <a:gd name="connsiteX35" fmla="*/ 7021 w 10000"/>
                    <a:gd name="connsiteY35" fmla="*/ 9755 h 10000"/>
                    <a:gd name="connsiteX36" fmla="*/ 6888 w 10000"/>
                    <a:gd name="connsiteY36" fmla="*/ 9655 h 10000"/>
                    <a:gd name="connsiteX37" fmla="*/ 6745 w 10000"/>
                    <a:gd name="connsiteY37" fmla="*/ 9554 h 10000"/>
                    <a:gd name="connsiteX38" fmla="*/ 6622 w 10000"/>
                    <a:gd name="connsiteY38" fmla="*/ 9467 h 10000"/>
                    <a:gd name="connsiteX39" fmla="*/ 6479 w 10000"/>
                    <a:gd name="connsiteY39" fmla="*/ 9338 h 10000"/>
                    <a:gd name="connsiteX40" fmla="*/ 6366 w 10000"/>
                    <a:gd name="connsiteY40" fmla="*/ 9224 h 10000"/>
                    <a:gd name="connsiteX41" fmla="*/ 6244 w 10000"/>
                    <a:gd name="connsiteY41" fmla="*/ 9079 h 10000"/>
                    <a:gd name="connsiteX42" fmla="*/ 6008 w 10000"/>
                    <a:gd name="connsiteY42" fmla="*/ 8777 h 10000"/>
                    <a:gd name="connsiteX43" fmla="*/ 5793 w 10000"/>
                    <a:gd name="connsiteY43" fmla="*/ 8446 h 10000"/>
                    <a:gd name="connsiteX44" fmla="*/ 5589 w 10000"/>
                    <a:gd name="connsiteY44" fmla="*/ 8086 h 10000"/>
                    <a:gd name="connsiteX45" fmla="*/ 5394 w 10000"/>
                    <a:gd name="connsiteY45" fmla="*/ 7697 h 10000"/>
                    <a:gd name="connsiteX46" fmla="*/ 5200 w 10000"/>
                    <a:gd name="connsiteY46" fmla="*/ 7295 h 10000"/>
                    <a:gd name="connsiteX47" fmla="*/ 5026 w 10000"/>
                    <a:gd name="connsiteY47" fmla="*/ 6878 h 10000"/>
                    <a:gd name="connsiteX48" fmla="*/ 4852 w 10000"/>
                    <a:gd name="connsiteY48" fmla="*/ 6446 h 10000"/>
                    <a:gd name="connsiteX49" fmla="*/ 4688 w 10000"/>
                    <a:gd name="connsiteY49" fmla="*/ 6000 h 10000"/>
                    <a:gd name="connsiteX50" fmla="*/ 4371 w 10000"/>
                    <a:gd name="connsiteY50" fmla="*/ 5094 h 10000"/>
                    <a:gd name="connsiteX51" fmla="*/ 3777 w 10000"/>
                    <a:gd name="connsiteY51" fmla="*/ 3310 h 10000"/>
                    <a:gd name="connsiteX52" fmla="*/ 3644 w 10000"/>
                    <a:gd name="connsiteY52" fmla="*/ 2863 h 10000"/>
                    <a:gd name="connsiteX53" fmla="*/ 3490 w 10000"/>
                    <a:gd name="connsiteY53" fmla="*/ 2460 h 10000"/>
                    <a:gd name="connsiteX54" fmla="*/ 3347 w 10000"/>
                    <a:gd name="connsiteY54" fmla="*/ 2101 h 10000"/>
                    <a:gd name="connsiteX55" fmla="*/ 3193 w 10000"/>
                    <a:gd name="connsiteY55" fmla="*/ 1727 h 10000"/>
                    <a:gd name="connsiteX56" fmla="*/ 3040 w 10000"/>
                    <a:gd name="connsiteY56" fmla="*/ 1396 h 10000"/>
                    <a:gd name="connsiteX57" fmla="*/ 2886 w 10000"/>
                    <a:gd name="connsiteY57" fmla="*/ 1108 h 10000"/>
                    <a:gd name="connsiteX58" fmla="*/ 2723 w 10000"/>
                    <a:gd name="connsiteY58" fmla="*/ 836 h 10000"/>
                    <a:gd name="connsiteX59" fmla="*/ 2559 w 10000"/>
                    <a:gd name="connsiteY59" fmla="*/ 634 h 10000"/>
                    <a:gd name="connsiteX60" fmla="*/ 2467 w 10000"/>
                    <a:gd name="connsiteY60" fmla="*/ 533 h 10000"/>
                    <a:gd name="connsiteX61" fmla="*/ 2375 w 10000"/>
                    <a:gd name="connsiteY61" fmla="*/ 432 h 10000"/>
                    <a:gd name="connsiteX62" fmla="*/ 2282 w 10000"/>
                    <a:gd name="connsiteY62" fmla="*/ 375 h 10000"/>
                    <a:gd name="connsiteX63" fmla="*/ 2190 w 10000"/>
                    <a:gd name="connsiteY63" fmla="*/ 302 h 10000"/>
                    <a:gd name="connsiteX64" fmla="*/ 0 w 10000"/>
                    <a:gd name="connsiteY64" fmla="*/ 2591 h 10000"/>
                    <a:gd name="connsiteX65" fmla="*/ 10 w 10000"/>
                    <a:gd name="connsiteY65" fmla="*/ 907 h 10000"/>
                    <a:gd name="connsiteX66" fmla="*/ 2272 w 10000"/>
                    <a:gd name="connsiteY66" fmla="*/ 0 h 10000"/>
                    <a:gd name="connsiteX67" fmla="*/ 2426 w 10000"/>
                    <a:gd name="connsiteY67" fmla="*/ 43 h 10000"/>
                    <a:gd name="connsiteX68" fmla="*/ 2569 w 10000"/>
                    <a:gd name="connsiteY68" fmla="*/ 115 h 10000"/>
                    <a:gd name="connsiteX69" fmla="*/ 2712 w 10000"/>
                    <a:gd name="connsiteY69" fmla="*/ 188 h 10000"/>
                    <a:gd name="connsiteX70" fmla="*/ 2845 w 10000"/>
                    <a:gd name="connsiteY70" fmla="*/ 274 h 10000"/>
                    <a:gd name="connsiteX71" fmla="*/ 2989 w 10000"/>
                    <a:gd name="connsiteY71" fmla="*/ 375 h 10000"/>
                    <a:gd name="connsiteX72" fmla="*/ 3112 w 10000"/>
                    <a:gd name="connsiteY72" fmla="*/ 461 h 10000"/>
                    <a:gd name="connsiteX73" fmla="*/ 3234 w 10000"/>
                    <a:gd name="connsiteY73" fmla="*/ 590 h 10000"/>
                    <a:gd name="connsiteX74" fmla="*/ 3367 w 10000"/>
                    <a:gd name="connsiteY74" fmla="*/ 720 h 10000"/>
                    <a:gd name="connsiteX75" fmla="*/ 3490 w 10000"/>
                    <a:gd name="connsiteY75" fmla="*/ 850 h 10000"/>
                    <a:gd name="connsiteX76" fmla="*/ 3726 w 10000"/>
                    <a:gd name="connsiteY76" fmla="*/ 1137 h 10000"/>
                    <a:gd name="connsiteX77" fmla="*/ 3941 w 10000"/>
                    <a:gd name="connsiteY77" fmla="*/ 1482 h 10000"/>
                    <a:gd name="connsiteX78" fmla="*/ 4145 w 10000"/>
                    <a:gd name="connsiteY78" fmla="*/ 1842 h 10000"/>
                    <a:gd name="connsiteX79" fmla="*/ 4340 w 10000"/>
                    <a:gd name="connsiteY79" fmla="*/ 2231 h 10000"/>
                    <a:gd name="connsiteX80" fmla="*/ 4534 w 10000"/>
                    <a:gd name="connsiteY80" fmla="*/ 2634 h 10000"/>
                    <a:gd name="connsiteX81" fmla="*/ 4708 w 10000"/>
                    <a:gd name="connsiteY81" fmla="*/ 3051 h 10000"/>
                    <a:gd name="connsiteX82" fmla="*/ 4893 w 10000"/>
                    <a:gd name="connsiteY82" fmla="*/ 3483 h 10000"/>
                    <a:gd name="connsiteX83" fmla="*/ 5056 w 10000"/>
                    <a:gd name="connsiteY83" fmla="*/ 3927 h 10000"/>
                    <a:gd name="connsiteX84" fmla="*/ 5363 w 10000"/>
                    <a:gd name="connsiteY84" fmla="*/ 4834 h 10000"/>
                    <a:gd name="connsiteX85" fmla="*/ 5967 w 10000"/>
                    <a:gd name="connsiteY85" fmla="*/ 6633 h 10000"/>
                    <a:gd name="connsiteX86" fmla="*/ 6254 w 10000"/>
                    <a:gd name="connsiteY86" fmla="*/ 7468 h 10000"/>
                    <a:gd name="connsiteX87" fmla="*/ 6407 w 10000"/>
                    <a:gd name="connsiteY87" fmla="*/ 7828 h 10000"/>
                    <a:gd name="connsiteX88" fmla="*/ 6551 w 10000"/>
                    <a:gd name="connsiteY88" fmla="*/ 8201 h 10000"/>
                    <a:gd name="connsiteX89" fmla="*/ 6714 w 10000"/>
                    <a:gd name="connsiteY89" fmla="*/ 8533 h 10000"/>
                    <a:gd name="connsiteX90" fmla="*/ 6868 w 10000"/>
                    <a:gd name="connsiteY90" fmla="*/ 8821 h 10000"/>
                    <a:gd name="connsiteX91" fmla="*/ 7021 w 10000"/>
                    <a:gd name="connsiteY91" fmla="*/ 9093 h 10000"/>
                    <a:gd name="connsiteX92" fmla="*/ 7195 w 10000"/>
                    <a:gd name="connsiteY92" fmla="*/ 9295 h 10000"/>
                    <a:gd name="connsiteX93" fmla="*/ 7288 w 10000"/>
                    <a:gd name="connsiteY93" fmla="*/ 9395 h 10000"/>
                    <a:gd name="connsiteX94" fmla="*/ 7369 w 10000"/>
                    <a:gd name="connsiteY94" fmla="*/ 9497 h 10000"/>
                    <a:gd name="connsiteX95" fmla="*/ 7462 w 10000"/>
                    <a:gd name="connsiteY95" fmla="*/ 9554 h 10000"/>
                    <a:gd name="connsiteX96" fmla="*/ 7554 w 10000"/>
                    <a:gd name="connsiteY96" fmla="*/ 9626 h 10000"/>
                    <a:gd name="connsiteX97" fmla="*/ 7646 w 10000"/>
                    <a:gd name="connsiteY97" fmla="*/ 9669 h 10000"/>
                    <a:gd name="connsiteX98" fmla="*/ 7748 w 10000"/>
                    <a:gd name="connsiteY98" fmla="*/ 9698 h 10000"/>
                    <a:gd name="connsiteX99" fmla="*/ 7851 w 10000"/>
                    <a:gd name="connsiteY99" fmla="*/ 9741 h 10000"/>
                    <a:gd name="connsiteX100" fmla="*/ 7943 w 10000"/>
                    <a:gd name="connsiteY100" fmla="*/ 9741 h 10000"/>
                    <a:gd name="connsiteX0" fmla="*/ 7933 w 9990"/>
                    <a:gd name="connsiteY0" fmla="*/ 9741 h 10000"/>
                    <a:gd name="connsiteX1" fmla="*/ 7933 w 9990"/>
                    <a:gd name="connsiteY1" fmla="*/ 9741 h 10000"/>
                    <a:gd name="connsiteX2" fmla="*/ 8066 w 9990"/>
                    <a:gd name="connsiteY2" fmla="*/ 9741 h 10000"/>
                    <a:gd name="connsiteX3" fmla="*/ 8168 w 9990"/>
                    <a:gd name="connsiteY3" fmla="*/ 9698 h 10000"/>
                    <a:gd name="connsiteX4" fmla="*/ 8281 w 9990"/>
                    <a:gd name="connsiteY4" fmla="*/ 9655 h 10000"/>
                    <a:gd name="connsiteX5" fmla="*/ 8393 w 9990"/>
                    <a:gd name="connsiteY5" fmla="*/ 9611 h 10000"/>
                    <a:gd name="connsiteX6" fmla="*/ 8496 w 9990"/>
                    <a:gd name="connsiteY6" fmla="*/ 9526 h 10000"/>
                    <a:gd name="connsiteX7" fmla="*/ 8598 w 9990"/>
                    <a:gd name="connsiteY7" fmla="*/ 9425 h 10000"/>
                    <a:gd name="connsiteX8" fmla="*/ 8690 w 9990"/>
                    <a:gd name="connsiteY8" fmla="*/ 9338 h 10000"/>
                    <a:gd name="connsiteX9" fmla="*/ 8792 w 9990"/>
                    <a:gd name="connsiteY9" fmla="*/ 9209 h 10000"/>
                    <a:gd name="connsiteX10" fmla="*/ 8905 w 9990"/>
                    <a:gd name="connsiteY10" fmla="*/ 9079 h 10000"/>
                    <a:gd name="connsiteX11" fmla="*/ 8997 w 9990"/>
                    <a:gd name="connsiteY11" fmla="*/ 8936 h 10000"/>
                    <a:gd name="connsiteX12" fmla="*/ 9181 w 9990"/>
                    <a:gd name="connsiteY12" fmla="*/ 8604 h 10000"/>
                    <a:gd name="connsiteX13" fmla="*/ 9366 w 9990"/>
                    <a:gd name="connsiteY13" fmla="*/ 8231 h 10000"/>
                    <a:gd name="connsiteX14" fmla="*/ 9529 w 9990"/>
                    <a:gd name="connsiteY14" fmla="*/ 7828 h 10000"/>
                    <a:gd name="connsiteX15" fmla="*/ 9765 w 9990"/>
                    <a:gd name="connsiteY15" fmla="*/ 8274 h 10000"/>
                    <a:gd name="connsiteX16" fmla="*/ 9990 w 9990"/>
                    <a:gd name="connsiteY16" fmla="*/ 8691 h 10000"/>
                    <a:gd name="connsiteX17" fmla="*/ 9775 w 9990"/>
                    <a:gd name="connsiteY17" fmla="*/ 8979 h 10000"/>
                    <a:gd name="connsiteX18" fmla="*/ 9560 w 9990"/>
                    <a:gd name="connsiteY18" fmla="*/ 9238 h 10000"/>
                    <a:gd name="connsiteX19" fmla="*/ 9314 w 9990"/>
                    <a:gd name="connsiteY19" fmla="*/ 9467 h 10000"/>
                    <a:gd name="connsiteX20" fmla="*/ 9202 w 9990"/>
                    <a:gd name="connsiteY20" fmla="*/ 9554 h 10000"/>
                    <a:gd name="connsiteX21" fmla="*/ 9069 w 9990"/>
                    <a:gd name="connsiteY21" fmla="*/ 9655 h 10000"/>
                    <a:gd name="connsiteX22" fmla="*/ 8936 w 9990"/>
                    <a:gd name="connsiteY22" fmla="*/ 9741 h 10000"/>
                    <a:gd name="connsiteX23" fmla="*/ 8813 w 9990"/>
                    <a:gd name="connsiteY23" fmla="*/ 9798 h 10000"/>
                    <a:gd name="connsiteX24" fmla="*/ 8670 w 9990"/>
                    <a:gd name="connsiteY24" fmla="*/ 9870 h 10000"/>
                    <a:gd name="connsiteX25" fmla="*/ 8537 w 9990"/>
                    <a:gd name="connsiteY25" fmla="*/ 9914 h 10000"/>
                    <a:gd name="connsiteX26" fmla="*/ 8393 w 9990"/>
                    <a:gd name="connsiteY26" fmla="*/ 9943 h 10000"/>
                    <a:gd name="connsiteX27" fmla="*/ 8250 w 9990"/>
                    <a:gd name="connsiteY27" fmla="*/ 9971 h 10000"/>
                    <a:gd name="connsiteX28" fmla="*/ 8096 w 9990"/>
                    <a:gd name="connsiteY28" fmla="*/ 10000 h 10000"/>
                    <a:gd name="connsiteX29" fmla="*/ 7933 w 9990"/>
                    <a:gd name="connsiteY29" fmla="*/ 10000 h 10000"/>
                    <a:gd name="connsiteX30" fmla="*/ 7769 w 9990"/>
                    <a:gd name="connsiteY30" fmla="*/ 10000 h 10000"/>
                    <a:gd name="connsiteX31" fmla="*/ 7615 w 9990"/>
                    <a:gd name="connsiteY31" fmla="*/ 9957 h 10000"/>
                    <a:gd name="connsiteX32" fmla="*/ 7452 w 9990"/>
                    <a:gd name="connsiteY32" fmla="*/ 9929 h 10000"/>
                    <a:gd name="connsiteX33" fmla="*/ 7298 w 9990"/>
                    <a:gd name="connsiteY33" fmla="*/ 9886 h 10000"/>
                    <a:gd name="connsiteX34" fmla="*/ 7155 w 9990"/>
                    <a:gd name="connsiteY34" fmla="*/ 9812 h 10000"/>
                    <a:gd name="connsiteX35" fmla="*/ 7011 w 9990"/>
                    <a:gd name="connsiteY35" fmla="*/ 9755 h 10000"/>
                    <a:gd name="connsiteX36" fmla="*/ 6878 w 9990"/>
                    <a:gd name="connsiteY36" fmla="*/ 9655 h 10000"/>
                    <a:gd name="connsiteX37" fmla="*/ 6735 w 9990"/>
                    <a:gd name="connsiteY37" fmla="*/ 9554 h 10000"/>
                    <a:gd name="connsiteX38" fmla="*/ 6612 w 9990"/>
                    <a:gd name="connsiteY38" fmla="*/ 9467 h 10000"/>
                    <a:gd name="connsiteX39" fmla="*/ 6469 w 9990"/>
                    <a:gd name="connsiteY39" fmla="*/ 9338 h 10000"/>
                    <a:gd name="connsiteX40" fmla="*/ 6356 w 9990"/>
                    <a:gd name="connsiteY40" fmla="*/ 9224 h 10000"/>
                    <a:gd name="connsiteX41" fmla="*/ 6234 w 9990"/>
                    <a:gd name="connsiteY41" fmla="*/ 9079 h 10000"/>
                    <a:gd name="connsiteX42" fmla="*/ 5998 w 9990"/>
                    <a:gd name="connsiteY42" fmla="*/ 8777 h 10000"/>
                    <a:gd name="connsiteX43" fmla="*/ 5783 w 9990"/>
                    <a:gd name="connsiteY43" fmla="*/ 8446 h 10000"/>
                    <a:gd name="connsiteX44" fmla="*/ 5579 w 9990"/>
                    <a:gd name="connsiteY44" fmla="*/ 8086 h 10000"/>
                    <a:gd name="connsiteX45" fmla="*/ 5384 w 9990"/>
                    <a:gd name="connsiteY45" fmla="*/ 7697 h 10000"/>
                    <a:gd name="connsiteX46" fmla="*/ 5190 w 9990"/>
                    <a:gd name="connsiteY46" fmla="*/ 7295 h 10000"/>
                    <a:gd name="connsiteX47" fmla="*/ 5016 w 9990"/>
                    <a:gd name="connsiteY47" fmla="*/ 6878 h 10000"/>
                    <a:gd name="connsiteX48" fmla="*/ 4842 w 9990"/>
                    <a:gd name="connsiteY48" fmla="*/ 6446 h 10000"/>
                    <a:gd name="connsiteX49" fmla="*/ 4678 w 9990"/>
                    <a:gd name="connsiteY49" fmla="*/ 6000 h 10000"/>
                    <a:gd name="connsiteX50" fmla="*/ 4361 w 9990"/>
                    <a:gd name="connsiteY50" fmla="*/ 5094 h 10000"/>
                    <a:gd name="connsiteX51" fmla="*/ 3767 w 9990"/>
                    <a:gd name="connsiteY51" fmla="*/ 3310 h 10000"/>
                    <a:gd name="connsiteX52" fmla="*/ 3634 w 9990"/>
                    <a:gd name="connsiteY52" fmla="*/ 2863 h 10000"/>
                    <a:gd name="connsiteX53" fmla="*/ 3480 w 9990"/>
                    <a:gd name="connsiteY53" fmla="*/ 2460 h 10000"/>
                    <a:gd name="connsiteX54" fmla="*/ 3337 w 9990"/>
                    <a:gd name="connsiteY54" fmla="*/ 2101 h 10000"/>
                    <a:gd name="connsiteX55" fmla="*/ 3183 w 9990"/>
                    <a:gd name="connsiteY55" fmla="*/ 1727 h 10000"/>
                    <a:gd name="connsiteX56" fmla="*/ 3030 w 9990"/>
                    <a:gd name="connsiteY56" fmla="*/ 1396 h 10000"/>
                    <a:gd name="connsiteX57" fmla="*/ 2876 w 9990"/>
                    <a:gd name="connsiteY57" fmla="*/ 1108 h 10000"/>
                    <a:gd name="connsiteX58" fmla="*/ 2713 w 9990"/>
                    <a:gd name="connsiteY58" fmla="*/ 836 h 10000"/>
                    <a:gd name="connsiteX59" fmla="*/ 2549 w 9990"/>
                    <a:gd name="connsiteY59" fmla="*/ 634 h 10000"/>
                    <a:gd name="connsiteX60" fmla="*/ 2457 w 9990"/>
                    <a:gd name="connsiteY60" fmla="*/ 533 h 10000"/>
                    <a:gd name="connsiteX61" fmla="*/ 2365 w 9990"/>
                    <a:gd name="connsiteY61" fmla="*/ 432 h 10000"/>
                    <a:gd name="connsiteX62" fmla="*/ 2272 w 9990"/>
                    <a:gd name="connsiteY62" fmla="*/ 375 h 10000"/>
                    <a:gd name="connsiteX63" fmla="*/ 2180 w 9990"/>
                    <a:gd name="connsiteY63" fmla="*/ 302 h 10000"/>
                    <a:gd name="connsiteX64" fmla="*/ 0 w 9990"/>
                    <a:gd name="connsiteY64" fmla="*/ 907 h 10000"/>
                    <a:gd name="connsiteX65" fmla="*/ 2262 w 9990"/>
                    <a:gd name="connsiteY65" fmla="*/ 0 h 10000"/>
                    <a:gd name="connsiteX66" fmla="*/ 2416 w 9990"/>
                    <a:gd name="connsiteY66" fmla="*/ 43 h 10000"/>
                    <a:gd name="connsiteX67" fmla="*/ 2559 w 9990"/>
                    <a:gd name="connsiteY67" fmla="*/ 115 h 10000"/>
                    <a:gd name="connsiteX68" fmla="*/ 2702 w 9990"/>
                    <a:gd name="connsiteY68" fmla="*/ 188 h 10000"/>
                    <a:gd name="connsiteX69" fmla="*/ 2835 w 9990"/>
                    <a:gd name="connsiteY69" fmla="*/ 274 h 10000"/>
                    <a:gd name="connsiteX70" fmla="*/ 2979 w 9990"/>
                    <a:gd name="connsiteY70" fmla="*/ 375 h 10000"/>
                    <a:gd name="connsiteX71" fmla="*/ 3102 w 9990"/>
                    <a:gd name="connsiteY71" fmla="*/ 461 h 10000"/>
                    <a:gd name="connsiteX72" fmla="*/ 3224 w 9990"/>
                    <a:gd name="connsiteY72" fmla="*/ 590 h 10000"/>
                    <a:gd name="connsiteX73" fmla="*/ 3357 w 9990"/>
                    <a:gd name="connsiteY73" fmla="*/ 720 h 10000"/>
                    <a:gd name="connsiteX74" fmla="*/ 3480 w 9990"/>
                    <a:gd name="connsiteY74" fmla="*/ 850 h 10000"/>
                    <a:gd name="connsiteX75" fmla="*/ 3716 w 9990"/>
                    <a:gd name="connsiteY75" fmla="*/ 1137 h 10000"/>
                    <a:gd name="connsiteX76" fmla="*/ 3931 w 9990"/>
                    <a:gd name="connsiteY76" fmla="*/ 1482 h 10000"/>
                    <a:gd name="connsiteX77" fmla="*/ 4135 w 9990"/>
                    <a:gd name="connsiteY77" fmla="*/ 1842 h 10000"/>
                    <a:gd name="connsiteX78" fmla="*/ 4330 w 9990"/>
                    <a:gd name="connsiteY78" fmla="*/ 2231 h 10000"/>
                    <a:gd name="connsiteX79" fmla="*/ 4524 w 9990"/>
                    <a:gd name="connsiteY79" fmla="*/ 2634 h 10000"/>
                    <a:gd name="connsiteX80" fmla="*/ 4698 w 9990"/>
                    <a:gd name="connsiteY80" fmla="*/ 3051 h 10000"/>
                    <a:gd name="connsiteX81" fmla="*/ 4883 w 9990"/>
                    <a:gd name="connsiteY81" fmla="*/ 3483 h 10000"/>
                    <a:gd name="connsiteX82" fmla="*/ 5046 w 9990"/>
                    <a:gd name="connsiteY82" fmla="*/ 3927 h 10000"/>
                    <a:gd name="connsiteX83" fmla="*/ 5353 w 9990"/>
                    <a:gd name="connsiteY83" fmla="*/ 4834 h 10000"/>
                    <a:gd name="connsiteX84" fmla="*/ 5957 w 9990"/>
                    <a:gd name="connsiteY84" fmla="*/ 6633 h 10000"/>
                    <a:gd name="connsiteX85" fmla="*/ 6244 w 9990"/>
                    <a:gd name="connsiteY85" fmla="*/ 7468 h 10000"/>
                    <a:gd name="connsiteX86" fmla="*/ 6397 w 9990"/>
                    <a:gd name="connsiteY86" fmla="*/ 7828 h 10000"/>
                    <a:gd name="connsiteX87" fmla="*/ 6541 w 9990"/>
                    <a:gd name="connsiteY87" fmla="*/ 8201 h 10000"/>
                    <a:gd name="connsiteX88" fmla="*/ 6704 w 9990"/>
                    <a:gd name="connsiteY88" fmla="*/ 8533 h 10000"/>
                    <a:gd name="connsiteX89" fmla="*/ 6858 w 9990"/>
                    <a:gd name="connsiteY89" fmla="*/ 8821 h 10000"/>
                    <a:gd name="connsiteX90" fmla="*/ 7011 w 9990"/>
                    <a:gd name="connsiteY90" fmla="*/ 9093 h 10000"/>
                    <a:gd name="connsiteX91" fmla="*/ 7185 w 9990"/>
                    <a:gd name="connsiteY91" fmla="*/ 9295 h 10000"/>
                    <a:gd name="connsiteX92" fmla="*/ 7278 w 9990"/>
                    <a:gd name="connsiteY92" fmla="*/ 9395 h 10000"/>
                    <a:gd name="connsiteX93" fmla="*/ 7359 w 9990"/>
                    <a:gd name="connsiteY93" fmla="*/ 9497 h 10000"/>
                    <a:gd name="connsiteX94" fmla="*/ 7452 w 9990"/>
                    <a:gd name="connsiteY94" fmla="*/ 9554 h 10000"/>
                    <a:gd name="connsiteX95" fmla="*/ 7544 w 9990"/>
                    <a:gd name="connsiteY95" fmla="*/ 9626 h 10000"/>
                    <a:gd name="connsiteX96" fmla="*/ 7636 w 9990"/>
                    <a:gd name="connsiteY96" fmla="*/ 9669 h 10000"/>
                    <a:gd name="connsiteX97" fmla="*/ 7738 w 9990"/>
                    <a:gd name="connsiteY97" fmla="*/ 9698 h 10000"/>
                    <a:gd name="connsiteX98" fmla="*/ 7841 w 9990"/>
                    <a:gd name="connsiteY98" fmla="*/ 9741 h 10000"/>
                    <a:gd name="connsiteX99" fmla="*/ 7933 w 9990"/>
                    <a:gd name="connsiteY99" fmla="*/ 9741 h 10000"/>
                    <a:gd name="connsiteX0" fmla="*/ 5759 w 7818"/>
                    <a:gd name="connsiteY0" fmla="*/ 9741 h 10000"/>
                    <a:gd name="connsiteX1" fmla="*/ 5759 w 7818"/>
                    <a:gd name="connsiteY1" fmla="*/ 9741 h 10000"/>
                    <a:gd name="connsiteX2" fmla="*/ 5892 w 7818"/>
                    <a:gd name="connsiteY2" fmla="*/ 9741 h 10000"/>
                    <a:gd name="connsiteX3" fmla="*/ 5994 w 7818"/>
                    <a:gd name="connsiteY3" fmla="*/ 9698 h 10000"/>
                    <a:gd name="connsiteX4" fmla="*/ 6107 w 7818"/>
                    <a:gd name="connsiteY4" fmla="*/ 9655 h 10000"/>
                    <a:gd name="connsiteX5" fmla="*/ 6219 w 7818"/>
                    <a:gd name="connsiteY5" fmla="*/ 9611 h 10000"/>
                    <a:gd name="connsiteX6" fmla="*/ 6323 w 7818"/>
                    <a:gd name="connsiteY6" fmla="*/ 9526 h 10000"/>
                    <a:gd name="connsiteX7" fmla="*/ 6425 w 7818"/>
                    <a:gd name="connsiteY7" fmla="*/ 9425 h 10000"/>
                    <a:gd name="connsiteX8" fmla="*/ 6517 w 7818"/>
                    <a:gd name="connsiteY8" fmla="*/ 9338 h 10000"/>
                    <a:gd name="connsiteX9" fmla="*/ 6619 w 7818"/>
                    <a:gd name="connsiteY9" fmla="*/ 9209 h 10000"/>
                    <a:gd name="connsiteX10" fmla="*/ 6732 w 7818"/>
                    <a:gd name="connsiteY10" fmla="*/ 9079 h 10000"/>
                    <a:gd name="connsiteX11" fmla="*/ 6824 w 7818"/>
                    <a:gd name="connsiteY11" fmla="*/ 8936 h 10000"/>
                    <a:gd name="connsiteX12" fmla="*/ 7008 w 7818"/>
                    <a:gd name="connsiteY12" fmla="*/ 8604 h 10000"/>
                    <a:gd name="connsiteX13" fmla="*/ 7193 w 7818"/>
                    <a:gd name="connsiteY13" fmla="*/ 8231 h 10000"/>
                    <a:gd name="connsiteX14" fmla="*/ 7357 w 7818"/>
                    <a:gd name="connsiteY14" fmla="*/ 7828 h 10000"/>
                    <a:gd name="connsiteX15" fmla="*/ 7593 w 7818"/>
                    <a:gd name="connsiteY15" fmla="*/ 8274 h 10000"/>
                    <a:gd name="connsiteX16" fmla="*/ 7818 w 7818"/>
                    <a:gd name="connsiteY16" fmla="*/ 8691 h 10000"/>
                    <a:gd name="connsiteX17" fmla="*/ 7603 w 7818"/>
                    <a:gd name="connsiteY17" fmla="*/ 8979 h 10000"/>
                    <a:gd name="connsiteX18" fmla="*/ 7388 w 7818"/>
                    <a:gd name="connsiteY18" fmla="*/ 9238 h 10000"/>
                    <a:gd name="connsiteX19" fmla="*/ 7141 w 7818"/>
                    <a:gd name="connsiteY19" fmla="*/ 9467 h 10000"/>
                    <a:gd name="connsiteX20" fmla="*/ 7029 w 7818"/>
                    <a:gd name="connsiteY20" fmla="*/ 9554 h 10000"/>
                    <a:gd name="connsiteX21" fmla="*/ 6896 w 7818"/>
                    <a:gd name="connsiteY21" fmla="*/ 9655 h 10000"/>
                    <a:gd name="connsiteX22" fmla="*/ 6763 w 7818"/>
                    <a:gd name="connsiteY22" fmla="*/ 9741 h 10000"/>
                    <a:gd name="connsiteX23" fmla="*/ 6640 w 7818"/>
                    <a:gd name="connsiteY23" fmla="*/ 9798 h 10000"/>
                    <a:gd name="connsiteX24" fmla="*/ 6497 w 7818"/>
                    <a:gd name="connsiteY24" fmla="*/ 9870 h 10000"/>
                    <a:gd name="connsiteX25" fmla="*/ 6364 w 7818"/>
                    <a:gd name="connsiteY25" fmla="*/ 9914 h 10000"/>
                    <a:gd name="connsiteX26" fmla="*/ 6219 w 7818"/>
                    <a:gd name="connsiteY26" fmla="*/ 9943 h 10000"/>
                    <a:gd name="connsiteX27" fmla="*/ 6076 w 7818"/>
                    <a:gd name="connsiteY27" fmla="*/ 9971 h 10000"/>
                    <a:gd name="connsiteX28" fmla="*/ 5922 w 7818"/>
                    <a:gd name="connsiteY28" fmla="*/ 10000 h 10000"/>
                    <a:gd name="connsiteX29" fmla="*/ 5759 w 7818"/>
                    <a:gd name="connsiteY29" fmla="*/ 10000 h 10000"/>
                    <a:gd name="connsiteX30" fmla="*/ 5595 w 7818"/>
                    <a:gd name="connsiteY30" fmla="*/ 10000 h 10000"/>
                    <a:gd name="connsiteX31" fmla="*/ 5441 w 7818"/>
                    <a:gd name="connsiteY31" fmla="*/ 9957 h 10000"/>
                    <a:gd name="connsiteX32" fmla="*/ 5277 w 7818"/>
                    <a:gd name="connsiteY32" fmla="*/ 9929 h 10000"/>
                    <a:gd name="connsiteX33" fmla="*/ 5123 w 7818"/>
                    <a:gd name="connsiteY33" fmla="*/ 9886 h 10000"/>
                    <a:gd name="connsiteX34" fmla="*/ 4980 w 7818"/>
                    <a:gd name="connsiteY34" fmla="*/ 9812 h 10000"/>
                    <a:gd name="connsiteX35" fmla="*/ 4836 w 7818"/>
                    <a:gd name="connsiteY35" fmla="*/ 9755 h 10000"/>
                    <a:gd name="connsiteX36" fmla="*/ 4703 w 7818"/>
                    <a:gd name="connsiteY36" fmla="*/ 9655 h 10000"/>
                    <a:gd name="connsiteX37" fmla="*/ 4560 w 7818"/>
                    <a:gd name="connsiteY37" fmla="*/ 9554 h 10000"/>
                    <a:gd name="connsiteX38" fmla="*/ 4437 w 7818"/>
                    <a:gd name="connsiteY38" fmla="*/ 9467 h 10000"/>
                    <a:gd name="connsiteX39" fmla="*/ 4293 w 7818"/>
                    <a:gd name="connsiteY39" fmla="*/ 9338 h 10000"/>
                    <a:gd name="connsiteX40" fmla="*/ 4180 w 7818"/>
                    <a:gd name="connsiteY40" fmla="*/ 9224 h 10000"/>
                    <a:gd name="connsiteX41" fmla="*/ 4058 w 7818"/>
                    <a:gd name="connsiteY41" fmla="*/ 9079 h 10000"/>
                    <a:gd name="connsiteX42" fmla="*/ 3822 w 7818"/>
                    <a:gd name="connsiteY42" fmla="*/ 8777 h 10000"/>
                    <a:gd name="connsiteX43" fmla="*/ 3607 w 7818"/>
                    <a:gd name="connsiteY43" fmla="*/ 8446 h 10000"/>
                    <a:gd name="connsiteX44" fmla="*/ 3403 w 7818"/>
                    <a:gd name="connsiteY44" fmla="*/ 8086 h 10000"/>
                    <a:gd name="connsiteX45" fmla="*/ 3207 w 7818"/>
                    <a:gd name="connsiteY45" fmla="*/ 7697 h 10000"/>
                    <a:gd name="connsiteX46" fmla="*/ 3013 w 7818"/>
                    <a:gd name="connsiteY46" fmla="*/ 7295 h 10000"/>
                    <a:gd name="connsiteX47" fmla="*/ 2839 w 7818"/>
                    <a:gd name="connsiteY47" fmla="*/ 6878 h 10000"/>
                    <a:gd name="connsiteX48" fmla="*/ 2665 w 7818"/>
                    <a:gd name="connsiteY48" fmla="*/ 6446 h 10000"/>
                    <a:gd name="connsiteX49" fmla="*/ 2501 w 7818"/>
                    <a:gd name="connsiteY49" fmla="*/ 6000 h 10000"/>
                    <a:gd name="connsiteX50" fmla="*/ 2183 w 7818"/>
                    <a:gd name="connsiteY50" fmla="*/ 5094 h 10000"/>
                    <a:gd name="connsiteX51" fmla="*/ 1589 w 7818"/>
                    <a:gd name="connsiteY51" fmla="*/ 3310 h 10000"/>
                    <a:gd name="connsiteX52" fmla="*/ 1456 w 7818"/>
                    <a:gd name="connsiteY52" fmla="*/ 2863 h 10000"/>
                    <a:gd name="connsiteX53" fmla="*/ 1301 w 7818"/>
                    <a:gd name="connsiteY53" fmla="*/ 2460 h 10000"/>
                    <a:gd name="connsiteX54" fmla="*/ 1158 w 7818"/>
                    <a:gd name="connsiteY54" fmla="*/ 2101 h 10000"/>
                    <a:gd name="connsiteX55" fmla="*/ 1004 w 7818"/>
                    <a:gd name="connsiteY55" fmla="*/ 1727 h 10000"/>
                    <a:gd name="connsiteX56" fmla="*/ 851 w 7818"/>
                    <a:gd name="connsiteY56" fmla="*/ 1396 h 10000"/>
                    <a:gd name="connsiteX57" fmla="*/ 697 w 7818"/>
                    <a:gd name="connsiteY57" fmla="*/ 1108 h 10000"/>
                    <a:gd name="connsiteX58" fmla="*/ 534 w 7818"/>
                    <a:gd name="connsiteY58" fmla="*/ 836 h 10000"/>
                    <a:gd name="connsiteX59" fmla="*/ 370 w 7818"/>
                    <a:gd name="connsiteY59" fmla="*/ 634 h 10000"/>
                    <a:gd name="connsiteX60" fmla="*/ 277 w 7818"/>
                    <a:gd name="connsiteY60" fmla="*/ 533 h 10000"/>
                    <a:gd name="connsiteX61" fmla="*/ 185 w 7818"/>
                    <a:gd name="connsiteY61" fmla="*/ 432 h 10000"/>
                    <a:gd name="connsiteX62" fmla="*/ 92 w 7818"/>
                    <a:gd name="connsiteY62" fmla="*/ 375 h 10000"/>
                    <a:gd name="connsiteX63" fmla="*/ 0 w 7818"/>
                    <a:gd name="connsiteY63" fmla="*/ 302 h 10000"/>
                    <a:gd name="connsiteX64" fmla="*/ 82 w 7818"/>
                    <a:gd name="connsiteY64" fmla="*/ 0 h 10000"/>
                    <a:gd name="connsiteX65" fmla="*/ 236 w 7818"/>
                    <a:gd name="connsiteY65" fmla="*/ 43 h 10000"/>
                    <a:gd name="connsiteX66" fmla="*/ 380 w 7818"/>
                    <a:gd name="connsiteY66" fmla="*/ 115 h 10000"/>
                    <a:gd name="connsiteX67" fmla="*/ 523 w 7818"/>
                    <a:gd name="connsiteY67" fmla="*/ 188 h 10000"/>
                    <a:gd name="connsiteX68" fmla="*/ 656 w 7818"/>
                    <a:gd name="connsiteY68" fmla="*/ 274 h 10000"/>
                    <a:gd name="connsiteX69" fmla="*/ 800 w 7818"/>
                    <a:gd name="connsiteY69" fmla="*/ 375 h 10000"/>
                    <a:gd name="connsiteX70" fmla="*/ 923 w 7818"/>
                    <a:gd name="connsiteY70" fmla="*/ 461 h 10000"/>
                    <a:gd name="connsiteX71" fmla="*/ 1045 w 7818"/>
                    <a:gd name="connsiteY71" fmla="*/ 590 h 10000"/>
                    <a:gd name="connsiteX72" fmla="*/ 1178 w 7818"/>
                    <a:gd name="connsiteY72" fmla="*/ 720 h 10000"/>
                    <a:gd name="connsiteX73" fmla="*/ 1301 w 7818"/>
                    <a:gd name="connsiteY73" fmla="*/ 850 h 10000"/>
                    <a:gd name="connsiteX74" fmla="*/ 1538 w 7818"/>
                    <a:gd name="connsiteY74" fmla="*/ 1137 h 10000"/>
                    <a:gd name="connsiteX75" fmla="*/ 1753 w 7818"/>
                    <a:gd name="connsiteY75" fmla="*/ 1482 h 10000"/>
                    <a:gd name="connsiteX76" fmla="*/ 1957 w 7818"/>
                    <a:gd name="connsiteY76" fmla="*/ 1842 h 10000"/>
                    <a:gd name="connsiteX77" fmla="*/ 2152 w 7818"/>
                    <a:gd name="connsiteY77" fmla="*/ 2231 h 10000"/>
                    <a:gd name="connsiteX78" fmla="*/ 2347 w 7818"/>
                    <a:gd name="connsiteY78" fmla="*/ 2634 h 10000"/>
                    <a:gd name="connsiteX79" fmla="*/ 2521 w 7818"/>
                    <a:gd name="connsiteY79" fmla="*/ 3051 h 10000"/>
                    <a:gd name="connsiteX80" fmla="*/ 2706 w 7818"/>
                    <a:gd name="connsiteY80" fmla="*/ 3483 h 10000"/>
                    <a:gd name="connsiteX81" fmla="*/ 2869 w 7818"/>
                    <a:gd name="connsiteY81" fmla="*/ 3927 h 10000"/>
                    <a:gd name="connsiteX82" fmla="*/ 3176 w 7818"/>
                    <a:gd name="connsiteY82" fmla="*/ 4834 h 10000"/>
                    <a:gd name="connsiteX83" fmla="*/ 3781 w 7818"/>
                    <a:gd name="connsiteY83" fmla="*/ 6633 h 10000"/>
                    <a:gd name="connsiteX84" fmla="*/ 4068 w 7818"/>
                    <a:gd name="connsiteY84" fmla="*/ 7468 h 10000"/>
                    <a:gd name="connsiteX85" fmla="*/ 4221 w 7818"/>
                    <a:gd name="connsiteY85" fmla="*/ 7828 h 10000"/>
                    <a:gd name="connsiteX86" fmla="*/ 4366 w 7818"/>
                    <a:gd name="connsiteY86" fmla="*/ 8201 h 10000"/>
                    <a:gd name="connsiteX87" fmla="*/ 4529 w 7818"/>
                    <a:gd name="connsiteY87" fmla="*/ 8533 h 10000"/>
                    <a:gd name="connsiteX88" fmla="*/ 4683 w 7818"/>
                    <a:gd name="connsiteY88" fmla="*/ 8821 h 10000"/>
                    <a:gd name="connsiteX89" fmla="*/ 4836 w 7818"/>
                    <a:gd name="connsiteY89" fmla="*/ 9093 h 10000"/>
                    <a:gd name="connsiteX90" fmla="*/ 5010 w 7818"/>
                    <a:gd name="connsiteY90" fmla="*/ 9295 h 10000"/>
                    <a:gd name="connsiteX91" fmla="*/ 5103 w 7818"/>
                    <a:gd name="connsiteY91" fmla="*/ 9395 h 10000"/>
                    <a:gd name="connsiteX92" fmla="*/ 5184 w 7818"/>
                    <a:gd name="connsiteY92" fmla="*/ 9497 h 10000"/>
                    <a:gd name="connsiteX93" fmla="*/ 5277 w 7818"/>
                    <a:gd name="connsiteY93" fmla="*/ 9554 h 10000"/>
                    <a:gd name="connsiteX94" fmla="*/ 5370 w 7818"/>
                    <a:gd name="connsiteY94" fmla="*/ 9626 h 10000"/>
                    <a:gd name="connsiteX95" fmla="*/ 5462 w 7818"/>
                    <a:gd name="connsiteY95" fmla="*/ 9669 h 10000"/>
                    <a:gd name="connsiteX96" fmla="*/ 5564 w 7818"/>
                    <a:gd name="connsiteY96" fmla="*/ 9698 h 10000"/>
                    <a:gd name="connsiteX97" fmla="*/ 5667 w 7818"/>
                    <a:gd name="connsiteY97" fmla="*/ 9741 h 10000"/>
                    <a:gd name="connsiteX98" fmla="*/ 5759 w 7818"/>
                    <a:gd name="connsiteY98" fmla="*/ 9741 h 10000"/>
                    <a:gd name="connsiteX0" fmla="*/ 7919 w 10553"/>
                    <a:gd name="connsiteY0" fmla="*/ 9741 h 10000"/>
                    <a:gd name="connsiteX1" fmla="*/ 7919 w 10553"/>
                    <a:gd name="connsiteY1" fmla="*/ 9741 h 10000"/>
                    <a:gd name="connsiteX2" fmla="*/ 8089 w 10553"/>
                    <a:gd name="connsiteY2" fmla="*/ 9741 h 10000"/>
                    <a:gd name="connsiteX3" fmla="*/ 8220 w 10553"/>
                    <a:gd name="connsiteY3" fmla="*/ 9698 h 10000"/>
                    <a:gd name="connsiteX4" fmla="*/ 8364 w 10553"/>
                    <a:gd name="connsiteY4" fmla="*/ 9655 h 10000"/>
                    <a:gd name="connsiteX5" fmla="*/ 8508 w 10553"/>
                    <a:gd name="connsiteY5" fmla="*/ 9611 h 10000"/>
                    <a:gd name="connsiteX6" fmla="*/ 8641 w 10553"/>
                    <a:gd name="connsiteY6" fmla="*/ 9526 h 10000"/>
                    <a:gd name="connsiteX7" fmla="*/ 8771 w 10553"/>
                    <a:gd name="connsiteY7" fmla="*/ 9425 h 10000"/>
                    <a:gd name="connsiteX8" fmla="*/ 8889 w 10553"/>
                    <a:gd name="connsiteY8" fmla="*/ 9338 h 10000"/>
                    <a:gd name="connsiteX9" fmla="*/ 9019 w 10553"/>
                    <a:gd name="connsiteY9" fmla="*/ 9209 h 10000"/>
                    <a:gd name="connsiteX10" fmla="*/ 9164 w 10553"/>
                    <a:gd name="connsiteY10" fmla="*/ 9079 h 10000"/>
                    <a:gd name="connsiteX11" fmla="*/ 9282 w 10553"/>
                    <a:gd name="connsiteY11" fmla="*/ 8936 h 10000"/>
                    <a:gd name="connsiteX12" fmla="*/ 9517 w 10553"/>
                    <a:gd name="connsiteY12" fmla="*/ 8604 h 10000"/>
                    <a:gd name="connsiteX13" fmla="*/ 9754 w 10553"/>
                    <a:gd name="connsiteY13" fmla="*/ 8231 h 10000"/>
                    <a:gd name="connsiteX14" fmla="*/ 9963 w 10553"/>
                    <a:gd name="connsiteY14" fmla="*/ 7828 h 10000"/>
                    <a:gd name="connsiteX15" fmla="*/ 10265 w 10553"/>
                    <a:gd name="connsiteY15" fmla="*/ 8274 h 10000"/>
                    <a:gd name="connsiteX16" fmla="*/ 10553 w 10553"/>
                    <a:gd name="connsiteY16" fmla="*/ 8691 h 10000"/>
                    <a:gd name="connsiteX17" fmla="*/ 10278 w 10553"/>
                    <a:gd name="connsiteY17" fmla="*/ 8979 h 10000"/>
                    <a:gd name="connsiteX18" fmla="*/ 10003 w 10553"/>
                    <a:gd name="connsiteY18" fmla="*/ 9238 h 10000"/>
                    <a:gd name="connsiteX19" fmla="*/ 9687 w 10553"/>
                    <a:gd name="connsiteY19" fmla="*/ 9467 h 10000"/>
                    <a:gd name="connsiteX20" fmla="*/ 9544 w 10553"/>
                    <a:gd name="connsiteY20" fmla="*/ 9554 h 10000"/>
                    <a:gd name="connsiteX21" fmla="*/ 9374 w 10553"/>
                    <a:gd name="connsiteY21" fmla="*/ 9655 h 10000"/>
                    <a:gd name="connsiteX22" fmla="*/ 9204 w 10553"/>
                    <a:gd name="connsiteY22" fmla="*/ 9741 h 10000"/>
                    <a:gd name="connsiteX23" fmla="*/ 9046 w 10553"/>
                    <a:gd name="connsiteY23" fmla="*/ 9798 h 10000"/>
                    <a:gd name="connsiteX24" fmla="*/ 8863 w 10553"/>
                    <a:gd name="connsiteY24" fmla="*/ 9870 h 10000"/>
                    <a:gd name="connsiteX25" fmla="*/ 8693 w 10553"/>
                    <a:gd name="connsiteY25" fmla="*/ 9914 h 10000"/>
                    <a:gd name="connsiteX26" fmla="*/ 8508 w 10553"/>
                    <a:gd name="connsiteY26" fmla="*/ 9943 h 10000"/>
                    <a:gd name="connsiteX27" fmla="*/ 8325 w 10553"/>
                    <a:gd name="connsiteY27" fmla="*/ 9971 h 10000"/>
                    <a:gd name="connsiteX28" fmla="*/ 8128 w 10553"/>
                    <a:gd name="connsiteY28" fmla="*/ 10000 h 10000"/>
                    <a:gd name="connsiteX29" fmla="*/ 7919 w 10553"/>
                    <a:gd name="connsiteY29" fmla="*/ 10000 h 10000"/>
                    <a:gd name="connsiteX30" fmla="*/ 7710 w 10553"/>
                    <a:gd name="connsiteY30" fmla="*/ 10000 h 10000"/>
                    <a:gd name="connsiteX31" fmla="*/ 7513 w 10553"/>
                    <a:gd name="connsiteY31" fmla="*/ 9957 h 10000"/>
                    <a:gd name="connsiteX32" fmla="*/ 7303 w 10553"/>
                    <a:gd name="connsiteY32" fmla="*/ 9929 h 10000"/>
                    <a:gd name="connsiteX33" fmla="*/ 7106 w 10553"/>
                    <a:gd name="connsiteY33" fmla="*/ 9886 h 10000"/>
                    <a:gd name="connsiteX34" fmla="*/ 6923 w 10553"/>
                    <a:gd name="connsiteY34" fmla="*/ 9812 h 10000"/>
                    <a:gd name="connsiteX35" fmla="*/ 6739 w 10553"/>
                    <a:gd name="connsiteY35" fmla="*/ 9755 h 10000"/>
                    <a:gd name="connsiteX36" fmla="*/ 6569 w 10553"/>
                    <a:gd name="connsiteY36" fmla="*/ 9655 h 10000"/>
                    <a:gd name="connsiteX37" fmla="*/ 6386 w 10553"/>
                    <a:gd name="connsiteY37" fmla="*/ 9554 h 10000"/>
                    <a:gd name="connsiteX38" fmla="*/ 6228 w 10553"/>
                    <a:gd name="connsiteY38" fmla="*/ 9467 h 10000"/>
                    <a:gd name="connsiteX39" fmla="*/ 6044 w 10553"/>
                    <a:gd name="connsiteY39" fmla="*/ 9338 h 10000"/>
                    <a:gd name="connsiteX40" fmla="*/ 5900 w 10553"/>
                    <a:gd name="connsiteY40" fmla="*/ 9224 h 10000"/>
                    <a:gd name="connsiteX41" fmla="*/ 5744 w 10553"/>
                    <a:gd name="connsiteY41" fmla="*/ 9079 h 10000"/>
                    <a:gd name="connsiteX42" fmla="*/ 5442 w 10553"/>
                    <a:gd name="connsiteY42" fmla="*/ 8777 h 10000"/>
                    <a:gd name="connsiteX43" fmla="*/ 5167 w 10553"/>
                    <a:gd name="connsiteY43" fmla="*/ 8446 h 10000"/>
                    <a:gd name="connsiteX44" fmla="*/ 4906 w 10553"/>
                    <a:gd name="connsiteY44" fmla="*/ 8086 h 10000"/>
                    <a:gd name="connsiteX45" fmla="*/ 4655 w 10553"/>
                    <a:gd name="connsiteY45" fmla="*/ 7697 h 10000"/>
                    <a:gd name="connsiteX46" fmla="*/ 4407 w 10553"/>
                    <a:gd name="connsiteY46" fmla="*/ 7295 h 10000"/>
                    <a:gd name="connsiteX47" fmla="*/ 4184 w 10553"/>
                    <a:gd name="connsiteY47" fmla="*/ 6878 h 10000"/>
                    <a:gd name="connsiteX48" fmla="*/ 3962 w 10553"/>
                    <a:gd name="connsiteY48" fmla="*/ 6446 h 10000"/>
                    <a:gd name="connsiteX49" fmla="*/ 3752 w 10553"/>
                    <a:gd name="connsiteY49" fmla="*/ 6000 h 10000"/>
                    <a:gd name="connsiteX50" fmla="*/ 3345 w 10553"/>
                    <a:gd name="connsiteY50" fmla="*/ 5094 h 10000"/>
                    <a:gd name="connsiteX51" fmla="*/ 2585 w 10553"/>
                    <a:gd name="connsiteY51" fmla="*/ 3310 h 10000"/>
                    <a:gd name="connsiteX52" fmla="*/ 2415 w 10553"/>
                    <a:gd name="connsiteY52" fmla="*/ 2863 h 10000"/>
                    <a:gd name="connsiteX53" fmla="*/ 2217 w 10553"/>
                    <a:gd name="connsiteY53" fmla="*/ 2460 h 10000"/>
                    <a:gd name="connsiteX54" fmla="*/ 2034 w 10553"/>
                    <a:gd name="connsiteY54" fmla="*/ 2101 h 10000"/>
                    <a:gd name="connsiteX55" fmla="*/ 1837 w 10553"/>
                    <a:gd name="connsiteY55" fmla="*/ 1727 h 10000"/>
                    <a:gd name="connsiteX56" fmla="*/ 1642 w 10553"/>
                    <a:gd name="connsiteY56" fmla="*/ 1396 h 10000"/>
                    <a:gd name="connsiteX57" fmla="*/ 1445 w 10553"/>
                    <a:gd name="connsiteY57" fmla="*/ 1108 h 10000"/>
                    <a:gd name="connsiteX58" fmla="*/ 1236 w 10553"/>
                    <a:gd name="connsiteY58" fmla="*/ 836 h 10000"/>
                    <a:gd name="connsiteX59" fmla="*/ 1026 w 10553"/>
                    <a:gd name="connsiteY59" fmla="*/ 634 h 10000"/>
                    <a:gd name="connsiteX60" fmla="*/ 907 w 10553"/>
                    <a:gd name="connsiteY60" fmla="*/ 533 h 10000"/>
                    <a:gd name="connsiteX61" fmla="*/ 790 w 10553"/>
                    <a:gd name="connsiteY61" fmla="*/ 432 h 10000"/>
                    <a:gd name="connsiteX62" fmla="*/ 671 w 10553"/>
                    <a:gd name="connsiteY62" fmla="*/ 375 h 10000"/>
                    <a:gd name="connsiteX63" fmla="*/ 0 w 10553"/>
                    <a:gd name="connsiteY63" fmla="*/ 841 h 10000"/>
                    <a:gd name="connsiteX64" fmla="*/ 658 w 10553"/>
                    <a:gd name="connsiteY64" fmla="*/ 0 h 10000"/>
                    <a:gd name="connsiteX65" fmla="*/ 855 w 10553"/>
                    <a:gd name="connsiteY65" fmla="*/ 43 h 10000"/>
                    <a:gd name="connsiteX66" fmla="*/ 1039 w 10553"/>
                    <a:gd name="connsiteY66" fmla="*/ 115 h 10000"/>
                    <a:gd name="connsiteX67" fmla="*/ 1222 w 10553"/>
                    <a:gd name="connsiteY67" fmla="*/ 188 h 10000"/>
                    <a:gd name="connsiteX68" fmla="*/ 1392 w 10553"/>
                    <a:gd name="connsiteY68" fmla="*/ 274 h 10000"/>
                    <a:gd name="connsiteX69" fmla="*/ 1576 w 10553"/>
                    <a:gd name="connsiteY69" fmla="*/ 375 h 10000"/>
                    <a:gd name="connsiteX70" fmla="*/ 1734 w 10553"/>
                    <a:gd name="connsiteY70" fmla="*/ 461 h 10000"/>
                    <a:gd name="connsiteX71" fmla="*/ 1890 w 10553"/>
                    <a:gd name="connsiteY71" fmla="*/ 590 h 10000"/>
                    <a:gd name="connsiteX72" fmla="*/ 2060 w 10553"/>
                    <a:gd name="connsiteY72" fmla="*/ 720 h 10000"/>
                    <a:gd name="connsiteX73" fmla="*/ 2217 w 10553"/>
                    <a:gd name="connsiteY73" fmla="*/ 850 h 10000"/>
                    <a:gd name="connsiteX74" fmla="*/ 2520 w 10553"/>
                    <a:gd name="connsiteY74" fmla="*/ 1137 h 10000"/>
                    <a:gd name="connsiteX75" fmla="*/ 2795 w 10553"/>
                    <a:gd name="connsiteY75" fmla="*/ 1482 h 10000"/>
                    <a:gd name="connsiteX76" fmla="*/ 3056 w 10553"/>
                    <a:gd name="connsiteY76" fmla="*/ 1842 h 10000"/>
                    <a:gd name="connsiteX77" fmla="*/ 3306 w 10553"/>
                    <a:gd name="connsiteY77" fmla="*/ 2231 h 10000"/>
                    <a:gd name="connsiteX78" fmla="*/ 3555 w 10553"/>
                    <a:gd name="connsiteY78" fmla="*/ 2634 h 10000"/>
                    <a:gd name="connsiteX79" fmla="*/ 3778 w 10553"/>
                    <a:gd name="connsiteY79" fmla="*/ 3051 h 10000"/>
                    <a:gd name="connsiteX80" fmla="*/ 4014 w 10553"/>
                    <a:gd name="connsiteY80" fmla="*/ 3483 h 10000"/>
                    <a:gd name="connsiteX81" fmla="*/ 4223 w 10553"/>
                    <a:gd name="connsiteY81" fmla="*/ 3927 h 10000"/>
                    <a:gd name="connsiteX82" fmla="*/ 4615 w 10553"/>
                    <a:gd name="connsiteY82" fmla="*/ 4834 h 10000"/>
                    <a:gd name="connsiteX83" fmla="*/ 5389 w 10553"/>
                    <a:gd name="connsiteY83" fmla="*/ 6633 h 10000"/>
                    <a:gd name="connsiteX84" fmla="*/ 5756 w 10553"/>
                    <a:gd name="connsiteY84" fmla="*/ 7468 h 10000"/>
                    <a:gd name="connsiteX85" fmla="*/ 5952 w 10553"/>
                    <a:gd name="connsiteY85" fmla="*/ 7828 h 10000"/>
                    <a:gd name="connsiteX86" fmla="*/ 6138 w 10553"/>
                    <a:gd name="connsiteY86" fmla="*/ 8201 h 10000"/>
                    <a:gd name="connsiteX87" fmla="*/ 6346 w 10553"/>
                    <a:gd name="connsiteY87" fmla="*/ 8533 h 10000"/>
                    <a:gd name="connsiteX88" fmla="*/ 6543 w 10553"/>
                    <a:gd name="connsiteY88" fmla="*/ 8821 h 10000"/>
                    <a:gd name="connsiteX89" fmla="*/ 6739 w 10553"/>
                    <a:gd name="connsiteY89" fmla="*/ 9093 h 10000"/>
                    <a:gd name="connsiteX90" fmla="*/ 6961 w 10553"/>
                    <a:gd name="connsiteY90" fmla="*/ 9295 h 10000"/>
                    <a:gd name="connsiteX91" fmla="*/ 7080 w 10553"/>
                    <a:gd name="connsiteY91" fmla="*/ 9395 h 10000"/>
                    <a:gd name="connsiteX92" fmla="*/ 7184 w 10553"/>
                    <a:gd name="connsiteY92" fmla="*/ 9497 h 10000"/>
                    <a:gd name="connsiteX93" fmla="*/ 7303 w 10553"/>
                    <a:gd name="connsiteY93" fmla="*/ 9554 h 10000"/>
                    <a:gd name="connsiteX94" fmla="*/ 7422 w 10553"/>
                    <a:gd name="connsiteY94" fmla="*/ 9626 h 10000"/>
                    <a:gd name="connsiteX95" fmla="*/ 7539 w 10553"/>
                    <a:gd name="connsiteY95" fmla="*/ 9669 h 10000"/>
                    <a:gd name="connsiteX96" fmla="*/ 7670 w 10553"/>
                    <a:gd name="connsiteY96" fmla="*/ 9698 h 10000"/>
                    <a:gd name="connsiteX97" fmla="*/ 7802 w 10553"/>
                    <a:gd name="connsiteY97" fmla="*/ 9741 h 10000"/>
                    <a:gd name="connsiteX98" fmla="*/ 7919 w 10553"/>
                    <a:gd name="connsiteY98" fmla="*/ 9741 h 10000"/>
                    <a:gd name="connsiteX0" fmla="*/ 7960 w 10594"/>
                    <a:gd name="connsiteY0" fmla="*/ 9813 h 10072"/>
                    <a:gd name="connsiteX1" fmla="*/ 7960 w 10594"/>
                    <a:gd name="connsiteY1" fmla="*/ 9813 h 10072"/>
                    <a:gd name="connsiteX2" fmla="*/ 8130 w 10594"/>
                    <a:gd name="connsiteY2" fmla="*/ 9813 h 10072"/>
                    <a:gd name="connsiteX3" fmla="*/ 8261 w 10594"/>
                    <a:gd name="connsiteY3" fmla="*/ 9770 h 10072"/>
                    <a:gd name="connsiteX4" fmla="*/ 8405 w 10594"/>
                    <a:gd name="connsiteY4" fmla="*/ 9727 h 10072"/>
                    <a:gd name="connsiteX5" fmla="*/ 8549 w 10594"/>
                    <a:gd name="connsiteY5" fmla="*/ 9683 h 10072"/>
                    <a:gd name="connsiteX6" fmla="*/ 8682 w 10594"/>
                    <a:gd name="connsiteY6" fmla="*/ 9598 h 10072"/>
                    <a:gd name="connsiteX7" fmla="*/ 8812 w 10594"/>
                    <a:gd name="connsiteY7" fmla="*/ 9497 h 10072"/>
                    <a:gd name="connsiteX8" fmla="*/ 8930 w 10594"/>
                    <a:gd name="connsiteY8" fmla="*/ 9410 h 10072"/>
                    <a:gd name="connsiteX9" fmla="*/ 9060 w 10594"/>
                    <a:gd name="connsiteY9" fmla="*/ 9281 h 10072"/>
                    <a:gd name="connsiteX10" fmla="*/ 9205 w 10594"/>
                    <a:gd name="connsiteY10" fmla="*/ 9151 h 10072"/>
                    <a:gd name="connsiteX11" fmla="*/ 9323 w 10594"/>
                    <a:gd name="connsiteY11" fmla="*/ 9008 h 10072"/>
                    <a:gd name="connsiteX12" fmla="*/ 9558 w 10594"/>
                    <a:gd name="connsiteY12" fmla="*/ 8676 h 10072"/>
                    <a:gd name="connsiteX13" fmla="*/ 9795 w 10594"/>
                    <a:gd name="connsiteY13" fmla="*/ 8303 h 10072"/>
                    <a:gd name="connsiteX14" fmla="*/ 10004 w 10594"/>
                    <a:gd name="connsiteY14" fmla="*/ 7900 h 10072"/>
                    <a:gd name="connsiteX15" fmla="*/ 10306 w 10594"/>
                    <a:gd name="connsiteY15" fmla="*/ 8346 h 10072"/>
                    <a:gd name="connsiteX16" fmla="*/ 10594 w 10594"/>
                    <a:gd name="connsiteY16" fmla="*/ 8763 h 10072"/>
                    <a:gd name="connsiteX17" fmla="*/ 10319 w 10594"/>
                    <a:gd name="connsiteY17" fmla="*/ 9051 h 10072"/>
                    <a:gd name="connsiteX18" fmla="*/ 10044 w 10594"/>
                    <a:gd name="connsiteY18" fmla="*/ 9310 h 10072"/>
                    <a:gd name="connsiteX19" fmla="*/ 9728 w 10594"/>
                    <a:gd name="connsiteY19" fmla="*/ 9539 h 10072"/>
                    <a:gd name="connsiteX20" fmla="*/ 9585 w 10594"/>
                    <a:gd name="connsiteY20" fmla="*/ 9626 h 10072"/>
                    <a:gd name="connsiteX21" fmla="*/ 9415 w 10594"/>
                    <a:gd name="connsiteY21" fmla="*/ 9727 h 10072"/>
                    <a:gd name="connsiteX22" fmla="*/ 9245 w 10594"/>
                    <a:gd name="connsiteY22" fmla="*/ 9813 h 10072"/>
                    <a:gd name="connsiteX23" fmla="*/ 9087 w 10594"/>
                    <a:gd name="connsiteY23" fmla="*/ 9870 h 10072"/>
                    <a:gd name="connsiteX24" fmla="*/ 8904 w 10594"/>
                    <a:gd name="connsiteY24" fmla="*/ 9942 h 10072"/>
                    <a:gd name="connsiteX25" fmla="*/ 8734 w 10594"/>
                    <a:gd name="connsiteY25" fmla="*/ 9986 h 10072"/>
                    <a:gd name="connsiteX26" fmla="*/ 8549 w 10594"/>
                    <a:gd name="connsiteY26" fmla="*/ 10015 h 10072"/>
                    <a:gd name="connsiteX27" fmla="*/ 8366 w 10594"/>
                    <a:gd name="connsiteY27" fmla="*/ 10043 h 10072"/>
                    <a:gd name="connsiteX28" fmla="*/ 8169 w 10594"/>
                    <a:gd name="connsiteY28" fmla="*/ 10072 h 10072"/>
                    <a:gd name="connsiteX29" fmla="*/ 7960 w 10594"/>
                    <a:gd name="connsiteY29" fmla="*/ 10072 h 10072"/>
                    <a:gd name="connsiteX30" fmla="*/ 7751 w 10594"/>
                    <a:gd name="connsiteY30" fmla="*/ 10072 h 10072"/>
                    <a:gd name="connsiteX31" fmla="*/ 7554 w 10594"/>
                    <a:gd name="connsiteY31" fmla="*/ 10029 h 10072"/>
                    <a:gd name="connsiteX32" fmla="*/ 7344 w 10594"/>
                    <a:gd name="connsiteY32" fmla="*/ 10001 h 10072"/>
                    <a:gd name="connsiteX33" fmla="*/ 7147 w 10594"/>
                    <a:gd name="connsiteY33" fmla="*/ 9958 h 10072"/>
                    <a:gd name="connsiteX34" fmla="*/ 6964 w 10594"/>
                    <a:gd name="connsiteY34" fmla="*/ 9884 h 10072"/>
                    <a:gd name="connsiteX35" fmla="*/ 6780 w 10594"/>
                    <a:gd name="connsiteY35" fmla="*/ 9827 h 10072"/>
                    <a:gd name="connsiteX36" fmla="*/ 6610 w 10594"/>
                    <a:gd name="connsiteY36" fmla="*/ 9727 h 10072"/>
                    <a:gd name="connsiteX37" fmla="*/ 6427 w 10594"/>
                    <a:gd name="connsiteY37" fmla="*/ 9626 h 10072"/>
                    <a:gd name="connsiteX38" fmla="*/ 6269 w 10594"/>
                    <a:gd name="connsiteY38" fmla="*/ 9539 h 10072"/>
                    <a:gd name="connsiteX39" fmla="*/ 6085 w 10594"/>
                    <a:gd name="connsiteY39" fmla="*/ 9410 h 10072"/>
                    <a:gd name="connsiteX40" fmla="*/ 5941 w 10594"/>
                    <a:gd name="connsiteY40" fmla="*/ 9296 h 10072"/>
                    <a:gd name="connsiteX41" fmla="*/ 5785 w 10594"/>
                    <a:gd name="connsiteY41" fmla="*/ 9151 h 10072"/>
                    <a:gd name="connsiteX42" fmla="*/ 5483 w 10594"/>
                    <a:gd name="connsiteY42" fmla="*/ 8849 h 10072"/>
                    <a:gd name="connsiteX43" fmla="*/ 5208 w 10594"/>
                    <a:gd name="connsiteY43" fmla="*/ 8518 h 10072"/>
                    <a:gd name="connsiteX44" fmla="*/ 4947 w 10594"/>
                    <a:gd name="connsiteY44" fmla="*/ 8158 h 10072"/>
                    <a:gd name="connsiteX45" fmla="*/ 4696 w 10594"/>
                    <a:gd name="connsiteY45" fmla="*/ 7769 h 10072"/>
                    <a:gd name="connsiteX46" fmla="*/ 4448 w 10594"/>
                    <a:gd name="connsiteY46" fmla="*/ 7367 h 10072"/>
                    <a:gd name="connsiteX47" fmla="*/ 4225 w 10594"/>
                    <a:gd name="connsiteY47" fmla="*/ 6950 h 10072"/>
                    <a:gd name="connsiteX48" fmla="*/ 4003 w 10594"/>
                    <a:gd name="connsiteY48" fmla="*/ 6518 h 10072"/>
                    <a:gd name="connsiteX49" fmla="*/ 3793 w 10594"/>
                    <a:gd name="connsiteY49" fmla="*/ 6072 h 10072"/>
                    <a:gd name="connsiteX50" fmla="*/ 3386 w 10594"/>
                    <a:gd name="connsiteY50" fmla="*/ 5166 h 10072"/>
                    <a:gd name="connsiteX51" fmla="*/ 2626 w 10594"/>
                    <a:gd name="connsiteY51" fmla="*/ 3382 h 10072"/>
                    <a:gd name="connsiteX52" fmla="*/ 2456 w 10594"/>
                    <a:gd name="connsiteY52" fmla="*/ 2935 h 10072"/>
                    <a:gd name="connsiteX53" fmla="*/ 2258 w 10594"/>
                    <a:gd name="connsiteY53" fmla="*/ 2532 h 10072"/>
                    <a:gd name="connsiteX54" fmla="*/ 2075 w 10594"/>
                    <a:gd name="connsiteY54" fmla="*/ 2173 h 10072"/>
                    <a:gd name="connsiteX55" fmla="*/ 1878 w 10594"/>
                    <a:gd name="connsiteY55" fmla="*/ 1799 h 10072"/>
                    <a:gd name="connsiteX56" fmla="*/ 1683 w 10594"/>
                    <a:gd name="connsiteY56" fmla="*/ 1468 h 10072"/>
                    <a:gd name="connsiteX57" fmla="*/ 1486 w 10594"/>
                    <a:gd name="connsiteY57" fmla="*/ 1180 h 10072"/>
                    <a:gd name="connsiteX58" fmla="*/ 1277 w 10594"/>
                    <a:gd name="connsiteY58" fmla="*/ 908 h 10072"/>
                    <a:gd name="connsiteX59" fmla="*/ 1067 w 10594"/>
                    <a:gd name="connsiteY59" fmla="*/ 706 h 10072"/>
                    <a:gd name="connsiteX60" fmla="*/ 948 w 10594"/>
                    <a:gd name="connsiteY60" fmla="*/ 605 h 10072"/>
                    <a:gd name="connsiteX61" fmla="*/ 831 w 10594"/>
                    <a:gd name="connsiteY61" fmla="*/ 504 h 10072"/>
                    <a:gd name="connsiteX62" fmla="*/ 712 w 10594"/>
                    <a:gd name="connsiteY62" fmla="*/ 447 h 10072"/>
                    <a:gd name="connsiteX63" fmla="*/ 41 w 10594"/>
                    <a:gd name="connsiteY63" fmla="*/ 913 h 10072"/>
                    <a:gd name="connsiteX64" fmla="*/ 7 w 10594"/>
                    <a:gd name="connsiteY64" fmla="*/ 0 h 10072"/>
                    <a:gd name="connsiteX65" fmla="*/ 896 w 10594"/>
                    <a:gd name="connsiteY65" fmla="*/ 115 h 10072"/>
                    <a:gd name="connsiteX66" fmla="*/ 1080 w 10594"/>
                    <a:gd name="connsiteY66" fmla="*/ 187 h 10072"/>
                    <a:gd name="connsiteX67" fmla="*/ 1263 w 10594"/>
                    <a:gd name="connsiteY67" fmla="*/ 260 h 10072"/>
                    <a:gd name="connsiteX68" fmla="*/ 1433 w 10594"/>
                    <a:gd name="connsiteY68" fmla="*/ 346 h 10072"/>
                    <a:gd name="connsiteX69" fmla="*/ 1617 w 10594"/>
                    <a:gd name="connsiteY69" fmla="*/ 447 h 10072"/>
                    <a:gd name="connsiteX70" fmla="*/ 1775 w 10594"/>
                    <a:gd name="connsiteY70" fmla="*/ 533 h 10072"/>
                    <a:gd name="connsiteX71" fmla="*/ 1931 w 10594"/>
                    <a:gd name="connsiteY71" fmla="*/ 662 h 10072"/>
                    <a:gd name="connsiteX72" fmla="*/ 2101 w 10594"/>
                    <a:gd name="connsiteY72" fmla="*/ 792 h 10072"/>
                    <a:gd name="connsiteX73" fmla="*/ 2258 w 10594"/>
                    <a:gd name="connsiteY73" fmla="*/ 922 h 10072"/>
                    <a:gd name="connsiteX74" fmla="*/ 2561 w 10594"/>
                    <a:gd name="connsiteY74" fmla="*/ 1209 h 10072"/>
                    <a:gd name="connsiteX75" fmla="*/ 2836 w 10594"/>
                    <a:gd name="connsiteY75" fmla="*/ 1554 h 10072"/>
                    <a:gd name="connsiteX76" fmla="*/ 3097 w 10594"/>
                    <a:gd name="connsiteY76" fmla="*/ 1914 h 10072"/>
                    <a:gd name="connsiteX77" fmla="*/ 3347 w 10594"/>
                    <a:gd name="connsiteY77" fmla="*/ 2303 h 10072"/>
                    <a:gd name="connsiteX78" fmla="*/ 3596 w 10594"/>
                    <a:gd name="connsiteY78" fmla="*/ 2706 h 10072"/>
                    <a:gd name="connsiteX79" fmla="*/ 3819 w 10594"/>
                    <a:gd name="connsiteY79" fmla="*/ 3123 h 10072"/>
                    <a:gd name="connsiteX80" fmla="*/ 4055 w 10594"/>
                    <a:gd name="connsiteY80" fmla="*/ 3555 h 10072"/>
                    <a:gd name="connsiteX81" fmla="*/ 4264 w 10594"/>
                    <a:gd name="connsiteY81" fmla="*/ 3999 h 10072"/>
                    <a:gd name="connsiteX82" fmla="*/ 4656 w 10594"/>
                    <a:gd name="connsiteY82" fmla="*/ 4906 h 10072"/>
                    <a:gd name="connsiteX83" fmla="*/ 5430 w 10594"/>
                    <a:gd name="connsiteY83" fmla="*/ 6705 h 10072"/>
                    <a:gd name="connsiteX84" fmla="*/ 5797 w 10594"/>
                    <a:gd name="connsiteY84" fmla="*/ 7540 h 10072"/>
                    <a:gd name="connsiteX85" fmla="*/ 5993 w 10594"/>
                    <a:gd name="connsiteY85" fmla="*/ 7900 h 10072"/>
                    <a:gd name="connsiteX86" fmla="*/ 6179 w 10594"/>
                    <a:gd name="connsiteY86" fmla="*/ 8273 h 10072"/>
                    <a:gd name="connsiteX87" fmla="*/ 6387 w 10594"/>
                    <a:gd name="connsiteY87" fmla="*/ 8605 h 10072"/>
                    <a:gd name="connsiteX88" fmla="*/ 6584 w 10594"/>
                    <a:gd name="connsiteY88" fmla="*/ 8893 h 10072"/>
                    <a:gd name="connsiteX89" fmla="*/ 6780 w 10594"/>
                    <a:gd name="connsiteY89" fmla="*/ 9165 h 10072"/>
                    <a:gd name="connsiteX90" fmla="*/ 7002 w 10594"/>
                    <a:gd name="connsiteY90" fmla="*/ 9367 h 10072"/>
                    <a:gd name="connsiteX91" fmla="*/ 7121 w 10594"/>
                    <a:gd name="connsiteY91" fmla="*/ 9467 h 10072"/>
                    <a:gd name="connsiteX92" fmla="*/ 7225 w 10594"/>
                    <a:gd name="connsiteY92" fmla="*/ 9569 h 10072"/>
                    <a:gd name="connsiteX93" fmla="*/ 7344 w 10594"/>
                    <a:gd name="connsiteY93" fmla="*/ 9626 h 10072"/>
                    <a:gd name="connsiteX94" fmla="*/ 7463 w 10594"/>
                    <a:gd name="connsiteY94" fmla="*/ 9698 h 10072"/>
                    <a:gd name="connsiteX95" fmla="*/ 7580 w 10594"/>
                    <a:gd name="connsiteY95" fmla="*/ 9741 h 10072"/>
                    <a:gd name="connsiteX96" fmla="*/ 7711 w 10594"/>
                    <a:gd name="connsiteY96" fmla="*/ 9770 h 10072"/>
                    <a:gd name="connsiteX97" fmla="*/ 7843 w 10594"/>
                    <a:gd name="connsiteY97" fmla="*/ 9813 h 10072"/>
                    <a:gd name="connsiteX98" fmla="*/ 7960 w 10594"/>
                    <a:gd name="connsiteY98" fmla="*/ 9813 h 10072"/>
                    <a:gd name="connsiteX0" fmla="*/ 8265 w 10899"/>
                    <a:gd name="connsiteY0" fmla="*/ 9813 h 10072"/>
                    <a:gd name="connsiteX1" fmla="*/ 8265 w 10899"/>
                    <a:gd name="connsiteY1" fmla="*/ 9813 h 10072"/>
                    <a:gd name="connsiteX2" fmla="*/ 8435 w 10899"/>
                    <a:gd name="connsiteY2" fmla="*/ 9813 h 10072"/>
                    <a:gd name="connsiteX3" fmla="*/ 8566 w 10899"/>
                    <a:gd name="connsiteY3" fmla="*/ 9770 h 10072"/>
                    <a:gd name="connsiteX4" fmla="*/ 8710 w 10899"/>
                    <a:gd name="connsiteY4" fmla="*/ 9727 h 10072"/>
                    <a:gd name="connsiteX5" fmla="*/ 8854 w 10899"/>
                    <a:gd name="connsiteY5" fmla="*/ 9683 h 10072"/>
                    <a:gd name="connsiteX6" fmla="*/ 8987 w 10899"/>
                    <a:gd name="connsiteY6" fmla="*/ 9598 h 10072"/>
                    <a:gd name="connsiteX7" fmla="*/ 9117 w 10899"/>
                    <a:gd name="connsiteY7" fmla="*/ 9497 h 10072"/>
                    <a:gd name="connsiteX8" fmla="*/ 9235 w 10899"/>
                    <a:gd name="connsiteY8" fmla="*/ 9410 h 10072"/>
                    <a:gd name="connsiteX9" fmla="*/ 9365 w 10899"/>
                    <a:gd name="connsiteY9" fmla="*/ 9281 h 10072"/>
                    <a:gd name="connsiteX10" fmla="*/ 9510 w 10899"/>
                    <a:gd name="connsiteY10" fmla="*/ 9151 h 10072"/>
                    <a:gd name="connsiteX11" fmla="*/ 9628 w 10899"/>
                    <a:gd name="connsiteY11" fmla="*/ 9008 h 10072"/>
                    <a:gd name="connsiteX12" fmla="*/ 9863 w 10899"/>
                    <a:gd name="connsiteY12" fmla="*/ 8676 h 10072"/>
                    <a:gd name="connsiteX13" fmla="*/ 10100 w 10899"/>
                    <a:gd name="connsiteY13" fmla="*/ 8303 h 10072"/>
                    <a:gd name="connsiteX14" fmla="*/ 10309 w 10899"/>
                    <a:gd name="connsiteY14" fmla="*/ 7900 h 10072"/>
                    <a:gd name="connsiteX15" fmla="*/ 10611 w 10899"/>
                    <a:gd name="connsiteY15" fmla="*/ 8346 h 10072"/>
                    <a:gd name="connsiteX16" fmla="*/ 10899 w 10899"/>
                    <a:gd name="connsiteY16" fmla="*/ 8763 h 10072"/>
                    <a:gd name="connsiteX17" fmla="*/ 10624 w 10899"/>
                    <a:gd name="connsiteY17" fmla="*/ 9051 h 10072"/>
                    <a:gd name="connsiteX18" fmla="*/ 10349 w 10899"/>
                    <a:gd name="connsiteY18" fmla="*/ 9310 h 10072"/>
                    <a:gd name="connsiteX19" fmla="*/ 10033 w 10899"/>
                    <a:gd name="connsiteY19" fmla="*/ 9539 h 10072"/>
                    <a:gd name="connsiteX20" fmla="*/ 9890 w 10899"/>
                    <a:gd name="connsiteY20" fmla="*/ 9626 h 10072"/>
                    <a:gd name="connsiteX21" fmla="*/ 9720 w 10899"/>
                    <a:gd name="connsiteY21" fmla="*/ 9727 h 10072"/>
                    <a:gd name="connsiteX22" fmla="*/ 9550 w 10899"/>
                    <a:gd name="connsiteY22" fmla="*/ 9813 h 10072"/>
                    <a:gd name="connsiteX23" fmla="*/ 9392 w 10899"/>
                    <a:gd name="connsiteY23" fmla="*/ 9870 h 10072"/>
                    <a:gd name="connsiteX24" fmla="*/ 9209 w 10899"/>
                    <a:gd name="connsiteY24" fmla="*/ 9942 h 10072"/>
                    <a:gd name="connsiteX25" fmla="*/ 9039 w 10899"/>
                    <a:gd name="connsiteY25" fmla="*/ 9986 h 10072"/>
                    <a:gd name="connsiteX26" fmla="*/ 8854 w 10899"/>
                    <a:gd name="connsiteY26" fmla="*/ 10015 h 10072"/>
                    <a:gd name="connsiteX27" fmla="*/ 8671 w 10899"/>
                    <a:gd name="connsiteY27" fmla="*/ 10043 h 10072"/>
                    <a:gd name="connsiteX28" fmla="*/ 8474 w 10899"/>
                    <a:gd name="connsiteY28" fmla="*/ 10072 h 10072"/>
                    <a:gd name="connsiteX29" fmla="*/ 8265 w 10899"/>
                    <a:gd name="connsiteY29" fmla="*/ 10072 h 10072"/>
                    <a:gd name="connsiteX30" fmla="*/ 8056 w 10899"/>
                    <a:gd name="connsiteY30" fmla="*/ 10072 h 10072"/>
                    <a:gd name="connsiteX31" fmla="*/ 7859 w 10899"/>
                    <a:gd name="connsiteY31" fmla="*/ 10029 h 10072"/>
                    <a:gd name="connsiteX32" fmla="*/ 7649 w 10899"/>
                    <a:gd name="connsiteY32" fmla="*/ 10001 h 10072"/>
                    <a:gd name="connsiteX33" fmla="*/ 7452 w 10899"/>
                    <a:gd name="connsiteY33" fmla="*/ 9958 h 10072"/>
                    <a:gd name="connsiteX34" fmla="*/ 7269 w 10899"/>
                    <a:gd name="connsiteY34" fmla="*/ 9884 h 10072"/>
                    <a:gd name="connsiteX35" fmla="*/ 7085 w 10899"/>
                    <a:gd name="connsiteY35" fmla="*/ 9827 h 10072"/>
                    <a:gd name="connsiteX36" fmla="*/ 6915 w 10899"/>
                    <a:gd name="connsiteY36" fmla="*/ 9727 h 10072"/>
                    <a:gd name="connsiteX37" fmla="*/ 6732 w 10899"/>
                    <a:gd name="connsiteY37" fmla="*/ 9626 h 10072"/>
                    <a:gd name="connsiteX38" fmla="*/ 6574 w 10899"/>
                    <a:gd name="connsiteY38" fmla="*/ 9539 h 10072"/>
                    <a:gd name="connsiteX39" fmla="*/ 6390 w 10899"/>
                    <a:gd name="connsiteY39" fmla="*/ 9410 h 10072"/>
                    <a:gd name="connsiteX40" fmla="*/ 6246 w 10899"/>
                    <a:gd name="connsiteY40" fmla="*/ 9296 h 10072"/>
                    <a:gd name="connsiteX41" fmla="*/ 6090 w 10899"/>
                    <a:gd name="connsiteY41" fmla="*/ 9151 h 10072"/>
                    <a:gd name="connsiteX42" fmla="*/ 5788 w 10899"/>
                    <a:gd name="connsiteY42" fmla="*/ 8849 h 10072"/>
                    <a:gd name="connsiteX43" fmla="*/ 5513 w 10899"/>
                    <a:gd name="connsiteY43" fmla="*/ 8518 h 10072"/>
                    <a:gd name="connsiteX44" fmla="*/ 5252 w 10899"/>
                    <a:gd name="connsiteY44" fmla="*/ 8158 h 10072"/>
                    <a:gd name="connsiteX45" fmla="*/ 5001 w 10899"/>
                    <a:gd name="connsiteY45" fmla="*/ 7769 h 10072"/>
                    <a:gd name="connsiteX46" fmla="*/ 4753 w 10899"/>
                    <a:gd name="connsiteY46" fmla="*/ 7367 h 10072"/>
                    <a:gd name="connsiteX47" fmla="*/ 4530 w 10899"/>
                    <a:gd name="connsiteY47" fmla="*/ 6950 h 10072"/>
                    <a:gd name="connsiteX48" fmla="*/ 4308 w 10899"/>
                    <a:gd name="connsiteY48" fmla="*/ 6518 h 10072"/>
                    <a:gd name="connsiteX49" fmla="*/ 4098 w 10899"/>
                    <a:gd name="connsiteY49" fmla="*/ 6072 h 10072"/>
                    <a:gd name="connsiteX50" fmla="*/ 3691 w 10899"/>
                    <a:gd name="connsiteY50" fmla="*/ 5166 h 10072"/>
                    <a:gd name="connsiteX51" fmla="*/ 2931 w 10899"/>
                    <a:gd name="connsiteY51" fmla="*/ 3382 h 10072"/>
                    <a:gd name="connsiteX52" fmla="*/ 2761 w 10899"/>
                    <a:gd name="connsiteY52" fmla="*/ 2935 h 10072"/>
                    <a:gd name="connsiteX53" fmla="*/ 2563 w 10899"/>
                    <a:gd name="connsiteY53" fmla="*/ 2532 h 10072"/>
                    <a:gd name="connsiteX54" fmla="*/ 2380 w 10899"/>
                    <a:gd name="connsiteY54" fmla="*/ 2173 h 10072"/>
                    <a:gd name="connsiteX55" fmla="*/ 2183 w 10899"/>
                    <a:gd name="connsiteY55" fmla="*/ 1799 h 10072"/>
                    <a:gd name="connsiteX56" fmla="*/ 1988 w 10899"/>
                    <a:gd name="connsiteY56" fmla="*/ 1468 h 10072"/>
                    <a:gd name="connsiteX57" fmla="*/ 1791 w 10899"/>
                    <a:gd name="connsiteY57" fmla="*/ 1180 h 10072"/>
                    <a:gd name="connsiteX58" fmla="*/ 1582 w 10899"/>
                    <a:gd name="connsiteY58" fmla="*/ 908 h 10072"/>
                    <a:gd name="connsiteX59" fmla="*/ 1372 w 10899"/>
                    <a:gd name="connsiteY59" fmla="*/ 706 h 10072"/>
                    <a:gd name="connsiteX60" fmla="*/ 1253 w 10899"/>
                    <a:gd name="connsiteY60" fmla="*/ 605 h 10072"/>
                    <a:gd name="connsiteX61" fmla="*/ 1136 w 10899"/>
                    <a:gd name="connsiteY61" fmla="*/ 504 h 10072"/>
                    <a:gd name="connsiteX62" fmla="*/ 1017 w 10899"/>
                    <a:gd name="connsiteY62" fmla="*/ 447 h 10072"/>
                    <a:gd name="connsiteX63" fmla="*/ 0 w 10899"/>
                    <a:gd name="connsiteY63" fmla="*/ 626 h 10072"/>
                    <a:gd name="connsiteX64" fmla="*/ 312 w 10899"/>
                    <a:gd name="connsiteY64" fmla="*/ 0 h 10072"/>
                    <a:gd name="connsiteX65" fmla="*/ 1201 w 10899"/>
                    <a:gd name="connsiteY65" fmla="*/ 115 h 10072"/>
                    <a:gd name="connsiteX66" fmla="*/ 1385 w 10899"/>
                    <a:gd name="connsiteY66" fmla="*/ 187 h 10072"/>
                    <a:gd name="connsiteX67" fmla="*/ 1568 w 10899"/>
                    <a:gd name="connsiteY67" fmla="*/ 260 h 10072"/>
                    <a:gd name="connsiteX68" fmla="*/ 1738 w 10899"/>
                    <a:gd name="connsiteY68" fmla="*/ 346 h 10072"/>
                    <a:gd name="connsiteX69" fmla="*/ 1922 w 10899"/>
                    <a:gd name="connsiteY69" fmla="*/ 447 h 10072"/>
                    <a:gd name="connsiteX70" fmla="*/ 2080 w 10899"/>
                    <a:gd name="connsiteY70" fmla="*/ 533 h 10072"/>
                    <a:gd name="connsiteX71" fmla="*/ 2236 w 10899"/>
                    <a:gd name="connsiteY71" fmla="*/ 662 h 10072"/>
                    <a:gd name="connsiteX72" fmla="*/ 2406 w 10899"/>
                    <a:gd name="connsiteY72" fmla="*/ 792 h 10072"/>
                    <a:gd name="connsiteX73" fmla="*/ 2563 w 10899"/>
                    <a:gd name="connsiteY73" fmla="*/ 922 h 10072"/>
                    <a:gd name="connsiteX74" fmla="*/ 2866 w 10899"/>
                    <a:gd name="connsiteY74" fmla="*/ 1209 h 10072"/>
                    <a:gd name="connsiteX75" fmla="*/ 3141 w 10899"/>
                    <a:gd name="connsiteY75" fmla="*/ 1554 h 10072"/>
                    <a:gd name="connsiteX76" fmla="*/ 3402 w 10899"/>
                    <a:gd name="connsiteY76" fmla="*/ 1914 h 10072"/>
                    <a:gd name="connsiteX77" fmla="*/ 3652 w 10899"/>
                    <a:gd name="connsiteY77" fmla="*/ 2303 h 10072"/>
                    <a:gd name="connsiteX78" fmla="*/ 3901 w 10899"/>
                    <a:gd name="connsiteY78" fmla="*/ 2706 h 10072"/>
                    <a:gd name="connsiteX79" fmla="*/ 4124 w 10899"/>
                    <a:gd name="connsiteY79" fmla="*/ 3123 h 10072"/>
                    <a:gd name="connsiteX80" fmla="*/ 4360 w 10899"/>
                    <a:gd name="connsiteY80" fmla="*/ 3555 h 10072"/>
                    <a:gd name="connsiteX81" fmla="*/ 4569 w 10899"/>
                    <a:gd name="connsiteY81" fmla="*/ 3999 h 10072"/>
                    <a:gd name="connsiteX82" fmla="*/ 4961 w 10899"/>
                    <a:gd name="connsiteY82" fmla="*/ 4906 h 10072"/>
                    <a:gd name="connsiteX83" fmla="*/ 5735 w 10899"/>
                    <a:gd name="connsiteY83" fmla="*/ 6705 h 10072"/>
                    <a:gd name="connsiteX84" fmla="*/ 6102 w 10899"/>
                    <a:gd name="connsiteY84" fmla="*/ 7540 h 10072"/>
                    <a:gd name="connsiteX85" fmla="*/ 6298 w 10899"/>
                    <a:gd name="connsiteY85" fmla="*/ 7900 h 10072"/>
                    <a:gd name="connsiteX86" fmla="*/ 6484 w 10899"/>
                    <a:gd name="connsiteY86" fmla="*/ 8273 h 10072"/>
                    <a:gd name="connsiteX87" fmla="*/ 6692 w 10899"/>
                    <a:gd name="connsiteY87" fmla="*/ 8605 h 10072"/>
                    <a:gd name="connsiteX88" fmla="*/ 6889 w 10899"/>
                    <a:gd name="connsiteY88" fmla="*/ 8893 h 10072"/>
                    <a:gd name="connsiteX89" fmla="*/ 7085 w 10899"/>
                    <a:gd name="connsiteY89" fmla="*/ 9165 h 10072"/>
                    <a:gd name="connsiteX90" fmla="*/ 7307 w 10899"/>
                    <a:gd name="connsiteY90" fmla="*/ 9367 h 10072"/>
                    <a:gd name="connsiteX91" fmla="*/ 7426 w 10899"/>
                    <a:gd name="connsiteY91" fmla="*/ 9467 h 10072"/>
                    <a:gd name="connsiteX92" fmla="*/ 7530 w 10899"/>
                    <a:gd name="connsiteY92" fmla="*/ 9569 h 10072"/>
                    <a:gd name="connsiteX93" fmla="*/ 7649 w 10899"/>
                    <a:gd name="connsiteY93" fmla="*/ 9626 h 10072"/>
                    <a:gd name="connsiteX94" fmla="*/ 7768 w 10899"/>
                    <a:gd name="connsiteY94" fmla="*/ 9698 h 10072"/>
                    <a:gd name="connsiteX95" fmla="*/ 7885 w 10899"/>
                    <a:gd name="connsiteY95" fmla="*/ 9741 h 10072"/>
                    <a:gd name="connsiteX96" fmla="*/ 8016 w 10899"/>
                    <a:gd name="connsiteY96" fmla="*/ 9770 h 10072"/>
                    <a:gd name="connsiteX97" fmla="*/ 8148 w 10899"/>
                    <a:gd name="connsiteY97" fmla="*/ 9813 h 10072"/>
                    <a:gd name="connsiteX98" fmla="*/ 8265 w 10899"/>
                    <a:gd name="connsiteY98" fmla="*/ 9813 h 10072"/>
                    <a:gd name="connsiteX0" fmla="*/ 7956 w 10590"/>
                    <a:gd name="connsiteY0" fmla="*/ 9813 h 10072"/>
                    <a:gd name="connsiteX1" fmla="*/ 7956 w 10590"/>
                    <a:gd name="connsiteY1" fmla="*/ 9813 h 10072"/>
                    <a:gd name="connsiteX2" fmla="*/ 8126 w 10590"/>
                    <a:gd name="connsiteY2" fmla="*/ 9813 h 10072"/>
                    <a:gd name="connsiteX3" fmla="*/ 8257 w 10590"/>
                    <a:gd name="connsiteY3" fmla="*/ 9770 h 10072"/>
                    <a:gd name="connsiteX4" fmla="*/ 8401 w 10590"/>
                    <a:gd name="connsiteY4" fmla="*/ 9727 h 10072"/>
                    <a:gd name="connsiteX5" fmla="*/ 8545 w 10590"/>
                    <a:gd name="connsiteY5" fmla="*/ 9683 h 10072"/>
                    <a:gd name="connsiteX6" fmla="*/ 8678 w 10590"/>
                    <a:gd name="connsiteY6" fmla="*/ 9598 h 10072"/>
                    <a:gd name="connsiteX7" fmla="*/ 8808 w 10590"/>
                    <a:gd name="connsiteY7" fmla="*/ 9497 h 10072"/>
                    <a:gd name="connsiteX8" fmla="*/ 8926 w 10590"/>
                    <a:gd name="connsiteY8" fmla="*/ 9410 h 10072"/>
                    <a:gd name="connsiteX9" fmla="*/ 9056 w 10590"/>
                    <a:gd name="connsiteY9" fmla="*/ 9281 h 10072"/>
                    <a:gd name="connsiteX10" fmla="*/ 9201 w 10590"/>
                    <a:gd name="connsiteY10" fmla="*/ 9151 h 10072"/>
                    <a:gd name="connsiteX11" fmla="*/ 9319 w 10590"/>
                    <a:gd name="connsiteY11" fmla="*/ 9008 h 10072"/>
                    <a:gd name="connsiteX12" fmla="*/ 9554 w 10590"/>
                    <a:gd name="connsiteY12" fmla="*/ 8676 h 10072"/>
                    <a:gd name="connsiteX13" fmla="*/ 9791 w 10590"/>
                    <a:gd name="connsiteY13" fmla="*/ 8303 h 10072"/>
                    <a:gd name="connsiteX14" fmla="*/ 10000 w 10590"/>
                    <a:gd name="connsiteY14" fmla="*/ 7900 h 10072"/>
                    <a:gd name="connsiteX15" fmla="*/ 10302 w 10590"/>
                    <a:gd name="connsiteY15" fmla="*/ 8346 h 10072"/>
                    <a:gd name="connsiteX16" fmla="*/ 10590 w 10590"/>
                    <a:gd name="connsiteY16" fmla="*/ 8763 h 10072"/>
                    <a:gd name="connsiteX17" fmla="*/ 10315 w 10590"/>
                    <a:gd name="connsiteY17" fmla="*/ 9051 h 10072"/>
                    <a:gd name="connsiteX18" fmla="*/ 10040 w 10590"/>
                    <a:gd name="connsiteY18" fmla="*/ 9310 h 10072"/>
                    <a:gd name="connsiteX19" fmla="*/ 9724 w 10590"/>
                    <a:gd name="connsiteY19" fmla="*/ 9539 h 10072"/>
                    <a:gd name="connsiteX20" fmla="*/ 9581 w 10590"/>
                    <a:gd name="connsiteY20" fmla="*/ 9626 h 10072"/>
                    <a:gd name="connsiteX21" fmla="*/ 9411 w 10590"/>
                    <a:gd name="connsiteY21" fmla="*/ 9727 h 10072"/>
                    <a:gd name="connsiteX22" fmla="*/ 9241 w 10590"/>
                    <a:gd name="connsiteY22" fmla="*/ 9813 h 10072"/>
                    <a:gd name="connsiteX23" fmla="*/ 9083 w 10590"/>
                    <a:gd name="connsiteY23" fmla="*/ 9870 h 10072"/>
                    <a:gd name="connsiteX24" fmla="*/ 8900 w 10590"/>
                    <a:gd name="connsiteY24" fmla="*/ 9942 h 10072"/>
                    <a:gd name="connsiteX25" fmla="*/ 8730 w 10590"/>
                    <a:gd name="connsiteY25" fmla="*/ 9986 h 10072"/>
                    <a:gd name="connsiteX26" fmla="*/ 8545 w 10590"/>
                    <a:gd name="connsiteY26" fmla="*/ 10015 h 10072"/>
                    <a:gd name="connsiteX27" fmla="*/ 8362 w 10590"/>
                    <a:gd name="connsiteY27" fmla="*/ 10043 h 10072"/>
                    <a:gd name="connsiteX28" fmla="*/ 8165 w 10590"/>
                    <a:gd name="connsiteY28" fmla="*/ 10072 h 10072"/>
                    <a:gd name="connsiteX29" fmla="*/ 7956 w 10590"/>
                    <a:gd name="connsiteY29" fmla="*/ 10072 h 10072"/>
                    <a:gd name="connsiteX30" fmla="*/ 7747 w 10590"/>
                    <a:gd name="connsiteY30" fmla="*/ 10072 h 10072"/>
                    <a:gd name="connsiteX31" fmla="*/ 7550 w 10590"/>
                    <a:gd name="connsiteY31" fmla="*/ 10029 h 10072"/>
                    <a:gd name="connsiteX32" fmla="*/ 7340 w 10590"/>
                    <a:gd name="connsiteY32" fmla="*/ 10001 h 10072"/>
                    <a:gd name="connsiteX33" fmla="*/ 7143 w 10590"/>
                    <a:gd name="connsiteY33" fmla="*/ 9958 h 10072"/>
                    <a:gd name="connsiteX34" fmla="*/ 6960 w 10590"/>
                    <a:gd name="connsiteY34" fmla="*/ 9884 h 10072"/>
                    <a:gd name="connsiteX35" fmla="*/ 6776 w 10590"/>
                    <a:gd name="connsiteY35" fmla="*/ 9827 h 10072"/>
                    <a:gd name="connsiteX36" fmla="*/ 6606 w 10590"/>
                    <a:gd name="connsiteY36" fmla="*/ 9727 h 10072"/>
                    <a:gd name="connsiteX37" fmla="*/ 6423 w 10590"/>
                    <a:gd name="connsiteY37" fmla="*/ 9626 h 10072"/>
                    <a:gd name="connsiteX38" fmla="*/ 6265 w 10590"/>
                    <a:gd name="connsiteY38" fmla="*/ 9539 h 10072"/>
                    <a:gd name="connsiteX39" fmla="*/ 6081 w 10590"/>
                    <a:gd name="connsiteY39" fmla="*/ 9410 h 10072"/>
                    <a:gd name="connsiteX40" fmla="*/ 5937 w 10590"/>
                    <a:gd name="connsiteY40" fmla="*/ 9296 h 10072"/>
                    <a:gd name="connsiteX41" fmla="*/ 5781 w 10590"/>
                    <a:gd name="connsiteY41" fmla="*/ 9151 h 10072"/>
                    <a:gd name="connsiteX42" fmla="*/ 5479 w 10590"/>
                    <a:gd name="connsiteY42" fmla="*/ 8849 h 10072"/>
                    <a:gd name="connsiteX43" fmla="*/ 5204 w 10590"/>
                    <a:gd name="connsiteY43" fmla="*/ 8518 h 10072"/>
                    <a:gd name="connsiteX44" fmla="*/ 4943 w 10590"/>
                    <a:gd name="connsiteY44" fmla="*/ 8158 h 10072"/>
                    <a:gd name="connsiteX45" fmla="*/ 4692 w 10590"/>
                    <a:gd name="connsiteY45" fmla="*/ 7769 h 10072"/>
                    <a:gd name="connsiteX46" fmla="*/ 4444 w 10590"/>
                    <a:gd name="connsiteY46" fmla="*/ 7367 h 10072"/>
                    <a:gd name="connsiteX47" fmla="*/ 4221 w 10590"/>
                    <a:gd name="connsiteY47" fmla="*/ 6950 h 10072"/>
                    <a:gd name="connsiteX48" fmla="*/ 3999 w 10590"/>
                    <a:gd name="connsiteY48" fmla="*/ 6518 h 10072"/>
                    <a:gd name="connsiteX49" fmla="*/ 3789 w 10590"/>
                    <a:gd name="connsiteY49" fmla="*/ 6072 h 10072"/>
                    <a:gd name="connsiteX50" fmla="*/ 3382 w 10590"/>
                    <a:gd name="connsiteY50" fmla="*/ 5166 h 10072"/>
                    <a:gd name="connsiteX51" fmla="*/ 2622 w 10590"/>
                    <a:gd name="connsiteY51" fmla="*/ 3382 h 10072"/>
                    <a:gd name="connsiteX52" fmla="*/ 2452 w 10590"/>
                    <a:gd name="connsiteY52" fmla="*/ 2935 h 10072"/>
                    <a:gd name="connsiteX53" fmla="*/ 2254 w 10590"/>
                    <a:gd name="connsiteY53" fmla="*/ 2532 h 10072"/>
                    <a:gd name="connsiteX54" fmla="*/ 2071 w 10590"/>
                    <a:gd name="connsiteY54" fmla="*/ 2173 h 10072"/>
                    <a:gd name="connsiteX55" fmla="*/ 1874 w 10590"/>
                    <a:gd name="connsiteY55" fmla="*/ 1799 h 10072"/>
                    <a:gd name="connsiteX56" fmla="*/ 1679 w 10590"/>
                    <a:gd name="connsiteY56" fmla="*/ 1468 h 10072"/>
                    <a:gd name="connsiteX57" fmla="*/ 1482 w 10590"/>
                    <a:gd name="connsiteY57" fmla="*/ 1180 h 10072"/>
                    <a:gd name="connsiteX58" fmla="*/ 1273 w 10590"/>
                    <a:gd name="connsiteY58" fmla="*/ 908 h 10072"/>
                    <a:gd name="connsiteX59" fmla="*/ 1063 w 10590"/>
                    <a:gd name="connsiteY59" fmla="*/ 706 h 10072"/>
                    <a:gd name="connsiteX60" fmla="*/ 944 w 10590"/>
                    <a:gd name="connsiteY60" fmla="*/ 605 h 10072"/>
                    <a:gd name="connsiteX61" fmla="*/ 827 w 10590"/>
                    <a:gd name="connsiteY61" fmla="*/ 504 h 10072"/>
                    <a:gd name="connsiteX62" fmla="*/ 708 w 10590"/>
                    <a:gd name="connsiteY62" fmla="*/ 447 h 10072"/>
                    <a:gd name="connsiteX63" fmla="*/ 337 w 10590"/>
                    <a:gd name="connsiteY63" fmla="*/ 411 h 10072"/>
                    <a:gd name="connsiteX64" fmla="*/ 3 w 10590"/>
                    <a:gd name="connsiteY64" fmla="*/ 0 h 10072"/>
                    <a:gd name="connsiteX65" fmla="*/ 892 w 10590"/>
                    <a:gd name="connsiteY65" fmla="*/ 115 h 10072"/>
                    <a:gd name="connsiteX66" fmla="*/ 1076 w 10590"/>
                    <a:gd name="connsiteY66" fmla="*/ 187 h 10072"/>
                    <a:gd name="connsiteX67" fmla="*/ 1259 w 10590"/>
                    <a:gd name="connsiteY67" fmla="*/ 260 h 10072"/>
                    <a:gd name="connsiteX68" fmla="*/ 1429 w 10590"/>
                    <a:gd name="connsiteY68" fmla="*/ 346 h 10072"/>
                    <a:gd name="connsiteX69" fmla="*/ 1613 w 10590"/>
                    <a:gd name="connsiteY69" fmla="*/ 447 h 10072"/>
                    <a:gd name="connsiteX70" fmla="*/ 1771 w 10590"/>
                    <a:gd name="connsiteY70" fmla="*/ 533 h 10072"/>
                    <a:gd name="connsiteX71" fmla="*/ 1927 w 10590"/>
                    <a:gd name="connsiteY71" fmla="*/ 662 h 10072"/>
                    <a:gd name="connsiteX72" fmla="*/ 2097 w 10590"/>
                    <a:gd name="connsiteY72" fmla="*/ 792 h 10072"/>
                    <a:gd name="connsiteX73" fmla="*/ 2254 w 10590"/>
                    <a:gd name="connsiteY73" fmla="*/ 922 h 10072"/>
                    <a:gd name="connsiteX74" fmla="*/ 2557 w 10590"/>
                    <a:gd name="connsiteY74" fmla="*/ 1209 h 10072"/>
                    <a:gd name="connsiteX75" fmla="*/ 2832 w 10590"/>
                    <a:gd name="connsiteY75" fmla="*/ 1554 h 10072"/>
                    <a:gd name="connsiteX76" fmla="*/ 3093 w 10590"/>
                    <a:gd name="connsiteY76" fmla="*/ 1914 h 10072"/>
                    <a:gd name="connsiteX77" fmla="*/ 3343 w 10590"/>
                    <a:gd name="connsiteY77" fmla="*/ 2303 h 10072"/>
                    <a:gd name="connsiteX78" fmla="*/ 3592 w 10590"/>
                    <a:gd name="connsiteY78" fmla="*/ 2706 h 10072"/>
                    <a:gd name="connsiteX79" fmla="*/ 3815 w 10590"/>
                    <a:gd name="connsiteY79" fmla="*/ 3123 h 10072"/>
                    <a:gd name="connsiteX80" fmla="*/ 4051 w 10590"/>
                    <a:gd name="connsiteY80" fmla="*/ 3555 h 10072"/>
                    <a:gd name="connsiteX81" fmla="*/ 4260 w 10590"/>
                    <a:gd name="connsiteY81" fmla="*/ 3999 h 10072"/>
                    <a:gd name="connsiteX82" fmla="*/ 4652 w 10590"/>
                    <a:gd name="connsiteY82" fmla="*/ 4906 h 10072"/>
                    <a:gd name="connsiteX83" fmla="*/ 5426 w 10590"/>
                    <a:gd name="connsiteY83" fmla="*/ 6705 h 10072"/>
                    <a:gd name="connsiteX84" fmla="*/ 5793 w 10590"/>
                    <a:gd name="connsiteY84" fmla="*/ 7540 h 10072"/>
                    <a:gd name="connsiteX85" fmla="*/ 5989 w 10590"/>
                    <a:gd name="connsiteY85" fmla="*/ 7900 h 10072"/>
                    <a:gd name="connsiteX86" fmla="*/ 6175 w 10590"/>
                    <a:gd name="connsiteY86" fmla="*/ 8273 h 10072"/>
                    <a:gd name="connsiteX87" fmla="*/ 6383 w 10590"/>
                    <a:gd name="connsiteY87" fmla="*/ 8605 h 10072"/>
                    <a:gd name="connsiteX88" fmla="*/ 6580 w 10590"/>
                    <a:gd name="connsiteY88" fmla="*/ 8893 h 10072"/>
                    <a:gd name="connsiteX89" fmla="*/ 6776 w 10590"/>
                    <a:gd name="connsiteY89" fmla="*/ 9165 h 10072"/>
                    <a:gd name="connsiteX90" fmla="*/ 6998 w 10590"/>
                    <a:gd name="connsiteY90" fmla="*/ 9367 h 10072"/>
                    <a:gd name="connsiteX91" fmla="*/ 7117 w 10590"/>
                    <a:gd name="connsiteY91" fmla="*/ 9467 h 10072"/>
                    <a:gd name="connsiteX92" fmla="*/ 7221 w 10590"/>
                    <a:gd name="connsiteY92" fmla="*/ 9569 h 10072"/>
                    <a:gd name="connsiteX93" fmla="*/ 7340 w 10590"/>
                    <a:gd name="connsiteY93" fmla="*/ 9626 h 10072"/>
                    <a:gd name="connsiteX94" fmla="*/ 7459 w 10590"/>
                    <a:gd name="connsiteY94" fmla="*/ 9698 h 10072"/>
                    <a:gd name="connsiteX95" fmla="*/ 7576 w 10590"/>
                    <a:gd name="connsiteY95" fmla="*/ 9741 h 10072"/>
                    <a:gd name="connsiteX96" fmla="*/ 7707 w 10590"/>
                    <a:gd name="connsiteY96" fmla="*/ 9770 h 10072"/>
                    <a:gd name="connsiteX97" fmla="*/ 7839 w 10590"/>
                    <a:gd name="connsiteY97" fmla="*/ 9813 h 10072"/>
                    <a:gd name="connsiteX98" fmla="*/ 7956 w 10590"/>
                    <a:gd name="connsiteY98" fmla="*/ 9813 h 1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0590" h="10072">
                      <a:moveTo>
                        <a:pt x="7956" y="9813"/>
                      </a:moveTo>
                      <a:lnTo>
                        <a:pt x="7956" y="9813"/>
                      </a:lnTo>
                      <a:lnTo>
                        <a:pt x="8126" y="9813"/>
                      </a:lnTo>
                      <a:cubicBezTo>
                        <a:pt x="8170" y="9799"/>
                        <a:pt x="8213" y="9784"/>
                        <a:pt x="8257" y="9770"/>
                      </a:cubicBezTo>
                      <a:cubicBezTo>
                        <a:pt x="8306" y="9756"/>
                        <a:pt x="8353" y="9741"/>
                        <a:pt x="8401" y="9727"/>
                      </a:cubicBezTo>
                      <a:lnTo>
                        <a:pt x="8545" y="9683"/>
                      </a:lnTo>
                      <a:lnTo>
                        <a:pt x="8678" y="9598"/>
                      </a:lnTo>
                      <a:cubicBezTo>
                        <a:pt x="8721" y="9564"/>
                        <a:pt x="8765" y="9531"/>
                        <a:pt x="8808" y="9497"/>
                      </a:cubicBezTo>
                      <a:cubicBezTo>
                        <a:pt x="8848" y="9468"/>
                        <a:pt x="8886" y="9439"/>
                        <a:pt x="8926" y="9410"/>
                      </a:cubicBezTo>
                      <a:lnTo>
                        <a:pt x="9056" y="9281"/>
                      </a:lnTo>
                      <a:cubicBezTo>
                        <a:pt x="9105" y="9238"/>
                        <a:pt x="9152" y="9194"/>
                        <a:pt x="9201" y="9151"/>
                      </a:cubicBezTo>
                      <a:cubicBezTo>
                        <a:pt x="9240" y="9103"/>
                        <a:pt x="9280" y="9056"/>
                        <a:pt x="9319" y="9008"/>
                      </a:cubicBezTo>
                      <a:cubicBezTo>
                        <a:pt x="9397" y="8897"/>
                        <a:pt x="9476" y="8787"/>
                        <a:pt x="9554" y="8676"/>
                      </a:cubicBezTo>
                      <a:cubicBezTo>
                        <a:pt x="9633" y="8552"/>
                        <a:pt x="9711" y="8427"/>
                        <a:pt x="9791" y="8303"/>
                      </a:cubicBezTo>
                      <a:cubicBezTo>
                        <a:pt x="9860" y="8168"/>
                        <a:pt x="9930" y="8034"/>
                        <a:pt x="10000" y="7900"/>
                      </a:cubicBezTo>
                      <a:lnTo>
                        <a:pt x="10302" y="8346"/>
                      </a:lnTo>
                      <a:lnTo>
                        <a:pt x="10590" y="8763"/>
                      </a:lnTo>
                      <a:cubicBezTo>
                        <a:pt x="10498" y="8858"/>
                        <a:pt x="10407" y="8955"/>
                        <a:pt x="10315" y="9051"/>
                      </a:cubicBezTo>
                      <a:lnTo>
                        <a:pt x="10040" y="9310"/>
                      </a:lnTo>
                      <a:lnTo>
                        <a:pt x="9724" y="9539"/>
                      </a:lnTo>
                      <a:cubicBezTo>
                        <a:pt x="9677" y="9569"/>
                        <a:pt x="9628" y="9597"/>
                        <a:pt x="9581" y="9626"/>
                      </a:cubicBezTo>
                      <a:cubicBezTo>
                        <a:pt x="9525" y="9660"/>
                        <a:pt x="9467" y="9693"/>
                        <a:pt x="9411" y="9727"/>
                      </a:cubicBezTo>
                      <a:lnTo>
                        <a:pt x="9241" y="9813"/>
                      </a:lnTo>
                      <a:lnTo>
                        <a:pt x="9083" y="9870"/>
                      </a:lnTo>
                      <a:lnTo>
                        <a:pt x="8900" y="9942"/>
                      </a:lnTo>
                      <a:lnTo>
                        <a:pt x="8730" y="9986"/>
                      </a:lnTo>
                      <a:lnTo>
                        <a:pt x="8545" y="10015"/>
                      </a:lnTo>
                      <a:lnTo>
                        <a:pt x="8362" y="10043"/>
                      </a:lnTo>
                      <a:lnTo>
                        <a:pt x="8165" y="10072"/>
                      </a:lnTo>
                      <a:lnTo>
                        <a:pt x="7956" y="10072"/>
                      </a:lnTo>
                      <a:lnTo>
                        <a:pt x="7747" y="10072"/>
                      </a:lnTo>
                      <a:lnTo>
                        <a:pt x="7550" y="10029"/>
                      </a:lnTo>
                      <a:lnTo>
                        <a:pt x="7340" y="10001"/>
                      </a:lnTo>
                      <a:lnTo>
                        <a:pt x="7143" y="9958"/>
                      </a:lnTo>
                      <a:lnTo>
                        <a:pt x="6960" y="9884"/>
                      </a:lnTo>
                      <a:lnTo>
                        <a:pt x="6776" y="9827"/>
                      </a:lnTo>
                      <a:lnTo>
                        <a:pt x="6606" y="9727"/>
                      </a:lnTo>
                      <a:lnTo>
                        <a:pt x="6423" y="9626"/>
                      </a:lnTo>
                      <a:lnTo>
                        <a:pt x="6265" y="9539"/>
                      </a:lnTo>
                      <a:lnTo>
                        <a:pt x="6081" y="9410"/>
                      </a:lnTo>
                      <a:lnTo>
                        <a:pt x="5937" y="9296"/>
                      </a:lnTo>
                      <a:cubicBezTo>
                        <a:pt x="5884" y="9248"/>
                        <a:pt x="5833" y="9199"/>
                        <a:pt x="5781" y="9151"/>
                      </a:cubicBezTo>
                      <a:lnTo>
                        <a:pt x="5479" y="8849"/>
                      </a:lnTo>
                      <a:lnTo>
                        <a:pt x="5204" y="8518"/>
                      </a:lnTo>
                      <a:lnTo>
                        <a:pt x="4943" y="8158"/>
                      </a:lnTo>
                      <a:cubicBezTo>
                        <a:pt x="4860" y="8028"/>
                        <a:pt x="4775" y="7899"/>
                        <a:pt x="4692" y="7769"/>
                      </a:cubicBezTo>
                      <a:cubicBezTo>
                        <a:pt x="4609" y="7636"/>
                        <a:pt x="4527" y="7501"/>
                        <a:pt x="4444" y="7367"/>
                      </a:cubicBezTo>
                      <a:lnTo>
                        <a:pt x="4221" y="6950"/>
                      </a:lnTo>
                      <a:lnTo>
                        <a:pt x="3999" y="6518"/>
                      </a:lnTo>
                      <a:cubicBezTo>
                        <a:pt x="3928" y="6369"/>
                        <a:pt x="3859" y="6221"/>
                        <a:pt x="3789" y="6072"/>
                      </a:cubicBezTo>
                      <a:lnTo>
                        <a:pt x="3382" y="5166"/>
                      </a:lnTo>
                      <a:lnTo>
                        <a:pt x="2622" y="3382"/>
                      </a:lnTo>
                      <a:cubicBezTo>
                        <a:pt x="2566" y="3232"/>
                        <a:pt x="2509" y="3085"/>
                        <a:pt x="2452" y="2935"/>
                      </a:cubicBezTo>
                      <a:cubicBezTo>
                        <a:pt x="2387" y="2801"/>
                        <a:pt x="2321" y="2667"/>
                        <a:pt x="2254" y="2532"/>
                      </a:cubicBezTo>
                      <a:cubicBezTo>
                        <a:pt x="2193" y="2413"/>
                        <a:pt x="2133" y="2293"/>
                        <a:pt x="2071" y="2173"/>
                      </a:cubicBezTo>
                      <a:cubicBezTo>
                        <a:pt x="2006" y="2048"/>
                        <a:pt x="1939" y="1924"/>
                        <a:pt x="1874" y="1799"/>
                      </a:cubicBezTo>
                      <a:lnTo>
                        <a:pt x="1679" y="1468"/>
                      </a:lnTo>
                      <a:lnTo>
                        <a:pt x="1482" y="1180"/>
                      </a:lnTo>
                      <a:lnTo>
                        <a:pt x="1273" y="908"/>
                      </a:lnTo>
                      <a:lnTo>
                        <a:pt x="1063" y="706"/>
                      </a:lnTo>
                      <a:cubicBezTo>
                        <a:pt x="1024" y="673"/>
                        <a:pt x="984" y="638"/>
                        <a:pt x="944" y="605"/>
                      </a:cubicBezTo>
                      <a:cubicBezTo>
                        <a:pt x="905" y="572"/>
                        <a:pt x="866" y="537"/>
                        <a:pt x="827" y="504"/>
                      </a:cubicBezTo>
                      <a:lnTo>
                        <a:pt x="708" y="447"/>
                      </a:lnTo>
                      <a:cubicBezTo>
                        <a:pt x="668" y="423"/>
                        <a:pt x="377" y="435"/>
                        <a:pt x="337" y="411"/>
                      </a:cubicBezTo>
                      <a:cubicBezTo>
                        <a:pt x="372" y="310"/>
                        <a:pt x="-32" y="101"/>
                        <a:pt x="3" y="0"/>
                      </a:cubicBezTo>
                      <a:lnTo>
                        <a:pt x="892" y="115"/>
                      </a:lnTo>
                      <a:lnTo>
                        <a:pt x="1076" y="187"/>
                      </a:lnTo>
                      <a:lnTo>
                        <a:pt x="1259" y="260"/>
                      </a:lnTo>
                      <a:cubicBezTo>
                        <a:pt x="1315" y="289"/>
                        <a:pt x="1373" y="317"/>
                        <a:pt x="1429" y="346"/>
                      </a:cubicBezTo>
                      <a:lnTo>
                        <a:pt x="1613" y="447"/>
                      </a:lnTo>
                      <a:lnTo>
                        <a:pt x="1771" y="533"/>
                      </a:lnTo>
                      <a:lnTo>
                        <a:pt x="1927" y="662"/>
                      </a:lnTo>
                      <a:cubicBezTo>
                        <a:pt x="1984" y="705"/>
                        <a:pt x="2040" y="749"/>
                        <a:pt x="2097" y="792"/>
                      </a:cubicBezTo>
                      <a:lnTo>
                        <a:pt x="2254" y="922"/>
                      </a:lnTo>
                      <a:lnTo>
                        <a:pt x="2557" y="1209"/>
                      </a:lnTo>
                      <a:lnTo>
                        <a:pt x="2832" y="1554"/>
                      </a:lnTo>
                      <a:lnTo>
                        <a:pt x="3093" y="1914"/>
                      </a:lnTo>
                      <a:cubicBezTo>
                        <a:pt x="3176" y="2044"/>
                        <a:pt x="3260" y="2173"/>
                        <a:pt x="3343" y="2303"/>
                      </a:cubicBezTo>
                      <a:lnTo>
                        <a:pt x="3592" y="2706"/>
                      </a:lnTo>
                      <a:lnTo>
                        <a:pt x="3815" y="3123"/>
                      </a:lnTo>
                      <a:cubicBezTo>
                        <a:pt x="3894" y="3266"/>
                        <a:pt x="3972" y="3411"/>
                        <a:pt x="4051" y="3555"/>
                      </a:cubicBezTo>
                      <a:cubicBezTo>
                        <a:pt x="4120" y="3703"/>
                        <a:pt x="4191" y="3852"/>
                        <a:pt x="4260" y="3999"/>
                      </a:cubicBezTo>
                      <a:lnTo>
                        <a:pt x="4652" y="4906"/>
                      </a:lnTo>
                      <a:lnTo>
                        <a:pt x="5426" y="6705"/>
                      </a:lnTo>
                      <a:cubicBezTo>
                        <a:pt x="5549" y="6983"/>
                        <a:pt x="5671" y="7262"/>
                        <a:pt x="5793" y="7540"/>
                      </a:cubicBezTo>
                      <a:lnTo>
                        <a:pt x="5989" y="7900"/>
                      </a:lnTo>
                      <a:cubicBezTo>
                        <a:pt x="6050" y="8024"/>
                        <a:pt x="6113" y="8149"/>
                        <a:pt x="6175" y="8273"/>
                      </a:cubicBezTo>
                      <a:cubicBezTo>
                        <a:pt x="6244" y="8384"/>
                        <a:pt x="6314" y="8493"/>
                        <a:pt x="6383" y="8605"/>
                      </a:cubicBezTo>
                      <a:cubicBezTo>
                        <a:pt x="6448" y="8701"/>
                        <a:pt x="6515" y="8797"/>
                        <a:pt x="6580" y="8893"/>
                      </a:cubicBezTo>
                      <a:cubicBezTo>
                        <a:pt x="6645" y="8984"/>
                        <a:pt x="6711" y="9074"/>
                        <a:pt x="6776" y="9165"/>
                      </a:cubicBezTo>
                      <a:lnTo>
                        <a:pt x="6998" y="9367"/>
                      </a:lnTo>
                      <a:cubicBezTo>
                        <a:pt x="7038" y="9400"/>
                        <a:pt x="7078" y="9434"/>
                        <a:pt x="7117" y="9467"/>
                      </a:cubicBezTo>
                      <a:lnTo>
                        <a:pt x="7221" y="9569"/>
                      </a:lnTo>
                      <a:lnTo>
                        <a:pt x="7340" y="9626"/>
                      </a:lnTo>
                      <a:lnTo>
                        <a:pt x="7459" y="9698"/>
                      </a:lnTo>
                      <a:lnTo>
                        <a:pt x="7576" y="9741"/>
                      </a:lnTo>
                      <a:lnTo>
                        <a:pt x="7707" y="9770"/>
                      </a:lnTo>
                      <a:lnTo>
                        <a:pt x="7839" y="9813"/>
                      </a:lnTo>
                      <a:lnTo>
                        <a:pt x="7956" y="98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0" name="Group 139">
                  <a:extLst>
                    <a:ext uri="{FF2B5EF4-FFF2-40B4-BE49-F238E27FC236}">
                      <a16:creationId xmlns:a16="http://schemas.microsoft.com/office/drawing/2014/main" id="{3F85EC90-E6AF-4F88-BD6A-EB1622CA9C30}"/>
                    </a:ext>
                  </a:extLst>
                </p:cNvPr>
                <p:cNvGrpSpPr/>
                <p:nvPr/>
              </p:nvGrpSpPr>
              <p:grpSpPr>
                <a:xfrm>
                  <a:off x="7912528" y="4792580"/>
                  <a:ext cx="526702" cy="640181"/>
                  <a:chOff x="-1864887" y="741508"/>
                  <a:chExt cx="274422" cy="473135"/>
                </a:xfrm>
                <a:grpFill/>
              </p:grpSpPr>
              <p:sp>
                <p:nvSpPr>
                  <p:cNvPr id="147" name="Rectangle 4098">
                    <a:extLst>
                      <a:ext uri="{FF2B5EF4-FFF2-40B4-BE49-F238E27FC236}">
                        <a16:creationId xmlns:a16="http://schemas.microsoft.com/office/drawing/2014/main" id="{87C3FFEE-632B-4EBB-AB0E-A15F7759E5F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85605" y="781051"/>
                    <a:ext cx="36576" cy="433592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3592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33592"/>
                        </a:lnTo>
                        <a:cubicBezTo>
                          <a:pt x="-564" y="287474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Rectangle 68">
                    <a:extLst>
                      <a:ext uri="{FF2B5EF4-FFF2-40B4-BE49-F238E27FC236}">
                        <a16:creationId xmlns:a16="http://schemas.microsoft.com/office/drawing/2014/main" id="{1ED91413-1BE5-48C2-BED3-4567A87924B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706323" y="741508"/>
                    <a:ext cx="36576" cy="43121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5719" h="431211">
                        <a:moveTo>
                          <a:pt x="0" y="0"/>
                        </a:moveTo>
                        <a:lnTo>
                          <a:pt x="45719" y="0"/>
                        </a:lnTo>
                        <a:lnTo>
                          <a:pt x="38575" y="402636"/>
                        </a:lnTo>
                        <a:lnTo>
                          <a:pt x="0" y="4312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Rectangle 4098">
                    <a:extLst>
                      <a:ext uri="{FF2B5EF4-FFF2-40B4-BE49-F238E27FC236}">
                        <a16:creationId xmlns:a16="http://schemas.microsoft.com/office/drawing/2014/main" id="{A8C5F415-0598-4BBD-8552-B51BDA3550B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864887" y="886653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0" name="Rectangle 4098">
                    <a:extLst>
                      <a:ext uri="{FF2B5EF4-FFF2-40B4-BE49-F238E27FC236}">
                        <a16:creationId xmlns:a16="http://schemas.microsoft.com/office/drawing/2014/main" id="{73866C92-493E-4B44-A89F-50076777D4A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627041" y="743223"/>
                    <a:ext cx="36576" cy="274826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65017"/>
                      <a:gd name="connsiteX1" fmla="*/ 41186 w 41186"/>
                      <a:gd name="connsiteY1" fmla="*/ 31682 h 465017"/>
                      <a:gd name="connsiteX2" fmla="*/ 41186 w 41186"/>
                      <a:gd name="connsiteY2" fmla="*/ 462893 h 465017"/>
                      <a:gd name="connsiteX3" fmla="*/ 230 w 41186"/>
                      <a:gd name="connsiteY3" fmla="*/ 465017 h 465017"/>
                      <a:gd name="connsiteX4" fmla="*/ 229 w 41186"/>
                      <a:gd name="connsiteY4" fmla="*/ 0 h 465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65017">
                        <a:moveTo>
                          <a:pt x="229" y="0"/>
                        </a:moveTo>
                        <a:lnTo>
                          <a:pt x="41186" y="31682"/>
                        </a:lnTo>
                        <a:lnTo>
                          <a:pt x="41186" y="462893"/>
                        </a:lnTo>
                        <a:lnTo>
                          <a:pt x="230" y="465017"/>
                        </a:lnTo>
                        <a:cubicBezTo>
                          <a:pt x="-564" y="318899"/>
                          <a:pt x="1023" y="146118"/>
                          <a:pt x="22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41" name="Group 140">
                  <a:extLst>
                    <a:ext uri="{FF2B5EF4-FFF2-40B4-BE49-F238E27FC236}">
                      <a16:creationId xmlns:a16="http://schemas.microsoft.com/office/drawing/2014/main" id="{830C7EA6-B9C5-4AED-85EF-2D5478AC910E}"/>
                    </a:ext>
                  </a:extLst>
                </p:cNvPr>
                <p:cNvGrpSpPr/>
                <p:nvPr/>
              </p:nvGrpSpPr>
              <p:grpSpPr>
                <a:xfrm>
                  <a:off x="7066354" y="4765421"/>
                  <a:ext cx="509407" cy="672315"/>
                  <a:chOff x="-2308678" y="726689"/>
                  <a:chExt cx="265411" cy="496885"/>
                </a:xfrm>
                <a:grpFill/>
              </p:grpSpPr>
              <p:sp>
                <p:nvSpPr>
                  <p:cNvPr id="143" name="Rectangle 4098">
                    <a:extLst>
                      <a:ext uri="{FF2B5EF4-FFF2-40B4-BE49-F238E27FC236}">
                        <a16:creationId xmlns:a16="http://schemas.microsoft.com/office/drawing/2014/main" id="{9E0627BD-AB74-41EB-9E34-CA26C9A804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233453" y="726689"/>
                    <a:ext cx="36461" cy="478838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376442 h 431211"/>
                      <a:gd name="connsiteX4" fmla="*/ 229 w 41186"/>
                      <a:gd name="connsiteY4" fmla="*/ 16669 h 431211"/>
                      <a:gd name="connsiteX0" fmla="*/ 2779 w 41055"/>
                      <a:gd name="connsiteY0" fmla="*/ 0 h 478836"/>
                      <a:gd name="connsiteX1" fmla="*/ 41055 w 41055"/>
                      <a:gd name="connsiteY1" fmla="*/ 476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  <a:gd name="connsiteX0" fmla="*/ 2779 w 41055"/>
                      <a:gd name="connsiteY0" fmla="*/ 0 h 478836"/>
                      <a:gd name="connsiteX1" fmla="*/ 41055 w 41055"/>
                      <a:gd name="connsiteY1" fmla="*/ 9525 h 478836"/>
                      <a:gd name="connsiteX2" fmla="*/ 41055 w 41055"/>
                      <a:gd name="connsiteY2" fmla="*/ 478836 h 478836"/>
                      <a:gd name="connsiteX3" fmla="*/ 99 w 41055"/>
                      <a:gd name="connsiteY3" fmla="*/ 424067 h 478836"/>
                      <a:gd name="connsiteX4" fmla="*/ 2779 w 41055"/>
                      <a:gd name="connsiteY4" fmla="*/ 0 h 47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55" h="478836">
                        <a:moveTo>
                          <a:pt x="2779" y="0"/>
                        </a:moveTo>
                        <a:lnTo>
                          <a:pt x="41055" y="9525"/>
                        </a:lnTo>
                        <a:lnTo>
                          <a:pt x="41055" y="478836"/>
                        </a:lnTo>
                        <a:lnTo>
                          <a:pt x="99" y="424067"/>
                        </a:lnTo>
                        <a:cubicBezTo>
                          <a:pt x="-695" y="277949"/>
                          <a:pt x="3573" y="146118"/>
                          <a:pt x="277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Rectangle 68">
                    <a:extLst>
                      <a:ext uri="{FF2B5EF4-FFF2-40B4-BE49-F238E27FC236}">
                        <a16:creationId xmlns:a16="http://schemas.microsoft.com/office/drawing/2014/main" id="{75835C55-EDC9-43F7-B22C-8E0DF1E8813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58346" y="753823"/>
                    <a:ext cx="39854" cy="469751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38575 w 45719"/>
                      <a:gd name="connsiteY2" fmla="*/ 402636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5015"/>
                      <a:gd name="connsiteX1" fmla="*/ 45719 w 45719"/>
                      <a:gd name="connsiteY1" fmla="*/ 0 h 435015"/>
                      <a:gd name="connsiteX2" fmla="*/ 34369 w 45719"/>
                      <a:gd name="connsiteY2" fmla="*/ 435015 h 435015"/>
                      <a:gd name="connsiteX3" fmla="*/ 0 w 45719"/>
                      <a:gd name="connsiteY3" fmla="*/ 431211 h 435015"/>
                      <a:gd name="connsiteX4" fmla="*/ 0 w 45719"/>
                      <a:gd name="connsiteY4" fmla="*/ 0 h 435015"/>
                      <a:gd name="connsiteX0" fmla="*/ 0 w 35203"/>
                      <a:gd name="connsiteY0" fmla="*/ 0 h 435015"/>
                      <a:gd name="connsiteX1" fmla="*/ 35203 w 35203"/>
                      <a:gd name="connsiteY1" fmla="*/ 28062 h 435015"/>
                      <a:gd name="connsiteX2" fmla="*/ 34369 w 35203"/>
                      <a:gd name="connsiteY2" fmla="*/ 435015 h 435015"/>
                      <a:gd name="connsiteX3" fmla="*/ 0 w 35203"/>
                      <a:gd name="connsiteY3" fmla="*/ 431211 h 435015"/>
                      <a:gd name="connsiteX4" fmla="*/ 0 w 35203"/>
                      <a:gd name="connsiteY4" fmla="*/ 0 h 435015"/>
                      <a:gd name="connsiteX0" fmla="*/ 4206 w 35203"/>
                      <a:gd name="connsiteY0" fmla="*/ 0 h 417747"/>
                      <a:gd name="connsiteX1" fmla="*/ 35203 w 35203"/>
                      <a:gd name="connsiteY1" fmla="*/ 10794 h 417747"/>
                      <a:gd name="connsiteX2" fmla="*/ 34369 w 35203"/>
                      <a:gd name="connsiteY2" fmla="*/ 417747 h 417747"/>
                      <a:gd name="connsiteX3" fmla="*/ 0 w 35203"/>
                      <a:gd name="connsiteY3" fmla="*/ 413943 h 417747"/>
                      <a:gd name="connsiteX4" fmla="*/ 4206 w 35203"/>
                      <a:gd name="connsiteY4" fmla="*/ 0 h 417747"/>
                      <a:gd name="connsiteX0" fmla="*/ 4206 w 35203"/>
                      <a:gd name="connsiteY0" fmla="*/ 0 h 425819"/>
                      <a:gd name="connsiteX1" fmla="*/ 35203 w 35203"/>
                      <a:gd name="connsiteY1" fmla="*/ 10794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  <a:gd name="connsiteX0" fmla="*/ 4206 w 35203"/>
                      <a:gd name="connsiteY0" fmla="*/ 0 h 425819"/>
                      <a:gd name="connsiteX1" fmla="*/ 35203 w 35203"/>
                      <a:gd name="connsiteY1" fmla="*/ 20211 h 425819"/>
                      <a:gd name="connsiteX2" fmla="*/ 33058 w 35203"/>
                      <a:gd name="connsiteY2" fmla="*/ 425819 h 425819"/>
                      <a:gd name="connsiteX3" fmla="*/ 0 w 35203"/>
                      <a:gd name="connsiteY3" fmla="*/ 413943 h 425819"/>
                      <a:gd name="connsiteX4" fmla="*/ 4206 w 35203"/>
                      <a:gd name="connsiteY4" fmla="*/ 0 h 425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203" h="425819">
                        <a:moveTo>
                          <a:pt x="4206" y="0"/>
                        </a:moveTo>
                        <a:lnTo>
                          <a:pt x="35203" y="20211"/>
                        </a:lnTo>
                        <a:lnTo>
                          <a:pt x="33058" y="425819"/>
                        </a:lnTo>
                        <a:lnTo>
                          <a:pt x="0" y="413943"/>
                        </a:lnTo>
                        <a:lnTo>
                          <a:pt x="420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5" name="Rectangle 4098">
                    <a:extLst>
                      <a:ext uri="{FF2B5EF4-FFF2-40B4-BE49-F238E27FC236}">
                        <a16:creationId xmlns:a16="http://schemas.microsoft.com/office/drawing/2014/main" id="{BE3CD9B1-D08B-4842-84F6-4F8CC25D9BC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308678" y="741806"/>
                    <a:ext cx="36576" cy="323820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186" h="431211">
                        <a:moveTo>
                          <a:pt x="229" y="16669"/>
                        </a:moveTo>
                        <a:lnTo>
                          <a:pt x="41186" y="0"/>
                        </a:lnTo>
                        <a:lnTo>
                          <a:pt x="41186" y="431211"/>
                        </a:lnTo>
                        <a:lnTo>
                          <a:pt x="230" y="408224"/>
                        </a:lnTo>
                        <a:cubicBezTo>
                          <a:pt x="-564" y="262106"/>
                          <a:pt x="1023" y="162787"/>
                          <a:pt x="229" y="1666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6" name="Rectangle 4098">
                    <a:extLst>
                      <a:ext uri="{FF2B5EF4-FFF2-40B4-BE49-F238E27FC236}">
                        <a16:creationId xmlns:a16="http://schemas.microsoft.com/office/drawing/2014/main" id="{E6DF7883-1D4E-4ACC-8D2C-D67E853F4E6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079843" y="855554"/>
                    <a:ext cx="36576" cy="360173"/>
                  </a:xfrm>
                  <a:custGeom>
                    <a:avLst/>
                    <a:gdLst>
                      <a:gd name="connsiteX0" fmla="*/ 0 w 45719"/>
                      <a:gd name="connsiteY0" fmla="*/ 0 h 431211"/>
                      <a:gd name="connsiteX1" fmla="*/ 45719 w 45719"/>
                      <a:gd name="connsiteY1" fmla="*/ 0 h 431211"/>
                      <a:gd name="connsiteX2" fmla="*/ 45719 w 45719"/>
                      <a:gd name="connsiteY2" fmla="*/ 431211 h 431211"/>
                      <a:gd name="connsiteX3" fmla="*/ 0 w 45719"/>
                      <a:gd name="connsiteY3" fmla="*/ 431211 h 431211"/>
                      <a:gd name="connsiteX4" fmla="*/ 0 w 45719"/>
                      <a:gd name="connsiteY4" fmla="*/ 0 h 431211"/>
                      <a:gd name="connsiteX0" fmla="*/ 0 w 45719"/>
                      <a:gd name="connsiteY0" fmla="*/ 0 h 438354"/>
                      <a:gd name="connsiteX1" fmla="*/ 45719 w 45719"/>
                      <a:gd name="connsiteY1" fmla="*/ 0 h 438354"/>
                      <a:gd name="connsiteX2" fmla="*/ 45719 w 45719"/>
                      <a:gd name="connsiteY2" fmla="*/ 431211 h 438354"/>
                      <a:gd name="connsiteX3" fmla="*/ 2381 w 45719"/>
                      <a:gd name="connsiteY3" fmla="*/ 438354 h 438354"/>
                      <a:gd name="connsiteX4" fmla="*/ 0 w 45719"/>
                      <a:gd name="connsiteY4" fmla="*/ 0 h 438354"/>
                      <a:gd name="connsiteX0" fmla="*/ 2487 w 43444"/>
                      <a:gd name="connsiteY0" fmla="*/ 16669 h 438354"/>
                      <a:gd name="connsiteX1" fmla="*/ 43444 w 43444"/>
                      <a:gd name="connsiteY1" fmla="*/ 0 h 438354"/>
                      <a:gd name="connsiteX2" fmla="*/ 43444 w 43444"/>
                      <a:gd name="connsiteY2" fmla="*/ 431211 h 438354"/>
                      <a:gd name="connsiteX3" fmla="*/ 106 w 43444"/>
                      <a:gd name="connsiteY3" fmla="*/ 438354 h 438354"/>
                      <a:gd name="connsiteX4" fmla="*/ 2487 w 43444"/>
                      <a:gd name="connsiteY4" fmla="*/ 16669 h 438354"/>
                      <a:gd name="connsiteX0" fmla="*/ 229 w 41186"/>
                      <a:gd name="connsiteY0" fmla="*/ 16669 h 433592"/>
                      <a:gd name="connsiteX1" fmla="*/ 41186 w 41186"/>
                      <a:gd name="connsiteY1" fmla="*/ 0 h 433592"/>
                      <a:gd name="connsiteX2" fmla="*/ 41186 w 41186"/>
                      <a:gd name="connsiteY2" fmla="*/ 431211 h 433592"/>
                      <a:gd name="connsiteX3" fmla="*/ 230 w 41186"/>
                      <a:gd name="connsiteY3" fmla="*/ 433592 h 433592"/>
                      <a:gd name="connsiteX4" fmla="*/ 229 w 41186"/>
                      <a:gd name="connsiteY4" fmla="*/ 16669 h 433592"/>
                      <a:gd name="connsiteX0" fmla="*/ 229 w 41186"/>
                      <a:gd name="connsiteY0" fmla="*/ 16669 h 431211"/>
                      <a:gd name="connsiteX1" fmla="*/ 41186 w 41186"/>
                      <a:gd name="connsiteY1" fmla="*/ 0 h 431211"/>
                      <a:gd name="connsiteX2" fmla="*/ 41186 w 41186"/>
                      <a:gd name="connsiteY2" fmla="*/ 431211 h 431211"/>
                      <a:gd name="connsiteX3" fmla="*/ 230 w 41186"/>
                      <a:gd name="connsiteY3" fmla="*/ 408224 h 431211"/>
                      <a:gd name="connsiteX4" fmla="*/ 229 w 41186"/>
                      <a:gd name="connsiteY4" fmla="*/ 16669 h 431211"/>
                      <a:gd name="connsiteX0" fmla="*/ 229 w 41186"/>
                      <a:gd name="connsiteY0" fmla="*/ 0 h 462893"/>
                      <a:gd name="connsiteX1" fmla="*/ 41186 w 41186"/>
                      <a:gd name="connsiteY1" fmla="*/ 31682 h 462893"/>
                      <a:gd name="connsiteX2" fmla="*/ 41186 w 41186"/>
                      <a:gd name="connsiteY2" fmla="*/ 462893 h 462893"/>
                      <a:gd name="connsiteX3" fmla="*/ 230 w 41186"/>
                      <a:gd name="connsiteY3" fmla="*/ 439906 h 462893"/>
                      <a:gd name="connsiteX4" fmla="*/ 229 w 41186"/>
                      <a:gd name="connsiteY4" fmla="*/ 0 h 462893"/>
                      <a:gd name="connsiteX0" fmla="*/ 229 w 41186"/>
                      <a:gd name="connsiteY0" fmla="*/ 0 h 439906"/>
                      <a:gd name="connsiteX1" fmla="*/ 41186 w 41186"/>
                      <a:gd name="connsiteY1" fmla="*/ 31682 h 439906"/>
                      <a:gd name="connsiteX2" fmla="*/ 39040 w 41186"/>
                      <a:gd name="connsiteY2" fmla="*/ 436080 h 439906"/>
                      <a:gd name="connsiteX3" fmla="*/ 230 w 41186"/>
                      <a:gd name="connsiteY3" fmla="*/ 439906 h 439906"/>
                      <a:gd name="connsiteX4" fmla="*/ 229 w 41186"/>
                      <a:gd name="connsiteY4" fmla="*/ 0 h 439906"/>
                      <a:gd name="connsiteX0" fmla="*/ 229 w 41186"/>
                      <a:gd name="connsiteY0" fmla="*/ 0 h 460015"/>
                      <a:gd name="connsiteX1" fmla="*/ 41186 w 41186"/>
                      <a:gd name="connsiteY1" fmla="*/ 31682 h 460015"/>
                      <a:gd name="connsiteX2" fmla="*/ 39040 w 41186"/>
                      <a:gd name="connsiteY2" fmla="*/ 436080 h 460015"/>
                      <a:gd name="connsiteX3" fmla="*/ 230 w 41186"/>
                      <a:gd name="connsiteY3" fmla="*/ 460015 h 460015"/>
                      <a:gd name="connsiteX4" fmla="*/ 229 w 41186"/>
                      <a:gd name="connsiteY4" fmla="*/ 0 h 460015"/>
                      <a:gd name="connsiteX0" fmla="*/ 2257 w 41068"/>
                      <a:gd name="connsiteY0" fmla="*/ 0 h 506938"/>
                      <a:gd name="connsiteX1" fmla="*/ 41068 w 41068"/>
                      <a:gd name="connsiteY1" fmla="*/ 78605 h 506938"/>
                      <a:gd name="connsiteX2" fmla="*/ 38922 w 41068"/>
                      <a:gd name="connsiteY2" fmla="*/ 483003 h 506938"/>
                      <a:gd name="connsiteX3" fmla="*/ 112 w 41068"/>
                      <a:gd name="connsiteY3" fmla="*/ 506938 h 506938"/>
                      <a:gd name="connsiteX4" fmla="*/ 2257 w 41068"/>
                      <a:gd name="connsiteY4" fmla="*/ 0 h 5069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068" h="506938">
                        <a:moveTo>
                          <a:pt x="2257" y="0"/>
                        </a:moveTo>
                        <a:lnTo>
                          <a:pt x="41068" y="78605"/>
                        </a:lnTo>
                        <a:cubicBezTo>
                          <a:pt x="40353" y="213404"/>
                          <a:pt x="39637" y="348204"/>
                          <a:pt x="38922" y="483003"/>
                        </a:cubicBezTo>
                        <a:lnTo>
                          <a:pt x="112" y="506938"/>
                        </a:lnTo>
                        <a:cubicBezTo>
                          <a:pt x="-682" y="360820"/>
                          <a:pt x="3051" y="146118"/>
                          <a:pt x="225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2" name="Rectangle 4098">
                  <a:extLst>
                    <a:ext uri="{FF2B5EF4-FFF2-40B4-BE49-F238E27FC236}">
                      <a16:creationId xmlns:a16="http://schemas.microsoft.com/office/drawing/2014/main" id="{B9CD069B-F5F2-46C6-8558-A98E8AAB2ABF}"/>
                    </a:ext>
                  </a:extLst>
                </p:cNvPr>
                <p:cNvSpPr/>
                <p:nvPr/>
              </p:nvSpPr>
              <p:spPr bwMode="auto">
                <a:xfrm>
                  <a:off x="8738635" y="4799880"/>
                  <a:ext cx="70201" cy="438148"/>
                </a:xfrm>
                <a:custGeom>
                  <a:avLst/>
                  <a:gdLst>
                    <a:gd name="connsiteX0" fmla="*/ 0 w 45719"/>
                    <a:gd name="connsiteY0" fmla="*/ 0 h 431211"/>
                    <a:gd name="connsiteX1" fmla="*/ 45719 w 45719"/>
                    <a:gd name="connsiteY1" fmla="*/ 0 h 431211"/>
                    <a:gd name="connsiteX2" fmla="*/ 45719 w 45719"/>
                    <a:gd name="connsiteY2" fmla="*/ 431211 h 431211"/>
                    <a:gd name="connsiteX3" fmla="*/ 0 w 45719"/>
                    <a:gd name="connsiteY3" fmla="*/ 431211 h 431211"/>
                    <a:gd name="connsiteX4" fmla="*/ 0 w 45719"/>
                    <a:gd name="connsiteY4" fmla="*/ 0 h 431211"/>
                    <a:gd name="connsiteX0" fmla="*/ 0 w 45719"/>
                    <a:gd name="connsiteY0" fmla="*/ 0 h 438354"/>
                    <a:gd name="connsiteX1" fmla="*/ 45719 w 45719"/>
                    <a:gd name="connsiteY1" fmla="*/ 0 h 438354"/>
                    <a:gd name="connsiteX2" fmla="*/ 45719 w 45719"/>
                    <a:gd name="connsiteY2" fmla="*/ 431211 h 438354"/>
                    <a:gd name="connsiteX3" fmla="*/ 2381 w 45719"/>
                    <a:gd name="connsiteY3" fmla="*/ 438354 h 438354"/>
                    <a:gd name="connsiteX4" fmla="*/ 0 w 45719"/>
                    <a:gd name="connsiteY4" fmla="*/ 0 h 438354"/>
                    <a:gd name="connsiteX0" fmla="*/ 2487 w 43444"/>
                    <a:gd name="connsiteY0" fmla="*/ 16669 h 438354"/>
                    <a:gd name="connsiteX1" fmla="*/ 43444 w 43444"/>
                    <a:gd name="connsiteY1" fmla="*/ 0 h 438354"/>
                    <a:gd name="connsiteX2" fmla="*/ 43444 w 43444"/>
                    <a:gd name="connsiteY2" fmla="*/ 431211 h 438354"/>
                    <a:gd name="connsiteX3" fmla="*/ 106 w 43444"/>
                    <a:gd name="connsiteY3" fmla="*/ 438354 h 438354"/>
                    <a:gd name="connsiteX4" fmla="*/ 2487 w 43444"/>
                    <a:gd name="connsiteY4" fmla="*/ 16669 h 438354"/>
                    <a:gd name="connsiteX0" fmla="*/ 229 w 41186"/>
                    <a:gd name="connsiteY0" fmla="*/ 16669 h 433592"/>
                    <a:gd name="connsiteX1" fmla="*/ 41186 w 41186"/>
                    <a:gd name="connsiteY1" fmla="*/ 0 h 433592"/>
                    <a:gd name="connsiteX2" fmla="*/ 41186 w 41186"/>
                    <a:gd name="connsiteY2" fmla="*/ 431211 h 433592"/>
                    <a:gd name="connsiteX3" fmla="*/ 230 w 41186"/>
                    <a:gd name="connsiteY3" fmla="*/ 433592 h 433592"/>
                    <a:gd name="connsiteX4" fmla="*/ 229 w 41186"/>
                    <a:gd name="connsiteY4" fmla="*/ 16669 h 433592"/>
                    <a:gd name="connsiteX0" fmla="*/ 229 w 41186"/>
                    <a:gd name="connsiteY0" fmla="*/ 16669 h 431211"/>
                    <a:gd name="connsiteX1" fmla="*/ 41186 w 41186"/>
                    <a:gd name="connsiteY1" fmla="*/ 0 h 431211"/>
                    <a:gd name="connsiteX2" fmla="*/ 41186 w 41186"/>
                    <a:gd name="connsiteY2" fmla="*/ 431211 h 431211"/>
                    <a:gd name="connsiteX3" fmla="*/ 230 w 41186"/>
                    <a:gd name="connsiteY3" fmla="*/ 408224 h 431211"/>
                    <a:gd name="connsiteX4" fmla="*/ 229 w 41186"/>
                    <a:gd name="connsiteY4" fmla="*/ 16669 h 4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186" h="431211">
                      <a:moveTo>
                        <a:pt x="229" y="16669"/>
                      </a:moveTo>
                      <a:lnTo>
                        <a:pt x="41186" y="0"/>
                      </a:lnTo>
                      <a:lnTo>
                        <a:pt x="41186" y="431211"/>
                      </a:lnTo>
                      <a:lnTo>
                        <a:pt x="230" y="408224"/>
                      </a:lnTo>
                      <a:cubicBezTo>
                        <a:pt x="-564" y="262106"/>
                        <a:pt x="1023" y="162787"/>
                        <a:pt x="229" y="166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B8706482-9EBE-45E4-8844-1E92D89D0774}"/>
                  </a:ext>
                </a:extLst>
              </p:cNvPr>
              <p:cNvSpPr/>
              <p:nvPr/>
            </p:nvSpPr>
            <p:spPr bwMode="auto">
              <a:xfrm>
                <a:off x="8068101" y="5392335"/>
                <a:ext cx="240470" cy="334018"/>
              </a:xfrm>
              <a:custGeom>
                <a:avLst/>
                <a:gdLst>
                  <a:gd name="connsiteX0" fmla="*/ 188056 w 240470"/>
                  <a:gd name="connsiteY0" fmla="*/ 0 h 334018"/>
                  <a:gd name="connsiteX1" fmla="*/ 213083 w 240470"/>
                  <a:gd name="connsiteY1" fmla="*/ 53554 h 334018"/>
                  <a:gd name="connsiteX2" fmla="*/ 240470 w 240470"/>
                  <a:gd name="connsiteY2" fmla="*/ 110376 h 334018"/>
                  <a:gd name="connsiteX3" fmla="*/ 185055 w 240470"/>
                  <a:gd name="connsiteY3" fmla="*/ 169998 h 334018"/>
                  <a:gd name="connsiteX4" fmla="*/ 155845 w 240470"/>
                  <a:gd name="connsiteY4" fmla="*/ 200594 h 334018"/>
                  <a:gd name="connsiteX5" fmla="*/ 126893 w 240470"/>
                  <a:gd name="connsiteY5" fmla="*/ 229255 h 334018"/>
                  <a:gd name="connsiteX6" fmla="*/ 96440 w 240470"/>
                  <a:gd name="connsiteY6" fmla="*/ 258702 h 334018"/>
                  <a:gd name="connsiteX7" fmla="*/ 64998 w 240470"/>
                  <a:gd name="connsiteY7" fmla="*/ 285062 h 334018"/>
                  <a:gd name="connsiteX8" fmla="*/ 32312 w 240470"/>
                  <a:gd name="connsiteY8" fmla="*/ 310273 h 334018"/>
                  <a:gd name="connsiteX9" fmla="*/ 0 w 240470"/>
                  <a:gd name="connsiteY9" fmla="*/ 334018 h 334018"/>
                  <a:gd name="connsiteX10" fmla="*/ 0 w 240470"/>
                  <a:gd name="connsiteY10" fmla="*/ 193589 h 334018"/>
                  <a:gd name="connsiteX11" fmla="*/ 51187 w 240470"/>
                  <a:gd name="connsiteY11" fmla="*/ 136472 h 334018"/>
                  <a:gd name="connsiteX12" fmla="*/ 85157 w 240470"/>
                  <a:gd name="connsiteY12" fmla="*/ 101583 h 334018"/>
                  <a:gd name="connsiteX13" fmla="*/ 117626 w 240470"/>
                  <a:gd name="connsiteY13" fmla="*/ 67479 h 334018"/>
                  <a:gd name="connsiteX14" fmla="*/ 151596 w 240470"/>
                  <a:gd name="connsiteY14" fmla="*/ 32589 h 334018"/>
                  <a:gd name="connsiteX15" fmla="*/ 188056 w 240470"/>
                  <a:gd name="connsiteY15" fmla="*/ 0 h 334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70" h="334018">
                    <a:moveTo>
                      <a:pt x="188056" y="0"/>
                    </a:moveTo>
                    <a:lnTo>
                      <a:pt x="213083" y="53554"/>
                    </a:lnTo>
                    <a:lnTo>
                      <a:pt x="240470" y="110376"/>
                    </a:lnTo>
                    <a:lnTo>
                      <a:pt x="185055" y="169998"/>
                    </a:lnTo>
                    <a:lnTo>
                      <a:pt x="155845" y="200594"/>
                    </a:lnTo>
                    <a:lnTo>
                      <a:pt x="126893" y="229255"/>
                    </a:lnTo>
                    <a:lnTo>
                      <a:pt x="96440" y="258702"/>
                    </a:lnTo>
                    <a:lnTo>
                      <a:pt x="64998" y="285062"/>
                    </a:lnTo>
                    <a:lnTo>
                      <a:pt x="32312" y="310273"/>
                    </a:lnTo>
                    <a:lnTo>
                      <a:pt x="0" y="334018"/>
                    </a:lnTo>
                    <a:lnTo>
                      <a:pt x="0" y="193589"/>
                    </a:lnTo>
                    <a:lnTo>
                      <a:pt x="51187" y="136472"/>
                    </a:lnTo>
                    <a:lnTo>
                      <a:pt x="85157" y="101583"/>
                    </a:lnTo>
                    <a:lnTo>
                      <a:pt x="117626" y="67479"/>
                    </a:lnTo>
                    <a:lnTo>
                      <a:pt x="151596" y="32589"/>
                    </a:lnTo>
                    <a:lnTo>
                      <a:pt x="188056" y="0"/>
                    </a:lnTo>
                    <a:close/>
                  </a:path>
                </a:pathLst>
              </a:custGeom>
              <a:grpFill/>
              <a:ln w="0">
                <a:noFill/>
                <a:miter lim="800000"/>
                <a:headEnd/>
                <a:tailEnd/>
              </a:ln>
            </p:spPr>
            <p:txBody>
              <a:bodyPr rtlCol="0" anchor="b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4421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4DCED5C6-A048-413F-B8A7-01DB9EC582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7151" y="238127"/>
            <a:ext cx="11582241" cy="1103313"/>
          </a:xfrm>
        </p:spPr>
        <p:txBody>
          <a:bodyPr/>
          <a:lstStyle/>
          <a:p>
            <a:r>
              <a:rPr lang="en-US" altLang="en-US" sz="3450" dirty="0"/>
              <a:t>Only Germline Mutations Are Inherited Between Generations</a:t>
            </a:r>
          </a:p>
        </p:txBody>
      </p:sp>
      <p:graphicFrame>
        <p:nvGraphicFramePr>
          <p:cNvPr id="59" name="Group 3">
            <a:extLst>
              <a:ext uri="{FF2B5EF4-FFF2-40B4-BE49-F238E27FC236}">
                <a16:creationId xmlns:a16="http://schemas.microsoft.com/office/drawing/2014/main" id="{C8B20775-5BBE-4E20-AA0A-184CD7819CEE}"/>
              </a:ext>
            </a:extLst>
          </p:cNvPr>
          <p:cNvGraphicFramePr>
            <a:graphicFrameLocks/>
          </p:cNvGraphicFramePr>
          <p:nvPr/>
        </p:nvGraphicFramePr>
        <p:xfrm>
          <a:off x="1580226" y="1586321"/>
          <a:ext cx="8454311" cy="4666867"/>
        </p:xfrm>
        <a:graphic>
          <a:graphicData uri="http://schemas.openxmlformats.org/drawingml/2006/table">
            <a:tbl>
              <a:tblPr/>
              <a:tblGrid>
                <a:gridCol w="15092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3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118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0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ermline Mutations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omatic Mutations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tarts in: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Germ cells (egg, sperm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ny other cell type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assed to: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rson’s progeny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ell’s progeny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resent in: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ll cells in the body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Local/disseminated clones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59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4782"/>
                  </a:ext>
                </a:extLst>
              </a:tr>
            </a:tbl>
          </a:graphicData>
        </a:graphic>
      </p:graphicFrame>
      <p:grpSp>
        <p:nvGrpSpPr>
          <p:cNvPr id="62" name="Group 7">
            <a:extLst>
              <a:ext uri="{FF2B5EF4-FFF2-40B4-BE49-F238E27FC236}">
                <a16:creationId xmlns:a16="http://schemas.microsoft.com/office/drawing/2014/main" id="{420B8026-1978-4127-BD73-C0362BF5245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66" name="Picture 9">
              <a:extLst>
                <a:ext uri="{FF2B5EF4-FFF2-40B4-BE49-F238E27FC236}">
                  <a16:creationId xmlns:a16="http://schemas.microsoft.com/office/drawing/2014/main" id="{FD125BE5-CBF7-4F0D-9165-84B885838A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Rectangle 8">
              <a:extLst>
                <a:ext uri="{FF2B5EF4-FFF2-40B4-BE49-F238E27FC236}">
                  <a16:creationId xmlns:a16="http://schemas.microsoft.com/office/drawing/2014/main" id="{79200F57-6187-47A3-B679-3F914957A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C1AC749-2961-46FF-AD21-ACC107CA01C0}"/>
              </a:ext>
            </a:extLst>
          </p:cNvPr>
          <p:cNvGrpSpPr/>
          <p:nvPr/>
        </p:nvGrpSpPr>
        <p:grpSpPr>
          <a:xfrm>
            <a:off x="3639892" y="4735325"/>
            <a:ext cx="2406089" cy="1367045"/>
            <a:chOff x="3699027" y="4601950"/>
            <a:chExt cx="2936136" cy="1668197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0A38C0F-C658-41B0-A0CB-909D38D22FF3}"/>
                </a:ext>
              </a:extLst>
            </p:cNvPr>
            <p:cNvSpPr/>
            <p:nvPr/>
          </p:nvSpPr>
          <p:spPr>
            <a:xfrm>
              <a:off x="5293731" y="4601950"/>
              <a:ext cx="308340" cy="294897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4F95868-43BB-4A4A-A35C-6DA682E9B036}"/>
                </a:ext>
              </a:extLst>
            </p:cNvPr>
            <p:cNvSpPr/>
            <p:nvPr/>
          </p:nvSpPr>
          <p:spPr>
            <a:xfrm>
              <a:off x="4915681" y="5460039"/>
              <a:ext cx="308339" cy="294896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90F024E-2A22-4F89-827D-FD8E372E823C}"/>
                </a:ext>
              </a:extLst>
            </p:cNvPr>
            <p:cNvSpPr/>
            <p:nvPr/>
          </p:nvSpPr>
          <p:spPr>
            <a:xfrm>
              <a:off x="4572801" y="4608206"/>
              <a:ext cx="308339" cy="294896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C2D2CA1-4A72-4BE0-A856-A2DE7BE36E13}"/>
                </a:ext>
              </a:extLst>
            </p:cNvPr>
            <p:cNvSpPr/>
            <p:nvPr/>
          </p:nvSpPr>
          <p:spPr>
            <a:xfrm>
              <a:off x="5595560" y="5481376"/>
              <a:ext cx="308339" cy="294896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47F3766-8F85-4264-B4C0-831D99535735}"/>
                </a:ext>
              </a:extLst>
            </p:cNvPr>
            <p:cNvSpPr/>
            <p:nvPr/>
          </p:nvSpPr>
          <p:spPr>
            <a:xfrm>
              <a:off x="6326823" y="5481376"/>
              <a:ext cx="308340" cy="294897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07AE687-8A99-4C8B-90A6-CA2C96FB2DAE}"/>
                </a:ext>
              </a:extLst>
            </p:cNvPr>
            <p:cNvSpPr/>
            <p:nvPr/>
          </p:nvSpPr>
          <p:spPr>
            <a:xfrm>
              <a:off x="3699027" y="5476080"/>
              <a:ext cx="308340" cy="294897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952848A-1EFB-44E4-93AB-16848908DC59}"/>
                </a:ext>
              </a:extLst>
            </p:cNvPr>
            <p:cNvSpPr/>
            <p:nvPr/>
          </p:nvSpPr>
          <p:spPr>
            <a:xfrm>
              <a:off x="5971938" y="5975251"/>
              <a:ext cx="308339" cy="29489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D5AA920-C857-46A4-B6E0-95416E629A3F}"/>
                </a:ext>
              </a:extLst>
            </p:cNvPr>
            <p:cNvCxnSpPr>
              <a:stCxn id="31" idx="3"/>
              <a:endCxn id="29" idx="2"/>
            </p:cNvCxnSpPr>
            <p:nvPr/>
          </p:nvCxnSpPr>
          <p:spPr>
            <a:xfrm flipV="1">
              <a:off x="4881140" y="4749399"/>
              <a:ext cx="412591" cy="625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62365E6-8C09-40BE-8C35-5BC90FCE34A6}"/>
                </a:ext>
              </a:extLst>
            </p:cNvPr>
            <p:cNvCxnSpPr>
              <a:cxnSpLocks/>
            </p:cNvCxnSpPr>
            <p:nvPr/>
          </p:nvCxnSpPr>
          <p:spPr>
            <a:xfrm>
              <a:off x="3824433" y="5109668"/>
              <a:ext cx="1919239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C3CEEA8-CBD3-4036-8FA5-9E340A8EE212}"/>
                </a:ext>
              </a:extLst>
            </p:cNvPr>
            <p:cNvCxnSpPr/>
            <p:nvPr/>
          </p:nvCxnSpPr>
          <p:spPr>
            <a:xfrm flipV="1">
              <a:off x="5906083" y="5623529"/>
              <a:ext cx="412591" cy="625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A9910E8-D8D2-454E-A8E4-D52964523FB2}"/>
                </a:ext>
              </a:extLst>
            </p:cNvPr>
            <p:cNvCxnSpPr>
              <a:cxnSpLocks/>
            </p:cNvCxnSpPr>
            <p:nvPr/>
          </p:nvCxnSpPr>
          <p:spPr>
            <a:xfrm>
              <a:off x="5087435" y="4770099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787BDA6-F5A4-43F9-A86F-3D6D608399E6}"/>
                </a:ext>
              </a:extLst>
            </p:cNvPr>
            <p:cNvCxnSpPr>
              <a:cxnSpLocks/>
            </p:cNvCxnSpPr>
            <p:nvPr/>
          </p:nvCxnSpPr>
          <p:spPr>
            <a:xfrm>
              <a:off x="3853197" y="5109667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16EC036-A321-46CC-A417-A1F324D540F8}"/>
                </a:ext>
              </a:extLst>
            </p:cNvPr>
            <p:cNvCxnSpPr>
              <a:cxnSpLocks/>
            </p:cNvCxnSpPr>
            <p:nvPr/>
          </p:nvCxnSpPr>
          <p:spPr>
            <a:xfrm>
              <a:off x="5081659" y="5113612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9F1F49E-EC45-49D0-8847-F7D9BDB51356}"/>
                </a:ext>
              </a:extLst>
            </p:cNvPr>
            <p:cNvCxnSpPr>
              <a:cxnSpLocks/>
            </p:cNvCxnSpPr>
            <p:nvPr/>
          </p:nvCxnSpPr>
          <p:spPr>
            <a:xfrm>
              <a:off x="5729473" y="5121821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093072D-53D3-4390-A89E-86FE667E0916}"/>
                </a:ext>
              </a:extLst>
            </p:cNvPr>
            <p:cNvCxnSpPr>
              <a:cxnSpLocks/>
            </p:cNvCxnSpPr>
            <p:nvPr/>
          </p:nvCxnSpPr>
          <p:spPr>
            <a:xfrm>
              <a:off x="6126108" y="5623529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5F4CCB0-E882-487F-8F0B-0C1E558E34E1}"/>
                </a:ext>
              </a:extLst>
            </p:cNvPr>
            <p:cNvSpPr/>
            <p:nvPr/>
          </p:nvSpPr>
          <p:spPr>
            <a:xfrm>
              <a:off x="4561956" y="5973255"/>
              <a:ext cx="308340" cy="294897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E7857B4E-0EB8-4660-BCD5-913E906E6485}"/>
                </a:ext>
              </a:extLst>
            </p:cNvPr>
            <p:cNvCxnSpPr>
              <a:cxnSpLocks/>
            </p:cNvCxnSpPr>
            <p:nvPr/>
          </p:nvCxnSpPr>
          <p:spPr>
            <a:xfrm>
              <a:off x="4711104" y="5618996"/>
              <a:ext cx="0" cy="35172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397508B1-17CC-4922-93F6-B233B9AA8F36}"/>
                </a:ext>
              </a:extLst>
            </p:cNvPr>
            <p:cNvSpPr/>
            <p:nvPr/>
          </p:nvSpPr>
          <p:spPr>
            <a:xfrm>
              <a:off x="4181948" y="5471547"/>
              <a:ext cx="308340" cy="294897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3DB9C04C-7C45-454E-8CA7-62674D317E5F}"/>
                </a:ext>
              </a:extLst>
            </p:cNvPr>
            <p:cNvCxnSpPr>
              <a:cxnSpLocks/>
              <a:stCxn id="46" idx="6"/>
            </p:cNvCxnSpPr>
            <p:nvPr/>
          </p:nvCxnSpPr>
          <p:spPr>
            <a:xfrm>
              <a:off x="4490288" y="5618996"/>
              <a:ext cx="412589" cy="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02336021-BCA8-464D-A98B-40D2231B2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8942" y="4707913"/>
            <a:ext cx="2029162" cy="1423974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49" name="Text Box 11">
            <a:extLst>
              <a:ext uri="{FF2B5EF4-FFF2-40B4-BE49-F238E27FC236}">
                <a16:creationId xmlns:a16="http://schemas.microsoft.com/office/drawing/2014/main" id="{38C5E256-D914-4ACC-BBBA-B6CCFC3B71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76409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buClrTx/>
              <a:buFontTx/>
              <a:buNone/>
              <a:defRPr sz="14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</p:spTree>
    <p:extLst>
      <p:ext uri="{BB962C8B-B14F-4D97-AF65-F5344CB8AC3E}">
        <p14:creationId xmlns:p14="http://schemas.microsoft.com/office/powerpoint/2010/main" val="1998547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>
            <a:extLst>
              <a:ext uri="{FF2B5EF4-FFF2-40B4-BE49-F238E27FC236}">
                <a16:creationId xmlns:a16="http://schemas.microsoft.com/office/drawing/2014/main" id="{437FDFCB-D461-4728-B7AF-6365DC7C36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0872444" cy="1103313"/>
          </a:xfrm>
        </p:spPr>
        <p:txBody>
          <a:bodyPr/>
          <a:lstStyle/>
          <a:p>
            <a:r>
              <a:rPr lang="en-US" altLang="en-US" dirty="0"/>
              <a:t>Somatic Mutations Persist and Accumulate in Cells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27C855FD-9E90-42A1-B67C-B5DE8B101AD2}"/>
              </a:ext>
            </a:extLst>
          </p:cNvPr>
          <p:cNvSpPr/>
          <p:nvPr/>
        </p:nvSpPr>
        <p:spPr>
          <a:xfrm>
            <a:off x="450614" y="6378239"/>
            <a:ext cx="41542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217230" y="1261119"/>
            <a:ext cx="11785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m Cell</a:t>
            </a:r>
          </a:p>
        </p:txBody>
      </p:sp>
      <p:cxnSp>
        <p:nvCxnSpPr>
          <p:cNvPr id="144" name="Straight Arrow Connector 143"/>
          <p:cNvCxnSpPr/>
          <p:nvPr/>
        </p:nvCxnSpPr>
        <p:spPr>
          <a:xfrm>
            <a:off x="1007443" y="1815725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/>
          <p:nvPr/>
        </p:nvCxnSpPr>
        <p:spPr>
          <a:xfrm>
            <a:off x="2401758" y="1819021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007443" y="1815725"/>
            <a:ext cx="1409930" cy="0"/>
          </a:xfrm>
          <a:prstGeom prst="line">
            <a:avLst/>
          </a:prstGeom>
          <a:ln w="3810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BC3835C-50B5-1142-B6F0-B64372F4DB81}"/>
              </a:ext>
            </a:extLst>
          </p:cNvPr>
          <p:cNvSpPr/>
          <p:nvPr/>
        </p:nvSpPr>
        <p:spPr>
          <a:xfrm>
            <a:off x="5493286" y="2315222"/>
            <a:ext cx="318052" cy="776997"/>
          </a:xfrm>
          <a:prstGeom prst="roundRect">
            <a:avLst/>
          </a:prstGeom>
          <a:noFill/>
          <a:ln w="508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055841-7081-384A-A70C-A3A53C557306}"/>
              </a:ext>
            </a:extLst>
          </p:cNvPr>
          <p:cNvSpPr txBox="1"/>
          <p:nvPr/>
        </p:nvSpPr>
        <p:spPr>
          <a:xfrm>
            <a:off x="5006643" y="1929451"/>
            <a:ext cx="15332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 Change</a:t>
            </a:r>
          </a:p>
        </p:txBody>
      </p:sp>
      <p:grpSp>
        <p:nvGrpSpPr>
          <p:cNvPr id="19" name="Group 7">
            <a:extLst>
              <a:ext uri="{FF2B5EF4-FFF2-40B4-BE49-F238E27FC236}">
                <a16:creationId xmlns:a16="http://schemas.microsoft.com/office/drawing/2014/main" id="{5D4CA64E-8A78-44E6-BACB-A11E065D088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20" name="Picture 9">
              <a:extLst>
                <a:ext uri="{FF2B5EF4-FFF2-40B4-BE49-F238E27FC236}">
                  <a16:creationId xmlns:a16="http://schemas.microsoft.com/office/drawing/2014/main" id="{AFBEE43D-F620-4B3F-9E06-1CAD9C99CD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54D7193F-2934-4698-9C6D-0CCDB885B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6D8696BA-9960-4440-AA1F-86D24FEF5A15}"/>
              </a:ext>
            </a:extLst>
          </p:cNvPr>
          <p:cNvSpPr txBox="1"/>
          <p:nvPr/>
        </p:nvSpPr>
        <p:spPr>
          <a:xfrm>
            <a:off x="4105032" y="2424258"/>
            <a:ext cx="74911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GGAAGTTGCGAAAGCTCAAGA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CCTTCAACGCTTTCGAGTTCTTCGCCT</a:t>
            </a:r>
          </a:p>
        </p:txBody>
      </p:sp>
      <p:sp>
        <p:nvSpPr>
          <p:cNvPr id="25" name="Rounded Rectangle 1">
            <a:extLst>
              <a:ext uri="{FF2B5EF4-FFF2-40B4-BE49-F238E27FC236}">
                <a16:creationId xmlns:a16="http://schemas.microsoft.com/office/drawing/2014/main" id="{6C81BCBB-1DB8-45AD-AE71-B9F341D7BB5F}"/>
              </a:ext>
            </a:extLst>
          </p:cNvPr>
          <p:cNvSpPr/>
          <p:nvPr/>
        </p:nvSpPr>
        <p:spPr>
          <a:xfrm>
            <a:off x="5485952" y="2372726"/>
            <a:ext cx="318052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0E0284A-AB60-4532-8D07-CF8B51AD28B6}"/>
              </a:ext>
            </a:extLst>
          </p:cNvPr>
          <p:cNvGrpSpPr/>
          <p:nvPr/>
        </p:nvGrpSpPr>
        <p:grpSpPr>
          <a:xfrm>
            <a:off x="2134085" y="2094467"/>
            <a:ext cx="516875" cy="444225"/>
            <a:chOff x="2705575" y="1674438"/>
            <a:chExt cx="582072" cy="500258"/>
          </a:xfrm>
        </p:grpSpPr>
        <p:grpSp>
          <p:nvGrpSpPr>
            <p:cNvPr id="32" name="Group 17">
              <a:extLst>
                <a:ext uri="{FF2B5EF4-FFF2-40B4-BE49-F238E27FC236}">
                  <a16:creationId xmlns:a16="http://schemas.microsoft.com/office/drawing/2014/main" id="{086BABED-5533-41A0-A671-38482CED53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3" name="Oval 42">
                <a:extLst>
                  <a:ext uri="{FF2B5EF4-FFF2-40B4-BE49-F238E27FC236}">
                    <a16:creationId xmlns:a16="http://schemas.microsoft.com/office/drawing/2014/main" id="{3B302100-040C-407F-AD67-FCCA004BA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4" name="Oval 44">
                <a:extLst>
                  <a:ext uri="{FF2B5EF4-FFF2-40B4-BE49-F238E27FC236}">
                    <a16:creationId xmlns:a16="http://schemas.microsoft.com/office/drawing/2014/main" id="{0A062E2A-99EE-4E8B-8198-E58B629AB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5" name="Star: 5 Points 34">
              <a:extLst>
                <a:ext uri="{FF2B5EF4-FFF2-40B4-BE49-F238E27FC236}">
                  <a16:creationId xmlns:a16="http://schemas.microsoft.com/office/drawing/2014/main" id="{5D4CC304-5402-4B89-9D8D-026E5E9640AE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1" name="Group 17">
            <a:extLst>
              <a:ext uri="{FF2B5EF4-FFF2-40B4-BE49-F238E27FC236}">
                <a16:creationId xmlns:a16="http://schemas.microsoft.com/office/drawing/2014/main" id="{79E1EB1A-4DBF-4B58-9197-92953365F42B}"/>
              </a:ext>
            </a:extLst>
          </p:cNvPr>
          <p:cNvGrpSpPr>
            <a:grpSpLocks/>
          </p:cNvGrpSpPr>
          <p:nvPr/>
        </p:nvGrpSpPr>
        <p:grpSpPr bwMode="auto">
          <a:xfrm>
            <a:off x="1454949" y="128253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92" name="Oval 42">
              <a:extLst>
                <a:ext uri="{FF2B5EF4-FFF2-40B4-BE49-F238E27FC236}">
                  <a16:creationId xmlns:a16="http://schemas.microsoft.com/office/drawing/2014/main" id="{28F5F1A2-7013-4BAD-8C6F-68E4AEB1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3" name="Oval 44">
              <a:extLst>
                <a:ext uri="{FF2B5EF4-FFF2-40B4-BE49-F238E27FC236}">
                  <a16:creationId xmlns:a16="http://schemas.microsoft.com/office/drawing/2014/main" id="{912D039C-2F2F-49DF-AF69-393D4AC9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8" name="Group 17">
            <a:extLst>
              <a:ext uri="{FF2B5EF4-FFF2-40B4-BE49-F238E27FC236}">
                <a16:creationId xmlns:a16="http://schemas.microsoft.com/office/drawing/2014/main" id="{48BDB109-C67F-4238-80B5-89D38B45C8DF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2079518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9" name="Oval 42">
              <a:extLst>
                <a:ext uri="{FF2B5EF4-FFF2-40B4-BE49-F238E27FC236}">
                  <a16:creationId xmlns:a16="http://schemas.microsoft.com/office/drawing/2014/main" id="{F81FDF85-91DA-4D4C-9C42-F08C82385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0" name="Oval 44">
              <a:extLst>
                <a:ext uri="{FF2B5EF4-FFF2-40B4-BE49-F238E27FC236}">
                  <a16:creationId xmlns:a16="http://schemas.microsoft.com/office/drawing/2014/main" id="{E9A76368-1577-4D5F-A7AB-5236020CA3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093827B7-2DB8-4C37-822A-6F1BF0E2BEEA}"/>
              </a:ext>
            </a:extLst>
          </p:cNvPr>
          <p:cNvCxnSpPr/>
          <p:nvPr/>
        </p:nvCxnSpPr>
        <p:spPr>
          <a:xfrm>
            <a:off x="1706606" y="1829674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3" name="Group 17">
            <a:extLst>
              <a:ext uri="{FF2B5EF4-FFF2-40B4-BE49-F238E27FC236}">
                <a16:creationId xmlns:a16="http://schemas.microsoft.com/office/drawing/2014/main" id="{946B4F07-6548-465D-85FE-837B4FBA3852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2093467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24" name="Oval 42">
              <a:extLst>
                <a:ext uri="{FF2B5EF4-FFF2-40B4-BE49-F238E27FC236}">
                  <a16:creationId xmlns:a16="http://schemas.microsoft.com/office/drawing/2014/main" id="{FC4DE875-80BB-40F3-B7A6-4C8FF9C47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5" name="Oval 44">
              <a:extLst>
                <a:ext uri="{FF2B5EF4-FFF2-40B4-BE49-F238E27FC236}">
                  <a16:creationId xmlns:a16="http://schemas.microsoft.com/office/drawing/2014/main" id="{5B19A861-D605-4D1B-B925-4A6A78A68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1D0EE7A-8242-E543-8A16-B6C3C02BC5DC}"/>
              </a:ext>
            </a:extLst>
          </p:cNvPr>
          <p:cNvCxnSpPr>
            <a:cxnSpLocks/>
            <a:stCxn id="35" idx="4"/>
            <a:endCxn id="3" idx="1"/>
          </p:cNvCxnSpPr>
          <p:nvPr/>
        </p:nvCxnSpPr>
        <p:spPr>
          <a:xfrm flipV="1">
            <a:off x="2365603" y="2129506"/>
            <a:ext cx="2641040" cy="159584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20741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>
            <a:extLst>
              <a:ext uri="{FF2B5EF4-FFF2-40B4-BE49-F238E27FC236}">
                <a16:creationId xmlns:a16="http://schemas.microsoft.com/office/drawing/2014/main" id="{437FDFCB-D461-4728-B7AF-6365DC7C36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759" y="238127"/>
            <a:ext cx="10872444" cy="1103313"/>
          </a:xfrm>
        </p:spPr>
        <p:txBody>
          <a:bodyPr/>
          <a:lstStyle/>
          <a:p>
            <a:r>
              <a:rPr lang="en-US" altLang="en-US" dirty="0"/>
              <a:t>Somatic Mutations Persist and Accumulate in Cells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27C855FD-9E90-42A1-B67C-B5DE8B101AD2}"/>
              </a:ext>
            </a:extLst>
          </p:cNvPr>
          <p:cNvSpPr/>
          <p:nvPr/>
        </p:nvSpPr>
        <p:spPr>
          <a:xfrm>
            <a:off x="450614" y="6378239"/>
            <a:ext cx="41542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pitchFamily="-65" charset="-128"/>
                <a:cs typeface="Arial" panose="020B0604020202020204" pitchFamily="34" charset="0"/>
              </a:rPr>
              <a:t>Griffiths. An Introduction to Genetic Analysis. 7th ed. 2000.</a:t>
            </a:r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07089E8C-B5A1-43CF-B6FA-DF7B9227B278}"/>
              </a:ext>
            </a:extLst>
          </p:cNvPr>
          <p:cNvCxnSpPr>
            <a:cxnSpLocks/>
            <a:endCxn id="241" idx="0"/>
          </p:cNvCxnSpPr>
          <p:nvPr/>
        </p:nvCxnSpPr>
        <p:spPr>
          <a:xfrm>
            <a:off x="2552844" y="2512459"/>
            <a:ext cx="380510" cy="27317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95E6709D-8897-4F7A-9C91-0B8BE81EB534}"/>
              </a:ext>
            </a:extLst>
          </p:cNvPr>
          <p:cNvCxnSpPr/>
          <p:nvPr/>
        </p:nvCxnSpPr>
        <p:spPr>
          <a:xfrm>
            <a:off x="2392522" y="2535785"/>
            <a:ext cx="0" cy="26670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217230" y="1261119"/>
            <a:ext cx="11785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m Cell</a:t>
            </a:r>
          </a:p>
        </p:txBody>
      </p:sp>
      <p:cxnSp>
        <p:nvCxnSpPr>
          <p:cNvPr id="144" name="Straight Arrow Connector 143"/>
          <p:cNvCxnSpPr/>
          <p:nvPr/>
        </p:nvCxnSpPr>
        <p:spPr>
          <a:xfrm>
            <a:off x="1007443" y="1815725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/>
          <p:nvPr/>
        </p:nvCxnSpPr>
        <p:spPr>
          <a:xfrm>
            <a:off x="2401758" y="1819021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007443" y="1815725"/>
            <a:ext cx="1409930" cy="0"/>
          </a:xfrm>
          <a:prstGeom prst="line">
            <a:avLst/>
          </a:prstGeom>
          <a:ln w="38100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BC3835C-50B5-1142-B6F0-B64372F4DB81}"/>
              </a:ext>
            </a:extLst>
          </p:cNvPr>
          <p:cNvSpPr/>
          <p:nvPr/>
        </p:nvSpPr>
        <p:spPr>
          <a:xfrm>
            <a:off x="5493286" y="2315222"/>
            <a:ext cx="318052" cy="776997"/>
          </a:xfrm>
          <a:prstGeom prst="roundRect">
            <a:avLst/>
          </a:prstGeom>
          <a:noFill/>
          <a:ln w="508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055841-7081-384A-A70C-A3A53C557306}"/>
              </a:ext>
            </a:extLst>
          </p:cNvPr>
          <p:cNvSpPr txBox="1"/>
          <p:nvPr/>
        </p:nvSpPr>
        <p:spPr>
          <a:xfrm>
            <a:off x="5006643" y="1929451"/>
            <a:ext cx="15332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 Change</a:t>
            </a:r>
          </a:p>
        </p:txBody>
      </p:sp>
      <p:grpSp>
        <p:nvGrpSpPr>
          <p:cNvPr id="19" name="Group 7">
            <a:extLst>
              <a:ext uri="{FF2B5EF4-FFF2-40B4-BE49-F238E27FC236}">
                <a16:creationId xmlns:a16="http://schemas.microsoft.com/office/drawing/2014/main" id="{5D4CA64E-8A78-44E6-BACB-A11E065D0883}"/>
              </a:ext>
            </a:extLst>
          </p:cNvPr>
          <p:cNvGrpSpPr>
            <a:grpSpLocks/>
          </p:cNvGrpSpPr>
          <p:nvPr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20" name="Picture 9">
              <a:extLst>
                <a:ext uri="{FF2B5EF4-FFF2-40B4-BE49-F238E27FC236}">
                  <a16:creationId xmlns:a16="http://schemas.microsoft.com/office/drawing/2014/main" id="{AFBEE43D-F620-4B3F-9E06-1CAD9C99CD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54D7193F-2934-4698-9C6D-0CCDB885B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hlinkClick r:id="rId3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6D8696BA-9960-4440-AA1F-86D24FEF5A15}"/>
              </a:ext>
            </a:extLst>
          </p:cNvPr>
          <p:cNvSpPr txBox="1"/>
          <p:nvPr/>
        </p:nvSpPr>
        <p:spPr>
          <a:xfrm>
            <a:off x="4105032" y="2424258"/>
            <a:ext cx="74911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GGAAGTTGCGAAAGCTCAAGA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CCTTCAACGCTTTCGAGTTCTTCGCCT</a:t>
            </a:r>
          </a:p>
        </p:txBody>
      </p:sp>
      <p:sp>
        <p:nvSpPr>
          <p:cNvPr id="25" name="Rounded Rectangle 1">
            <a:extLst>
              <a:ext uri="{FF2B5EF4-FFF2-40B4-BE49-F238E27FC236}">
                <a16:creationId xmlns:a16="http://schemas.microsoft.com/office/drawing/2014/main" id="{6C81BCBB-1DB8-45AD-AE71-B9F341D7BB5F}"/>
              </a:ext>
            </a:extLst>
          </p:cNvPr>
          <p:cNvSpPr/>
          <p:nvPr/>
        </p:nvSpPr>
        <p:spPr>
          <a:xfrm>
            <a:off x="5485952" y="2372726"/>
            <a:ext cx="318052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0E0284A-AB60-4532-8D07-CF8B51AD28B6}"/>
              </a:ext>
            </a:extLst>
          </p:cNvPr>
          <p:cNvGrpSpPr/>
          <p:nvPr/>
        </p:nvGrpSpPr>
        <p:grpSpPr>
          <a:xfrm>
            <a:off x="2134085" y="2094467"/>
            <a:ext cx="516875" cy="444225"/>
            <a:chOff x="2705575" y="1674438"/>
            <a:chExt cx="582072" cy="500258"/>
          </a:xfrm>
        </p:grpSpPr>
        <p:grpSp>
          <p:nvGrpSpPr>
            <p:cNvPr id="32" name="Group 17">
              <a:extLst>
                <a:ext uri="{FF2B5EF4-FFF2-40B4-BE49-F238E27FC236}">
                  <a16:creationId xmlns:a16="http://schemas.microsoft.com/office/drawing/2014/main" id="{086BABED-5533-41A0-A671-38482CED53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3" name="Oval 42">
                <a:extLst>
                  <a:ext uri="{FF2B5EF4-FFF2-40B4-BE49-F238E27FC236}">
                    <a16:creationId xmlns:a16="http://schemas.microsoft.com/office/drawing/2014/main" id="{3B302100-040C-407F-AD67-FCCA004BA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4" name="Oval 44">
                <a:extLst>
                  <a:ext uri="{FF2B5EF4-FFF2-40B4-BE49-F238E27FC236}">
                    <a16:creationId xmlns:a16="http://schemas.microsoft.com/office/drawing/2014/main" id="{0A062E2A-99EE-4E8B-8198-E58B629AB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5" name="Star: 5 Points 34">
              <a:extLst>
                <a:ext uri="{FF2B5EF4-FFF2-40B4-BE49-F238E27FC236}">
                  <a16:creationId xmlns:a16="http://schemas.microsoft.com/office/drawing/2014/main" id="{5D4CC304-5402-4B89-9D8D-026E5E9640AE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23CDF52-DBDB-4984-BCEC-857935FED01F}"/>
              </a:ext>
            </a:extLst>
          </p:cNvPr>
          <p:cNvSpPr txBox="1"/>
          <p:nvPr/>
        </p:nvSpPr>
        <p:spPr>
          <a:xfrm>
            <a:off x="4067123" y="3909375"/>
            <a:ext cx="74911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AAGATTTG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AGATTTAACTTTTTTGGAAGTTGCGAAAGCTCAAG AGCGG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TTCTAAAC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"/>
                <a:ea typeface="+mn-ea"/>
                <a:cs typeface="Courier"/>
              </a:rPr>
              <a:t>TCTAAATTGAAAAAACCTTCAACGCTTTCGAGTTC TCGCCT</a:t>
            </a:r>
          </a:p>
        </p:txBody>
      </p:sp>
      <p:sp>
        <p:nvSpPr>
          <p:cNvPr id="77" name="Rounded Rectangle 1">
            <a:extLst>
              <a:ext uri="{FF2B5EF4-FFF2-40B4-BE49-F238E27FC236}">
                <a16:creationId xmlns:a16="http://schemas.microsoft.com/office/drawing/2014/main" id="{AA6150C9-4A69-4B82-9C7C-6ECAE5B2D57E}"/>
              </a:ext>
            </a:extLst>
          </p:cNvPr>
          <p:cNvSpPr/>
          <p:nvPr/>
        </p:nvSpPr>
        <p:spPr>
          <a:xfrm>
            <a:off x="10344355" y="3864985"/>
            <a:ext cx="318052" cy="776997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E79B5B3-FA3C-42CB-BC8F-5B822C7788F6}"/>
              </a:ext>
            </a:extLst>
          </p:cNvPr>
          <p:cNvSpPr txBox="1"/>
          <p:nvPr/>
        </p:nvSpPr>
        <p:spPr>
          <a:xfrm>
            <a:off x="9951797" y="3422989"/>
            <a:ext cx="10934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200">
              <a:defRPr sz="2000" b="1">
                <a:solidFill>
                  <a:schemeClr val="bg1"/>
                </a:solidFill>
                <a:latin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etion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EBDF391-3142-4EE9-9264-1B7A87A328B6}"/>
              </a:ext>
            </a:extLst>
          </p:cNvPr>
          <p:cNvGrpSpPr/>
          <p:nvPr/>
        </p:nvGrpSpPr>
        <p:grpSpPr>
          <a:xfrm>
            <a:off x="10413855" y="3897640"/>
            <a:ext cx="169324" cy="89700"/>
            <a:chOff x="11130734" y="5603556"/>
            <a:chExt cx="169324" cy="89700"/>
          </a:xfrm>
        </p:grpSpPr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9E3E87E-F347-466D-8A8B-2153676CFD52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44EFB94-06B2-483C-8B13-8FD3C52500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C6F3395-AF2B-4981-9EE6-CABE9CA82F14}"/>
              </a:ext>
            </a:extLst>
          </p:cNvPr>
          <p:cNvGrpSpPr/>
          <p:nvPr/>
        </p:nvGrpSpPr>
        <p:grpSpPr>
          <a:xfrm flipV="1">
            <a:off x="10418520" y="4473109"/>
            <a:ext cx="169324" cy="89700"/>
            <a:chOff x="11130734" y="5603556"/>
            <a:chExt cx="169324" cy="89700"/>
          </a:xfrm>
        </p:grpSpPr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97B9701B-F6E7-4769-9F4F-7C5A3ECC1A7D}"/>
                </a:ext>
              </a:extLst>
            </p:cNvPr>
            <p:cNvCxnSpPr>
              <a:cxnSpLocks/>
            </p:cNvCxnSpPr>
            <p:nvPr/>
          </p:nvCxnSpPr>
          <p:spPr>
            <a:xfrm>
              <a:off x="11210731" y="560524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B6B6C708-8320-430A-82B9-0CA594B1E5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30734" y="5603556"/>
              <a:ext cx="89327" cy="8801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1" name="Group 17">
            <a:extLst>
              <a:ext uri="{FF2B5EF4-FFF2-40B4-BE49-F238E27FC236}">
                <a16:creationId xmlns:a16="http://schemas.microsoft.com/office/drawing/2014/main" id="{79E1EB1A-4DBF-4B58-9197-92953365F42B}"/>
              </a:ext>
            </a:extLst>
          </p:cNvPr>
          <p:cNvGrpSpPr>
            <a:grpSpLocks/>
          </p:cNvGrpSpPr>
          <p:nvPr/>
        </p:nvGrpSpPr>
        <p:grpSpPr bwMode="auto">
          <a:xfrm>
            <a:off x="1454949" y="128253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92" name="Oval 42">
              <a:extLst>
                <a:ext uri="{FF2B5EF4-FFF2-40B4-BE49-F238E27FC236}">
                  <a16:creationId xmlns:a16="http://schemas.microsoft.com/office/drawing/2014/main" id="{28F5F1A2-7013-4BAD-8C6F-68E4AEB1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3" name="Oval 44">
              <a:extLst>
                <a:ext uri="{FF2B5EF4-FFF2-40B4-BE49-F238E27FC236}">
                  <a16:creationId xmlns:a16="http://schemas.microsoft.com/office/drawing/2014/main" id="{912D039C-2F2F-49DF-AF69-393D4AC9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61E4D03A-BE61-43D1-BAB6-9CB3F231D625}"/>
              </a:ext>
            </a:extLst>
          </p:cNvPr>
          <p:cNvCxnSpPr/>
          <p:nvPr/>
        </p:nvCxnSpPr>
        <p:spPr>
          <a:xfrm>
            <a:off x="1007443" y="2521836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21EF3738-612A-413B-8617-D4D3A16EB525}"/>
              </a:ext>
            </a:extLst>
          </p:cNvPr>
          <p:cNvCxnSpPr/>
          <p:nvPr/>
        </p:nvCxnSpPr>
        <p:spPr>
          <a:xfrm>
            <a:off x="1007443" y="3227947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6C1536F0-17CB-45BB-A31D-7E1DF0B114DE}"/>
              </a:ext>
            </a:extLst>
          </p:cNvPr>
          <p:cNvCxnSpPr/>
          <p:nvPr/>
        </p:nvCxnSpPr>
        <p:spPr>
          <a:xfrm>
            <a:off x="1007443" y="3934058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2" name="Group 17">
            <a:extLst>
              <a:ext uri="{FF2B5EF4-FFF2-40B4-BE49-F238E27FC236}">
                <a16:creationId xmlns:a16="http://schemas.microsoft.com/office/drawing/2014/main" id="{5DF5B896-A602-400A-92B3-CA80CEBDF766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3491740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0" name="Oval 42">
              <a:extLst>
                <a:ext uri="{FF2B5EF4-FFF2-40B4-BE49-F238E27FC236}">
                  <a16:creationId xmlns:a16="http://schemas.microsoft.com/office/drawing/2014/main" id="{2508131C-BF53-4121-9379-8DE447CE6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1" name="Oval 44">
              <a:extLst>
                <a:ext uri="{FF2B5EF4-FFF2-40B4-BE49-F238E27FC236}">
                  <a16:creationId xmlns:a16="http://schemas.microsoft.com/office/drawing/2014/main" id="{4E14E528-B2B9-4F8D-8729-309FC35C37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2" name="Group 17">
            <a:extLst>
              <a:ext uri="{FF2B5EF4-FFF2-40B4-BE49-F238E27FC236}">
                <a16:creationId xmlns:a16="http://schemas.microsoft.com/office/drawing/2014/main" id="{16C20B58-2EDC-4D42-9CCB-6DCC8C5A8C76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4197851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3" name="Oval 42">
              <a:extLst>
                <a:ext uri="{FF2B5EF4-FFF2-40B4-BE49-F238E27FC236}">
                  <a16:creationId xmlns:a16="http://schemas.microsoft.com/office/drawing/2014/main" id="{A6EA6FD2-3A43-42A2-9A1F-7C72B791F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4" name="Oval 44">
              <a:extLst>
                <a:ext uri="{FF2B5EF4-FFF2-40B4-BE49-F238E27FC236}">
                  <a16:creationId xmlns:a16="http://schemas.microsoft.com/office/drawing/2014/main" id="{2C02F472-2B9B-401F-99C2-451EA821E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5" name="Group 17">
            <a:extLst>
              <a:ext uri="{FF2B5EF4-FFF2-40B4-BE49-F238E27FC236}">
                <a16:creationId xmlns:a16="http://schemas.microsoft.com/office/drawing/2014/main" id="{E93511DE-7E8D-4266-83C9-8B03AA5EA428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278562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6" name="Oval 42">
              <a:extLst>
                <a:ext uri="{FF2B5EF4-FFF2-40B4-BE49-F238E27FC236}">
                  <a16:creationId xmlns:a16="http://schemas.microsoft.com/office/drawing/2014/main" id="{A01E4615-5989-4154-97B5-5DF1888B4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7" name="Oval 44">
              <a:extLst>
                <a:ext uri="{FF2B5EF4-FFF2-40B4-BE49-F238E27FC236}">
                  <a16:creationId xmlns:a16="http://schemas.microsoft.com/office/drawing/2014/main" id="{1E7CC6D7-9298-4FE8-B590-617015B7D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88" name="Group 17">
            <a:extLst>
              <a:ext uri="{FF2B5EF4-FFF2-40B4-BE49-F238E27FC236}">
                <a16:creationId xmlns:a16="http://schemas.microsoft.com/office/drawing/2014/main" id="{48BDB109-C67F-4238-80B5-89D38B45C8DF}"/>
              </a:ext>
            </a:extLst>
          </p:cNvPr>
          <p:cNvGrpSpPr>
            <a:grpSpLocks/>
          </p:cNvGrpSpPr>
          <p:nvPr/>
        </p:nvGrpSpPr>
        <p:grpSpPr bwMode="auto">
          <a:xfrm>
            <a:off x="748424" y="2079518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189" name="Oval 42">
              <a:extLst>
                <a:ext uri="{FF2B5EF4-FFF2-40B4-BE49-F238E27FC236}">
                  <a16:creationId xmlns:a16="http://schemas.microsoft.com/office/drawing/2014/main" id="{F81FDF85-91DA-4D4C-9C42-F08C82385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0" name="Oval 44">
              <a:extLst>
                <a:ext uri="{FF2B5EF4-FFF2-40B4-BE49-F238E27FC236}">
                  <a16:creationId xmlns:a16="http://schemas.microsoft.com/office/drawing/2014/main" id="{E9A76368-1577-4D5F-A7AB-5236020CA3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093827B7-2DB8-4C37-822A-6F1BF0E2BEEA}"/>
              </a:ext>
            </a:extLst>
          </p:cNvPr>
          <p:cNvCxnSpPr/>
          <p:nvPr/>
        </p:nvCxnSpPr>
        <p:spPr>
          <a:xfrm>
            <a:off x="1706606" y="1829674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E01B0F1B-EE22-4573-9B8B-081B5E180390}"/>
              </a:ext>
            </a:extLst>
          </p:cNvPr>
          <p:cNvCxnSpPr/>
          <p:nvPr/>
        </p:nvCxnSpPr>
        <p:spPr>
          <a:xfrm>
            <a:off x="1706606" y="2535785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E3C9A1C7-32B1-46AE-903A-CD7A3E929F66}"/>
              </a:ext>
            </a:extLst>
          </p:cNvPr>
          <p:cNvCxnSpPr/>
          <p:nvPr/>
        </p:nvCxnSpPr>
        <p:spPr>
          <a:xfrm>
            <a:off x="1706606" y="3241896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36DD814D-C2A8-469C-97F2-C31F975AAE82}"/>
              </a:ext>
            </a:extLst>
          </p:cNvPr>
          <p:cNvCxnSpPr/>
          <p:nvPr/>
        </p:nvCxnSpPr>
        <p:spPr>
          <a:xfrm>
            <a:off x="1706606" y="3948007"/>
            <a:ext cx="0" cy="266700"/>
          </a:xfrm>
          <a:prstGeom prst="straightConnector1">
            <a:avLst/>
          </a:prstGeom>
          <a:ln w="38100" cmpd="sng">
            <a:solidFill>
              <a:schemeClr val="bg1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4" name="Group 17">
            <a:extLst>
              <a:ext uri="{FF2B5EF4-FFF2-40B4-BE49-F238E27FC236}">
                <a16:creationId xmlns:a16="http://schemas.microsoft.com/office/drawing/2014/main" id="{FA95EC5F-810C-4CB8-BA17-34B26896E077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350568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15" name="Oval 42">
              <a:extLst>
                <a:ext uri="{FF2B5EF4-FFF2-40B4-BE49-F238E27FC236}">
                  <a16:creationId xmlns:a16="http://schemas.microsoft.com/office/drawing/2014/main" id="{5020D5BE-2E5A-4C39-9128-EE762775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6" name="Oval 44">
              <a:extLst>
                <a:ext uri="{FF2B5EF4-FFF2-40B4-BE49-F238E27FC236}">
                  <a16:creationId xmlns:a16="http://schemas.microsoft.com/office/drawing/2014/main" id="{F357E00F-CA22-4DC7-9565-2035731096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17" name="Group 17">
            <a:extLst>
              <a:ext uri="{FF2B5EF4-FFF2-40B4-BE49-F238E27FC236}">
                <a16:creationId xmlns:a16="http://schemas.microsoft.com/office/drawing/2014/main" id="{7A8B9231-85F3-4404-A753-698E11DE38BF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4211800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18" name="Oval 42">
              <a:extLst>
                <a:ext uri="{FF2B5EF4-FFF2-40B4-BE49-F238E27FC236}">
                  <a16:creationId xmlns:a16="http://schemas.microsoft.com/office/drawing/2014/main" id="{C3CA3BE0-A0D7-4CEA-B5EC-913DA385E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9" name="Oval 44">
              <a:extLst>
                <a:ext uri="{FF2B5EF4-FFF2-40B4-BE49-F238E27FC236}">
                  <a16:creationId xmlns:a16="http://schemas.microsoft.com/office/drawing/2014/main" id="{5A21F2D5-DF0A-41F6-8CD2-2DD70CF16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0" name="Group 17">
            <a:extLst>
              <a:ext uri="{FF2B5EF4-FFF2-40B4-BE49-F238E27FC236}">
                <a16:creationId xmlns:a16="http://schemas.microsoft.com/office/drawing/2014/main" id="{59AE1931-0960-4674-B47B-FED28E539ACA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2785629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21" name="Oval 42">
              <a:extLst>
                <a:ext uri="{FF2B5EF4-FFF2-40B4-BE49-F238E27FC236}">
                  <a16:creationId xmlns:a16="http://schemas.microsoft.com/office/drawing/2014/main" id="{2BC85BB1-3BD2-4324-ACC5-24E10CB2F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2" name="Oval 44">
              <a:extLst>
                <a:ext uri="{FF2B5EF4-FFF2-40B4-BE49-F238E27FC236}">
                  <a16:creationId xmlns:a16="http://schemas.microsoft.com/office/drawing/2014/main" id="{91045A44-76D0-4800-8628-F19CE9940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3" name="Group 17">
            <a:extLst>
              <a:ext uri="{FF2B5EF4-FFF2-40B4-BE49-F238E27FC236}">
                <a16:creationId xmlns:a16="http://schemas.microsoft.com/office/drawing/2014/main" id="{946B4F07-6548-465D-85FE-837B4FBA3852}"/>
              </a:ext>
            </a:extLst>
          </p:cNvPr>
          <p:cNvGrpSpPr>
            <a:grpSpLocks/>
          </p:cNvGrpSpPr>
          <p:nvPr/>
        </p:nvGrpSpPr>
        <p:grpSpPr bwMode="auto">
          <a:xfrm>
            <a:off x="1447587" y="2093467"/>
            <a:ext cx="518039" cy="445225"/>
            <a:chOff x="3353974" y="2066386"/>
            <a:chExt cx="623081" cy="442993"/>
          </a:xfrm>
          <a:solidFill>
            <a:schemeClr val="tx2">
              <a:lumMod val="50000"/>
            </a:schemeClr>
          </a:solidFill>
        </p:grpSpPr>
        <p:sp>
          <p:nvSpPr>
            <p:cNvPr id="224" name="Oval 42">
              <a:extLst>
                <a:ext uri="{FF2B5EF4-FFF2-40B4-BE49-F238E27FC236}">
                  <a16:creationId xmlns:a16="http://schemas.microsoft.com/office/drawing/2014/main" id="{FC4DE875-80BB-40F3-B7A6-4C8FF9C47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3974" y="2066386"/>
              <a:ext cx="623081" cy="442993"/>
            </a:xfrm>
            <a:prstGeom prst="ellipse">
              <a:avLst/>
            </a:prstGeom>
            <a:grpFill/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5" name="Oval 44">
              <a:extLst>
                <a:ext uri="{FF2B5EF4-FFF2-40B4-BE49-F238E27FC236}">
                  <a16:creationId xmlns:a16="http://schemas.microsoft.com/office/drawing/2014/main" id="{5B19A861-D605-4D1B-B925-4A6A78A68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530" y="2171932"/>
              <a:ext cx="362164" cy="22672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CDCDCF">
                  <a:lumMod val="10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Wingdings" pitchFamily="2" charset="2"/>
                <a:buChar char="§"/>
                <a:defRPr sz="2400">
                  <a:solidFill>
                    <a:srgbClr val="FEFDDE"/>
                  </a:solidFill>
                  <a:latin typeface="Arial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200">
                  <a:solidFill>
                    <a:srgbClr val="FEFDDE"/>
                  </a:solidFill>
                  <a:latin typeface="Arial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2000">
                  <a:solidFill>
                    <a:srgbClr val="FEFDDE"/>
                  </a:solidFill>
                  <a:latin typeface="Arial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>
                  <a:solidFill>
                    <a:srgbClr val="FEFDDE"/>
                  </a:solidFill>
                  <a:latin typeface="Arial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8B3D9A"/>
                </a:buClr>
                <a:buFont typeface="Arial" charset="0"/>
                <a:buChar char="–"/>
                <a:defRPr sz="1600">
                  <a:solidFill>
                    <a:srgbClr val="FEFDDE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00" b="0" i="0" u="none" strike="noStrike" kern="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7C0612B5-18EC-4498-AA43-79D6285F1EE7}"/>
              </a:ext>
            </a:extLst>
          </p:cNvPr>
          <p:cNvGrpSpPr/>
          <p:nvPr/>
        </p:nvGrpSpPr>
        <p:grpSpPr>
          <a:xfrm>
            <a:off x="2134085" y="3247691"/>
            <a:ext cx="516875" cy="444225"/>
            <a:chOff x="2705575" y="1674438"/>
            <a:chExt cx="582072" cy="500258"/>
          </a:xfrm>
        </p:grpSpPr>
        <p:grpSp>
          <p:nvGrpSpPr>
            <p:cNvPr id="229" name="Group 17">
              <a:extLst>
                <a:ext uri="{FF2B5EF4-FFF2-40B4-BE49-F238E27FC236}">
                  <a16:creationId xmlns:a16="http://schemas.microsoft.com/office/drawing/2014/main" id="{F83D07CD-D11F-4A2C-A661-B46CF59E47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31" name="Oval 42">
                <a:extLst>
                  <a:ext uri="{FF2B5EF4-FFF2-40B4-BE49-F238E27FC236}">
                    <a16:creationId xmlns:a16="http://schemas.microsoft.com/office/drawing/2014/main" id="{99FF5BA4-4434-429F-A642-C4B6920F8A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32" name="Oval 44">
                <a:extLst>
                  <a:ext uri="{FF2B5EF4-FFF2-40B4-BE49-F238E27FC236}">
                    <a16:creationId xmlns:a16="http://schemas.microsoft.com/office/drawing/2014/main" id="{EB3EBFFC-435E-4C6D-8523-6E894A22EB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30" name="Star: 5 Points 229">
              <a:extLst>
                <a:ext uri="{FF2B5EF4-FFF2-40B4-BE49-F238E27FC236}">
                  <a16:creationId xmlns:a16="http://schemas.microsoft.com/office/drawing/2014/main" id="{9FF76A29-EC23-4AE7-9523-4552EF864325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0C3D8DEC-40F1-420E-A159-D0C95991189F}"/>
              </a:ext>
            </a:extLst>
          </p:cNvPr>
          <p:cNvGrpSpPr/>
          <p:nvPr/>
        </p:nvGrpSpPr>
        <p:grpSpPr>
          <a:xfrm>
            <a:off x="2134085" y="2785629"/>
            <a:ext cx="516875" cy="444225"/>
            <a:chOff x="2705575" y="1674438"/>
            <a:chExt cx="582072" cy="500258"/>
          </a:xfrm>
        </p:grpSpPr>
        <p:grpSp>
          <p:nvGrpSpPr>
            <p:cNvPr id="234" name="Group 17">
              <a:extLst>
                <a:ext uri="{FF2B5EF4-FFF2-40B4-BE49-F238E27FC236}">
                  <a16:creationId xmlns:a16="http://schemas.microsoft.com/office/drawing/2014/main" id="{60B38887-2BAF-4C9A-BA98-CC01A6D6EB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36" name="Oval 42">
                <a:extLst>
                  <a:ext uri="{FF2B5EF4-FFF2-40B4-BE49-F238E27FC236}">
                    <a16:creationId xmlns:a16="http://schemas.microsoft.com/office/drawing/2014/main" id="{5A6423EC-26F8-4FD9-AF02-D0F920CD6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37" name="Oval 44">
                <a:extLst>
                  <a:ext uri="{FF2B5EF4-FFF2-40B4-BE49-F238E27FC236}">
                    <a16:creationId xmlns:a16="http://schemas.microsoft.com/office/drawing/2014/main" id="{9FB64DDD-65A5-4614-86F8-1799F6EC9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35" name="Star: 5 Points 234">
              <a:extLst>
                <a:ext uri="{FF2B5EF4-FFF2-40B4-BE49-F238E27FC236}">
                  <a16:creationId xmlns:a16="http://schemas.microsoft.com/office/drawing/2014/main" id="{C42E0DAD-40AC-40F4-9765-3EF7630326A3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B2256B22-B6D0-43FC-9F4E-95EF16C76983}"/>
              </a:ext>
            </a:extLst>
          </p:cNvPr>
          <p:cNvGrpSpPr/>
          <p:nvPr/>
        </p:nvGrpSpPr>
        <p:grpSpPr>
          <a:xfrm>
            <a:off x="2674916" y="2785629"/>
            <a:ext cx="516875" cy="444225"/>
            <a:chOff x="2705575" y="1674438"/>
            <a:chExt cx="582072" cy="500258"/>
          </a:xfrm>
        </p:grpSpPr>
        <p:grpSp>
          <p:nvGrpSpPr>
            <p:cNvPr id="239" name="Group 17">
              <a:extLst>
                <a:ext uri="{FF2B5EF4-FFF2-40B4-BE49-F238E27FC236}">
                  <a16:creationId xmlns:a16="http://schemas.microsoft.com/office/drawing/2014/main" id="{4FCAF233-184B-4EF6-AC04-D7A36BE56F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05575" y="1674438"/>
              <a:ext cx="582072" cy="500258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41" name="Oval 42">
                <a:extLst>
                  <a:ext uri="{FF2B5EF4-FFF2-40B4-BE49-F238E27FC236}">
                    <a16:creationId xmlns:a16="http://schemas.microsoft.com/office/drawing/2014/main" id="{59085279-9EC4-4D63-97D4-F344D5B10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42" name="Oval 44">
                <a:extLst>
                  <a:ext uri="{FF2B5EF4-FFF2-40B4-BE49-F238E27FC236}">
                    <a16:creationId xmlns:a16="http://schemas.microsoft.com/office/drawing/2014/main" id="{2D7A0338-A2DF-43E2-8146-FC4976CDF4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40" name="Star: 5 Points 239">
              <a:extLst>
                <a:ext uri="{FF2B5EF4-FFF2-40B4-BE49-F238E27FC236}">
                  <a16:creationId xmlns:a16="http://schemas.microsoft.com/office/drawing/2014/main" id="{4192C560-E525-47B8-B4CA-92A40D2A009E}"/>
                </a:ext>
              </a:extLst>
            </p:cNvPr>
            <p:cNvSpPr/>
            <p:nvPr/>
          </p:nvSpPr>
          <p:spPr>
            <a:xfrm>
              <a:off x="2847762" y="1851568"/>
              <a:ext cx="118534" cy="110067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723A5A24-5E47-462E-996C-A6AB65302A65}"/>
              </a:ext>
            </a:extLst>
          </p:cNvPr>
          <p:cNvCxnSpPr/>
          <p:nvPr/>
        </p:nvCxnSpPr>
        <p:spPr>
          <a:xfrm>
            <a:off x="2950449" y="3241896"/>
            <a:ext cx="0" cy="266700"/>
          </a:xfrm>
          <a:prstGeom prst="straightConnector1">
            <a:avLst/>
          </a:prstGeom>
          <a:ln w="38100" cmpd="sng">
            <a:solidFill>
              <a:schemeClr val="tx2">
                <a:lumMod val="75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D39254-0924-4B34-8EAA-05DE5D167C75}"/>
              </a:ext>
            </a:extLst>
          </p:cNvPr>
          <p:cNvGrpSpPr/>
          <p:nvPr/>
        </p:nvGrpSpPr>
        <p:grpSpPr>
          <a:xfrm>
            <a:off x="2674916" y="3506689"/>
            <a:ext cx="516875" cy="444225"/>
            <a:chOff x="3924241" y="3035653"/>
            <a:chExt cx="516875" cy="444225"/>
          </a:xfrm>
        </p:grpSpPr>
        <p:grpSp>
          <p:nvGrpSpPr>
            <p:cNvPr id="245" name="Group 17">
              <a:extLst>
                <a:ext uri="{FF2B5EF4-FFF2-40B4-BE49-F238E27FC236}">
                  <a16:creationId xmlns:a16="http://schemas.microsoft.com/office/drawing/2014/main" id="{CFEE643B-A8C1-44EE-86DB-26B932293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47" name="Oval 42">
                <a:extLst>
                  <a:ext uri="{FF2B5EF4-FFF2-40B4-BE49-F238E27FC236}">
                    <a16:creationId xmlns:a16="http://schemas.microsoft.com/office/drawing/2014/main" id="{773E810E-6348-4235-BB0D-8379721C90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48" name="Oval 44">
                <a:extLst>
                  <a:ext uri="{FF2B5EF4-FFF2-40B4-BE49-F238E27FC236}">
                    <a16:creationId xmlns:a16="http://schemas.microsoft.com/office/drawing/2014/main" id="{D8C9C74F-EB91-4AEE-BB26-563B01F19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46" name="Star: 5 Points 245">
              <a:extLst>
                <a:ext uri="{FF2B5EF4-FFF2-40B4-BE49-F238E27FC236}">
                  <a16:creationId xmlns:a16="http://schemas.microsoft.com/office/drawing/2014/main" id="{A0BC45C1-BFBC-4003-9E09-DBA6ABFDD089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Star: 5 Points 248">
              <a:extLst>
                <a:ext uri="{FF2B5EF4-FFF2-40B4-BE49-F238E27FC236}">
                  <a16:creationId xmlns:a16="http://schemas.microsoft.com/office/drawing/2014/main" id="{962DDF0D-7EC5-4EEF-9DF1-C7FAA0945827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CCAC127B-F124-45D0-BD18-4C21E0B8A044}"/>
              </a:ext>
            </a:extLst>
          </p:cNvPr>
          <p:cNvGrpSpPr/>
          <p:nvPr/>
        </p:nvGrpSpPr>
        <p:grpSpPr>
          <a:xfrm>
            <a:off x="3224314" y="3963361"/>
            <a:ext cx="516875" cy="444225"/>
            <a:chOff x="3924241" y="3035653"/>
            <a:chExt cx="516875" cy="444225"/>
          </a:xfrm>
        </p:grpSpPr>
        <p:grpSp>
          <p:nvGrpSpPr>
            <p:cNvPr id="318" name="Group 17">
              <a:extLst>
                <a:ext uri="{FF2B5EF4-FFF2-40B4-BE49-F238E27FC236}">
                  <a16:creationId xmlns:a16="http://schemas.microsoft.com/office/drawing/2014/main" id="{DA5954C7-578A-4444-A87D-6C26E976EFA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21" name="Oval 42">
                <a:extLst>
                  <a:ext uri="{FF2B5EF4-FFF2-40B4-BE49-F238E27FC236}">
                    <a16:creationId xmlns:a16="http://schemas.microsoft.com/office/drawing/2014/main" id="{D6D24CBE-54A0-407C-8E37-26C76FACC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22" name="Oval 44">
                <a:extLst>
                  <a:ext uri="{FF2B5EF4-FFF2-40B4-BE49-F238E27FC236}">
                    <a16:creationId xmlns:a16="http://schemas.microsoft.com/office/drawing/2014/main" id="{A029A610-7C38-470A-A011-BCC7B8690B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19" name="Star: 5 Points 318">
              <a:extLst>
                <a:ext uri="{FF2B5EF4-FFF2-40B4-BE49-F238E27FC236}">
                  <a16:creationId xmlns:a16="http://schemas.microsoft.com/office/drawing/2014/main" id="{E05F68A6-9EE6-4C76-B8EA-DCB68F57B3CF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Star: 5 Points 319">
              <a:extLst>
                <a:ext uri="{FF2B5EF4-FFF2-40B4-BE49-F238E27FC236}">
                  <a16:creationId xmlns:a16="http://schemas.microsoft.com/office/drawing/2014/main" id="{B1FB9776-6BFE-4C7C-8B71-3D60315339B1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67186441-7AC1-49AF-8D16-6E478E8F66E6}"/>
              </a:ext>
            </a:extLst>
          </p:cNvPr>
          <p:cNvGrpSpPr/>
          <p:nvPr/>
        </p:nvGrpSpPr>
        <p:grpSpPr>
          <a:xfrm>
            <a:off x="3230253" y="4421793"/>
            <a:ext cx="516875" cy="444225"/>
            <a:chOff x="3924241" y="3035653"/>
            <a:chExt cx="516875" cy="444225"/>
          </a:xfrm>
        </p:grpSpPr>
        <p:grpSp>
          <p:nvGrpSpPr>
            <p:cNvPr id="313" name="Group 17">
              <a:extLst>
                <a:ext uri="{FF2B5EF4-FFF2-40B4-BE49-F238E27FC236}">
                  <a16:creationId xmlns:a16="http://schemas.microsoft.com/office/drawing/2014/main" id="{BEC6F2FA-CA15-4F1E-9118-F16906B81E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16" name="Oval 42">
                <a:extLst>
                  <a:ext uri="{FF2B5EF4-FFF2-40B4-BE49-F238E27FC236}">
                    <a16:creationId xmlns:a16="http://schemas.microsoft.com/office/drawing/2014/main" id="{0957E92D-BFA8-4941-9769-CBF02DFD6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17" name="Oval 44">
                <a:extLst>
                  <a:ext uri="{FF2B5EF4-FFF2-40B4-BE49-F238E27FC236}">
                    <a16:creationId xmlns:a16="http://schemas.microsoft.com/office/drawing/2014/main" id="{EB698664-7F5F-402F-9195-F564A61B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14" name="Star: 5 Points 313">
              <a:extLst>
                <a:ext uri="{FF2B5EF4-FFF2-40B4-BE49-F238E27FC236}">
                  <a16:creationId xmlns:a16="http://schemas.microsoft.com/office/drawing/2014/main" id="{DF8473F6-0826-4D7B-AEB8-EB0B45AC2BA5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Star: 5 Points 314">
              <a:extLst>
                <a:ext uri="{FF2B5EF4-FFF2-40B4-BE49-F238E27FC236}">
                  <a16:creationId xmlns:a16="http://schemas.microsoft.com/office/drawing/2014/main" id="{A78957FC-BC39-4D4D-96D5-6969C4605932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7F6BF8F1-6ABF-4316-9F1B-F61497EDFB41}"/>
              </a:ext>
            </a:extLst>
          </p:cNvPr>
          <p:cNvGrpSpPr/>
          <p:nvPr/>
        </p:nvGrpSpPr>
        <p:grpSpPr>
          <a:xfrm>
            <a:off x="2674916" y="3963361"/>
            <a:ext cx="516875" cy="444225"/>
            <a:chOff x="3924241" y="3035653"/>
            <a:chExt cx="516875" cy="444225"/>
          </a:xfrm>
        </p:grpSpPr>
        <p:grpSp>
          <p:nvGrpSpPr>
            <p:cNvPr id="308" name="Group 17">
              <a:extLst>
                <a:ext uri="{FF2B5EF4-FFF2-40B4-BE49-F238E27FC236}">
                  <a16:creationId xmlns:a16="http://schemas.microsoft.com/office/drawing/2014/main" id="{C0F350A3-986B-4591-AC9A-2E5B15981C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11" name="Oval 42">
                <a:extLst>
                  <a:ext uri="{FF2B5EF4-FFF2-40B4-BE49-F238E27FC236}">
                    <a16:creationId xmlns:a16="http://schemas.microsoft.com/office/drawing/2014/main" id="{AA916CC6-9F75-44B4-AF68-FDF513ACE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12" name="Oval 44">
                <a:extLst>
                  <a:ext uri="{FF2B5EF4-FFF2-40B4-BE49-F238E27FC236}">
                    <a16:creationId xmlns:a16="http://schemas.microsoft.com/office/drawing/2014/main" id="{F9DBDBEB-B812-4A07-9BEC-89E78A762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09" name="Star: 5 Points 308">
              <a:extLst>
                <a:ext uri="{FF2B5EF4-FFF2-40B4-BE49-F238E27FC236}">
                  <a16:creationId xmlns:a16="http://schemas.microsoft.com/office/drawing/2014/main" id="{0FB321D1-0F04-416C-A724-5D93A31332CD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Star: 5 Points 309">
              <a:extLst>
                <a:ext uri="{FF2B5EF4-FFF2-40B4-BE49-F238E27FC236}">
                  <a16:creationId xmlns:a16="http://schemas.microsoft.com/office/drawing/2014/main" id="{BD110FDE-8DB7-409F-AC76-8A2D3F7E22E7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A6F831BC-EBEA-49DF-8495-E5ED3D042220}"/>
              </a:ext>
            </a:extLst>
          </p:cNvPr>
          <p:cNvGrpSpPr/>
          <p:nvPr/>
        </p:nvGrpSpPr>
        <p:grpSpPr>
          <a:xfrm>
            <a:off x="2134085" y="3963361"/>
            <a:ext cx="516875" cy="444225"/>
            <a:chOff x="3924241" y="3035653"/>
            <a:chExt cx="516875" cy="444225"/>
          </a:xfrm>
        </p:grpSpPr>
        <p:grpSp>
          <p:nvGrpSpPr>
            <p:cNvPr id="303" name="Group 17">
              <a:extLst>
                <a:ext uri="{FF2B5EF4-FFF2-40B4-BE49-F238E27FC236}">
                  <a16:creationId xmlns:a16="http://schemas.microsoft.com/office/drawing/2014/main" id="{B52FC94F-FD41-41CF-A9C9-476BF97DD3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06" name="Oval 42">
                <a:extLst>
                  <a:ext uri="{FF2B5EF4-FFF2-40B4-BE49-F238E27FC236}">
                    <a16:creationId xmlns:a16="http://schemas.microsoft.com/office/drawing/2014/main" id="{F5B0F2E2-B298-40A4-AC34-42149FD1ED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07" name="Oval 44">
                <a:extLst>
                  <a:ext uri="{FF2B5EF4-FFF2-40B4-BE49-F238E27FC236}">
                    <a16:creationId xmlns:a16="http://schemas.microsoft.com/office/drawing/2014/main" id="{C0DF25AA-3618-4FA7-AC1C-DC39505BE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304" name="Star: 5 Points 303">
              <a:extLst>
                <a:ext uri="{FF2B5EF4-FFF2-40B4-BE49-F238E27FC236}">
                  <a16:creationId xmlns:a16="http://schemas.microsoft.com/office/drawing/2014/main" id="{FFC0DE4C-C679-4586-BA26-2AE1007630EE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Star: 5 Points 304">
              <a:extLst>
                <a:ext uri="{FF2B5EF4-FFF2-40B4-BE49-F238E27FC236}">
                  <a16:creationId xmlns:a16="http://schemas.microsoft.com/office/drawing/2014/main" id="{E60E7BD8-6013-469D-81BF-D8A9A8380B1B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2BB3C9AE-7E6B-41E6-8B38-15B37D1A13EB}"/>
              </a:ext>
            </a:extLst>
          </p:cNvPr>
          <p:cNvGrpSpPr/>
          <p:nvPr/>
        </p:nvGrpSpPr>
        <p:grpSpPr>
          <a:xfrm>
            <a:off x="2134085" y="4421793"/>
            <a:ext cx="516875" cy="444225"/>
            <a:chOff x="3924241" y="3035653"/>
            <a:chExt cx="516875" cy="444225"/>
          </a:xfrm>
        </p:grpSpPr>
        <p:grpSp>
          <p:nvGrpSpPr>
            <p:cNvPr id="298" name="Group 17">
              <a:extLst>
                <a:ext uri="{FF2B5EF4-FFF2-40B4-BE49-F238E27FC236}">
                  <a16:creationId xmlns:a16="http://schemas.microsoft.com/office/drawing/2014/main" id="{1F76A36F-6C8A-4E1A-B278-363B8035E19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301" name="Oval 42">
                <a:extLst>
                  <a:ext uri="{FF2B5EF4-FFF2-40B4-BE49-F238E27FC236}">
                    <a16:creationId xmlns:a16="http://schemas.microsoft.com/office/drawing/2014/main" id="{1CB8BFEB-8F41-46AB-85F8-36E6B884CD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02" name="Oval 44">
                <a:extLst>
                  <a:ext uri="{FF2B5EF4-FFF2-40B4-BE49-F238E27FC236}">
                    <a16:creationId xmlns:a16="http://schemas.microsoft.com/office/drawing/2014/main" id="{C4507D43-0A22-4337-98F5-D738DD8BA3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99" name="Star: 5 Points 298">
              <a:extLst>
                <a:ext uri="{FF2B5EF4-FFF2-40B4-BE49-F238E27FC236}">
                  <a16:creationId xmlns:a16="http://schemas.microsoft.com/office/drawing/2014/main" id="{43473A96-A103-4911-8811-DEF779C4A134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Star: 5 Points 299">
              <a:extLst>
                <a:ext uri="{FF2B5EF4-FFF2-40B4-BE49-F238E27FC236}">
                  <a16:creationId xmlns:a16="http://schemas.microsoft.com/office/drawing/2014/main" id="{7680D3FD-47CF-47AB-B178-44E46E565A1B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EBE9FD28-7FE0-445C-A4D7-5203B8629143}"/>
              </a:ext>
            </a:extLst>
          </p:cNvPr>
          <p:cNvGrpSpPr/>
          <p:nvPr/>
        </p:nvGrpSpPr>
        <p:grpSpPr>
          <a:xfrm>
            <a:off x="2674916" y="4421793"/>
            <a:ext cx="516875" cy="444225"/>
            <a:chOff x="3924241" y="3035653"/>
            <a:chExt cx="516875" cy="444225"/>
          </a:xfrm>
        </p:grpSpPr>
        <p:grpSp>
          <p:nvGrpSpPr>
            <p:cNvPr id="293" name="Group 17">
              <a:extLst>
                <a:ext uri="{FF2B5EF4-FFF2-40B4-BE49-F238E27FC236}">
                  <a16:creationId xmlns:a16="http://schemas.microsoft.com/office/drawing/2014/main" id="{321CF0B7-261A-4155-B483-9D05E17176C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4241" y="3035653"/>
              <a:ext cx="516875" cy="444225"/>
              <a:chOff x="3353974" y="2066386"/>
              <a:chExt cx="623081" cy="442993"/>
            </a:xfrm>
            <a:solidFill>
              <a:schemeClr val="accent1"/>
            </a:solidFill>
          </p:grpSpPr>
          <p:sp>
            <p:nvSpPr>
              <p:cNvPr id="296" name="Oval 42">
                <a:extLst>
                  <a:ext uri="{FF2B5EF4-FFF2-40B4-BE49-F238E27FC236}">
                    <a16:creationId xmlns:a16="http://schemas.microsoft.com/office/drawing/2014/main" id="{E32351D0-40BE-4B68-BD0E-0425D085F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3974" y="2066386"/>
                <a:ext cx="623081" cy="442993"/>
              </a:xfrm>
              <a:prstGeom prst="ellipse">
                <a:avLst/>
              </a:prstGeom>
              <a:grpFill/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97" name="Oval 44">
                <a:extLst>
                  <a:ext uri="{FF2B5EF4-FFF2-40B4-BE49-F238E27FC236}">
                    <a16:creationId xmlns:a16="http://schemas.microsoft.com/office/drawing/2014/main" id="{2F160CA4-9303-4DDA-BA18-E63D7069C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531" y="2169120"/>
                <a:ext cx="358354" cy="22503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rgbClr val="CDCDCF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Wingdings" pitchFamily="2" charset="2"/>
                  <a:buChar char="§"/>
                  <a:defRPr sz="2400">
                    <a:solidFill>
                      <a:srgbClr val="FEFDDE"/>
                    </a:solidFill>
                    <a:latin typeface="Arial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200">
                    <a:solidFill>
                      <a:srgbClr val="FEFDDE"/>
                    </a:solidFill>
                    <a:latin typeface="Arial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2000">
                    <a:solidFill>
                      <a:srgbClr val="FEFDDE"/>
                    </a:solidFill>
                    <a:latin typeface="Arial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>
                    <a:solidFill>
                      <a:srgbClr val="FEFDDE"/>
                    </a:solidFill>
                    <a:latin typeface="Arial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8B3D9A"/>
                  </a:buClr>
                  <a:buFont typeface="Arial" charset="0"/>
                  <a:buChar char="–"/>
                  <a:defRPr sz="1600">
                    <a:solidFill>
                      <a:srgbClr val="FEFDDE"/>
                    </a:solidFill>
                    <a:latin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00" b="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94" name="Star: 5 Points 293">
              <a:extLst>
                <a:ext uri="{FF2B5EF4-FFF2-40B4-BE49-F238E27FC236}">
                  <a16:creationId xmlns:a16="http://schemas.microsoft.com/office/drawing/2014/main" id="{1D90C984-F182-4E4A-BDDC-0AA4459121ED}"/>
                </a:ext>
              </a:extLst>
            </p:cNvPr>
            <p:cNvSpPr/>
            <p:nvPr/>
          </p:nvSpPr>
          <p:spPr>
            <a:xfrm>
              <a:off x="4041266" y="3183707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Star: 5 Points 294">
              <a:extLst>
                <a:ext uri="{FF2B5EF4-FFF2-40B4-BE49-F238E27FC236}">
                  <a16:creationId xmlns:a16="http://schemas.microsoft.com/office/drawing/2014/main" id="{3A206C28-96AB-4422-B139-920EACE7EA92}"/>
                </a:ext>
              </a:extLst>
            </p:cNvPr>
            <p:cNvSpPr/>
            <p:nvPr/>
          </p:nvSpPr>
          <p:spPr>
            <a:xfrm rot="20801434">
              <a:off x="4147998" y="3207201"/>
              <a:ext cx="105257" cy="97739"/>
            </a:xfrm>
            <a:prstGeom prst="star5">
              <a:avLst/>
            </a:pr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1D0EE7A-8242-E543-8A16-B6C3C02BC5DC}"/>
              </a:ext>
            </a:extLst>
          </p:cNvPr>
          <p:cNvCxnSpPr>
            <a:cxnSpLocks/>
            <a:stCxn id="35" idx="4"/>
            <a:endCxn id="3" idx="1"/>
          </p:cNvCxnSpPr>
          <p:nvPr/>
        </p:nvCxnSpPr>
        <p:spPr>
          <a:xfrm flipV="1">
            <a:off x="2365603" y="2129506"/>
            <a:ext cx="2641040" cy="159584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E4F87490-D3FA-4D7B-B650-E2FE00DFADE2}"/>
              </a:ext>
            </a:extLst>
          </p:cNvPr>
          <p:cNvCxnSpPr>
            <a:cxnSpLocks/>
            <a:stCxn id="249" idx="4"/>
            <a:endCxn id="79" idx="1"/>
          </p:cNvCxnSpPr>
          <p:nvPr/>
        </p:nvCxnSpPr>
        <p:spPr>
          <a:xfrm flipV="1">
            <a:off x="2999861" y="3623044"/>
            <a:ext cx="6951936" cy="8072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977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8"/>
  <p:tag name="MMPROD_UIDATA" val="&lt;database version=&quot;6.0&quot;&gt;&lt;object type=&quot;1&quot; unique_id=&quot;10001&quot;&gt;&lt;object type=&quot;8&quot; unique_id=&quot;10002&quot;&gt;&lt;/object&gt;&lt;object type=&quot;2&quot; unique_id=&quot;10003&quot;&gt;&lt;object type=&quot;3&quot; unique_id=&quot;10005&quot;&gt;&lt;property id=&quot;20148&quot; value=&quot;5&quot;/&gt;&lt;property id=&quot;20300&quot; value=&quot;Slide 3 - &amp;quot;Title-Arial-36-Bold-Yellow. Title may continue on 2 lines keep text at 36pt&amp;quot;&quot;/&gt;&lt;property id=&quot;20307&quot; value=&quot;257&quot;/&gt;&lt;/object&gt;&lt;object type=&quot;3&quot; unique_id=&quot;10006&quot;&gt;&lt;property id=&quot;20148&quot; value=&quot;5&quot;/&gt;&lt;property id=&quot;20300&quot; value=&quot;Slide 4 - &amp;quot;Text and Margin Consistency&amp;quot;&quot;/&gt;&lt;property id=&quot;20307&quot; value=&quot;267&quot;/&gt;&lt;/object&gt;&lt;object type=&quot;3&quot; unique_id=&quot;10007&quot;&gt;&lt;property id=&quot;20148&quot; value=&quot;5&quot;/&gt;&lt;property id=&quot;20300&quot; value=&quot;Slide 5 - &amp;quot;Transition Title &amp;#x0D;&amp;#x0A;for next topic of discussion &amp;#x0D;&amp;#x0A;or can be used as closer slide &amp;#x0D;&amp;#x0A;(ie: Q&amp;amp;A)&amp;#x0D;&amp;#x0A;(Arial-40-Bold-White-Cent&quot;/&gt;&lt;property id=&quot;20307&quot; value=&quot;261&quot;/&gt;&lt;/object&gt;&lt;object type=&quot;3&quot; unique_id=&quot;10008&quot;&gt;&lt;property id=&quot;20148&quot; value=&quot;5&quot;/&gt;&lt;property id=&quot;20300&quot; value=&quot;Slide 6 - &amp;quot;RGB Pallet&amp;quot;&quot;/&gt;&lt;property id=&quot;20307&quot; value=&quot;258&quot;/&gt;&lt;/object&gt;&lt;object type=&quot;3&quot; unique_id=&quot;10009&quot;&gt;&lt;property id=&quot;20148&quot; value=&quot;5&quot;/&gt;&lt;property id=&quot;20300&quot; value=&quot;Slide 7 - &amp;quot;Example Graph&amp;quot;&quot;/&gt;&lt;property id=&quot;20307&quot; value=&quot;286&quot;/&gt;&lt;/object&gt;&lt;object type=&quot;3&quot; unique_id=&quot;10010&quot;&gt;&lt;property id=&quot;20148&quot; value=&quot;5&quot;/&gt;&lt;property id=&quot;20300&quot; value=&quot;Slide 8 - &amp;quot;Example Graph and Text&amp;quot;&quot;/&gt;&lt;property id=&quot;20307&quot; value=&quot;288&quot;/&gt;&lt;/object&gt;&lt;object type=&quot;3&quot; unique_id=&quot;10011&quot;&gt;&lt;property id=&quot;20148&quot; value=&quot;5&quot;/&gt;&lt;property id=&quot;20300&quot; value=&quot;Slide 9 - &amp;quot;Example Line Graph&amp;quot;&quot;/&gt;&lt;property id=&quot;20307&quot; value=&quot;287&quot;/&gt;&lt;/object&gt;&lt;object type=&quot;3&quot; unique_id=&quot;10012&quot;&gt;&lt;property id=&quot;20148&quot; value=&quot;5&quot;/&gt;&lt;property id=&quot;20300&quot; value=&quot;Slide 10 - &amp;quot;Example Line Graph with Data Values&amp;quot;&quot;/&gt;&lt;property id=&quot;20307&quot; value=&quot;292&quot;/&gt;&lt;/object&gt;&lt;object type=&quot;3&quot; unique_id=&quot;10013&quot;&gt;&lt;property id=&quot;20148&quot; value=&quot;5&quot;/&gt;&lt;property id=&quot;20300&quot; value=&quot;Slide 11 - &amp;quot;Example Line Graph with Color &amp;#x0D;&amp;#x0A;Data Values&amp;quot;&quot;/&gt;&lt;property id=&quot;20307&quot; value=&quot;309&quot;/&gt;&lt;/object&gt;&lt;object type=&quot;3&quot; unique_id=&quot;10014&quot;&gt;&lt;property id=&quot;20148&quot; value=&quot;5&quot;/&gt;&lt;property id=&quot;20300&quot; value=&quot;Slide 12 - &amp;quot;Example Schematic&amp;quot;&quot;/&gt;&lt;property id=&quot;20307&quot; value=&quot;262&quot;/&gt;&lt;/object&gt;&lt;object type=&quot;3&quot; unique_id=&quot;10015&quot;&gt;&lt;property id=&quot;20148&quot; value=&quot;5&quot;/&gt;&lt;property id=&quot;20300&quot; value=&quot;Slide 13 - &amp;quot;Example Schematic Continued&amp;quot;&quot;/&gt;&lt;property id=&quot;20307&quot; value=&quot;263&quot;/&gt;&lt;/object&gt;&lt;object type=&quot;3&quot; unique_id=&quot;10016&quot;&gt;&lt;property id=&quot;20148&quot; value=&quot;5&quot;/&gt;&lt;property id=&quot;20300&quot; value=&quot;Slide 14 - &amp;quot;Example Tables&amp;quot;&quot;/&gt;&lt;property id=&quot;20307&quot; value=&quot;311&quot;/&gt;&lt;/object&gt;&lt;object type=&quot;3&quot; unique_id=&quot;10017&quot;&gt;&lt;property id=&quot;20148&quot; value=&quot;5&quot;/&gt;&lt;property id=&quot;20300&quot; value=&quot;Slide 15 - &amp;quot;Example Tables Continued&amp;quot;&quot;/&gt;&lt;property id=&quot;20307&quot; value=&quot;312&quot;/&gt;&lt;/object&gt;&lt;object type=&quot;3&quot; unique_id=&quot;10018&quot;&gt;&lt;property id=&quot;20148&quot; value=&quot;5&quot;/&gt;&lt;property id=&quot;20300&quot; value=&quot;Slide 16 - &amp;quot;Example Tables Continued&amp;quot;&quot;/&gt;&lt;property id=&quot;20307&quot; value=&quot;313&quot;/&gt;&lt;/object&gt;&lt;object type=&quot;3&quot; unique_id=&quot;10019&quot;&gt;&lt;property id=&quot;20148&quot; value=&quot;5&quot;/&gt;&lt;property id=&quot;20300&quot; value=&quot;Slide 17 - &amp;quot;Example Tables Continued&amp;quot;&quot;/&gt;&lt;property id=&quot;20307&quot; value=&quot;314&quot;/&gt;&lt;/object&gt;&lt;object type=&quot;3&quot; unique_id=&quot;10020&quot;&gt;&lt;property id=&quot;20148&quot; value=&quot;5&quot;/&gt;&lt;property id=&quot;20300&quot; value=&quot;Slide 21 - &amp;quot;Additional Formatting Notes&amp;quot;&quot;/&gt;&lt;property id=&quot;20307&quot; value=&quot;270&quot;/&gt;&lt;/object&gt;&lt;object type=&quot;3&quot; unique_id=&quot;10021&quot;&gt;&lt;property id=&quot;20148&quot; value=&quot;5&quot;/&gt;&lt;property id=&quot;20300&quot; value=&quot;Slide 22 - &amp;quot;“Polish Stage” Notes&amp;quot;&quot;/&gt;&lt;property id=&quot;20307&quot; value=&quot;272&quot;/&gt;&lt;/object&gt;&lt;object type=&quot;3&quot; unique_id=&quot;10022&quot;&gt;&lt;property id=&quot;20148&quot; value=&quot;5&quot;/&gt;&lt;property id=&quot;20300&quot; value=&quot;Slide 23 - &amp;quot;For Black and White Print Slides&amp;quot;&quot;/&gt;&lt;property id=&quot;20307&quot; value=&quot;290&quot;/&gt;&lt;/object&gt;&lt;object type=&quot;3&quot; unique_id=&quot;10023&quot;&gt;&lt;property id=&quot;20148&quot; value=&quot;5&quot;/&gt;&lt;property id=&quot;20300&quot; value=&quot;Slide 24 - &amp;quot;For Black and White Print Slides&amp;quot;&quot;/&gt;&lt;property id=&quot;20307&quot; value=&quot;291&quot;/&gt;&lt;/object&gt;&lt;object type=&quot;3&quot; unique_id=&quot;10024&quot;&gt;&lt;property id=&quot;20148&quot; value=&quot;5&quot;/&gt;&lt;property id=&quot;20300&quot; value=&quot;Slide 25 - &amp;quot;CME Slides for Designer and Editorial Reference…&amp;quot;&quot;/&gt;&lt;property id=&quot;20307&quot; value=&quot;273&quot;/&gt;&lt;/object&gt;&lt;object type=&quot;3&quot; unique_id=&quot;10025&quot;&gt;&lt;property id=&quot;20148&quot; value=&quot;5&quot;/&gt;&lt;property id=&quot;20300&quot; value=&quot;Slide 26 - &amp;quot;About These Slides&amp;quot;&quot;/&gt;&lt;property id=&quot;20307&quot; value=&quot;308&quot;/&gt;&lt;/object&gt;&lt;object type=&quot;3&quot; unique_id=&quot;10026&quot;&gt;&lt;property id=&quot;20148&quot; value=&quot;5&quot;/&gt;&lt;property id=&quot;20300&quot; value=&quot;Slide 27 - &amp;quot;Faculty&amp;quot;&quot;/&gt;&lt;property id=&quot;20307&quot; value=&quot;294&quot;/&gt;&lt;/object&gt;&lt;object type=&quot;3&quot; unique_id=&quot;10027&quot;&gt;&lt;property id=&quot;20148&quot; value=&quot;5&quot;/&gt;&lt;property id=&quot;20300&quot; value=&quot;Slide 28 - &amp;quot;Disclosure of Conflicts of Interest&amp;quot;&quot;/&gt;&lt;property id=&quot;20307&quot; value=&quot;295&quot;/&gt;&lt;/object&gt;&lt;object type=&quot;3&quot; unique_id=&quot;10028&quot;&gt;&lt;property id=&quot;20148&quot; value=&quot;5&quot;/&gt;&lt;property id=&quot;20300&quot; value=&quot;Slide 29 - &amp;quot;Disclosures&amp;quot;&quot;/&gt;&lt;property id=&quot;20307&quot; value=&quot;296&quot;/&gt;&lt;/object&gt;&lt;object type=&quot;3&quot; unique_id=&quot;10029&quot;&gt;&lt;property id=&quot;20148&quot; value=&quot;5&quot;/&gt;&lt;property id=&quot;20300&quot; value=&quot;Slide 30 - &amp;quot;Disclosure of Unlabeled Use&amp;quot;&quot;/&gt;&lt;property id=&quot;20307&quot; value=&quot;297&quot;/&gt;&lt;/object&gt;&lt;object type=&quot;3&quot; unique_id=&quot;10030&quot;&gt;&lt;property id=&quot;20148&quot; value=&quot;5&quot;/&gt;&lt;property id=&quot;20300&quot; value=&quot;Slide 31&quot;/&gt;&lt;property id=&quot;20307&quot; value=&quot;298&quot;/&gt;&lt;/object&gt;&lt;object type=&quot;3&quot; unique_id=&quot;10031&quot;&gt;&lt;property id=&quot;20148&quot; value=&quot;5&quot;/&gt;&lt;property id=&quot;20300&quot; value=&quot;Slide 32 - &amp;quot;Physician Continuing Medical Education&amp;quot;&quot;/&gt;&lt;property id=&quot;20307&quot; value=&quot;299&quot;/&gt;&lt;/object&gt;&lt;object type=&quot;3&quot; unique_id=&quot;10032&quot;&gt;&lt;property id=&quot;20148&quot; value=&quot;5&quot;/&gt;&lt;property id=&quot;20300&quot; value=&quot;Slide 33 - &amp;quot;Pharmacist Continuing Education&amp;quot;&quot;/&gt;&lt;property id=&quot;20307&quot; value=&quot;300&quot;/&gt;&lt;/object&gt;&lt;object type=&quot;3&quot; unique_id=&quot;10033&quot;&gt;&lt;property id=&quot;20148&quot; value=&quot;5&quot;/&gt;&lt;property id=&quot;20300&quot; value=&quot;Slide 34 - &amp;quot;Nursing Continuing Education&amp;quot;&quot;/&gt;&lt;property id=&quot;20307&quot; value=&quot;301&quot;/&gt;&lt;/object&gt;&lt;object type=&quot;3&quot; unique_id=&quot;10034&quot;&gt;&lt;property id=&quot;20148&quot; value=&quot;5&quot;/&gt;&lt;property id=&quot;20300&quot; value=&quot;Slide 35 - &amp;quot;Please review the following important &amp;#x0D;&amp;#x0A;CME information in your handout&amp;quot;&quot;/&gt;&lt;property id=&quot;20307&quot; value=&quot;310&quot;/&gt;&lt;/object&gt;&lt;object type=&quot;3&quot; unique_id=&quot;10036&quot;&gt;&lt;property id=&quot;20148&quot; value=&quot;5&quot;/&gt;&lt;property id=&quot;20300&quot; value=&quot;Slide 37 - &amp;quot;Instructions for Credit&amp;quot;&quot;/&gt;&lt;property id=&quot;20307&quot; value=&quot;303&quot;/&gt;&lt;/object&gt;&lt;object type=&quot;3&quot; unique_id=&quot;10037&quot;&gt;&lt;property id=&quot;20148&quot; value=&quot;5&quot;/&gt;&lt;property id=&quot;20300&quot; value=&quot;Slide 38 - &amp;quot;Now Take the Test . . .&amp;quot;&quot;/&gt;&lt;property id=&quot;20307&quot; value=&quot;304&quot;/&gt;&lt;/object&gt;&lt;object type=&quot;3&quot; unique_id=&quot;10040&quot;&gt;&lt;property id=&quot;20148&quot; value=&quot;5&quot;/&gt;&lt;property id=&quot;20300&quot; value=&quot;Slide 39 - &amp;quot;General Information&amp;quot;&quot;/&gt;&lt;property id=&quot;20307&quot; value=&quot;315&quot;/&gt;&lt;/object&gt;&lt;object type=&quot;3&quot; unique_id=&quot;10041&quot;&gt;&lt;property id=&quot;20148&quot; value=&quot;5&quot;/&gt;&lt;property id=&quot;20300&quot; value=&quot;Slide 40 - &amp;quot;Please review the slide notes &amp;#x0D;&amp;#x0A;for analysis of each study &amp;#x0D;&amp;#x0A;by expert faculty &amp;lt;Insert Name, MD&amp;gt;, &amp;#x0D;&amp;#x0A;and &amp;lt;Insert Name,&quot;/&gt;&lt;property id=&quot;20307&quot; value=&quot;316&quot;/&gt;&lt;/object&gt;&lt;object type=&quot;3&quot; unique_id=&quot;10042&quot;&gt;&lt;property id=&quot;20148&quot; value=&quot;5&quot;/&gt;&lt;property id=&quot;20300&quot; value=&quot;Slide 41 - &amp;quot;Promo Slide Reference&amp;#x0D;&amp;#x0A;(Placed as the last slide in a slideset, &amp;#x0D;&amp;#x0A;if requested)&amp;quot;&quot;/&gt;&lt;property id=&quot;20307&quot; value=&quot;307&quot;/&gt;&lt;/object&gt;&lt;object type=&quot;3&quot; unique_id=&quot;12121&quot;&gt;&lt;property id=&quot;20148&quot; value=&quot;5&quot;/&gt;&lt;property id=&quot;20300&quot; value=&quot;Slide 36 - &amp;quot;Disclaimer&amp;quot;&quot;/&gt;&lt;property id=&quot;20307&quot; value=&quot;317&quot;/&gt;&lt;/object&gt;&lt;object type=&quot;3&quot; unique_id=&quot;12122&quot;&gt;&lt;property id=&quot;20148&quot; value=&quot;5&quot;/&gt;&lt;property id=&quot;20300&quot; value=&quot;Slide 1 - &amp;quot;Title of the program and will possibly take &amp;#x0D;&amp;#x0A;up three lines. It is presented in Arial-39-Bold-White.&amp;quot;&quot;/&gt;&lt;property id=&quot;20307&quot; value=&quot;321&quot;/&gt;&lt;/object&gt;&lt;object type=&quot;3&quot; unique_id=&quot;12123&quot;&gt;&lt;property id=&quot;20148&quot; value=&quot;5&quot;/&gt;&lt;property id=&quot;20300&quot; value=&quot;Slide 2 - &amp;quot;Title of the program and will possibly take up three lines. It is presented in Arial-39-Bold-White.&amp;quot;&quot;/&gt;&lt;property id=&quot;20307&quot; value=&quot;322&quot;/&gt;&lt;/object&gt;&lt;object type=&quot;3&quot; unique_id=&quot;12124&quot;&gt;&lt;property id=&quot;20148&quot; value=&quot;5&quot;/&gt;&lt;property id=&quot;20300&quot; value=&quot;Slide 18 - &amp;quot;Outcomes Analysis: What Did You Learn?&amp;quot;&quot;/&gt;&lt;property id=&quot;20307&quot; value=&quot;324&quot;/&gt;&lt;/object&gt;&lt;object type=&quot;3&quot; unique_id=&quot;12125&quot;&gt;&lt;property id=&quot;20148&quot; value=&quot;5&quot;/&gt;&lt;property id=&quot;20300&quot; value=&quot;Slide 19 - &amp;quot;Outcomes Questions&amp;quot;&quot;/&gt;&lt;property id=&quot;20307&quot; value=&quot;320&quot;/&gt;&lt;/object&gt;&lt;object type=&quot;3&quot; unique_id=&quot;12126&quot;&gt;&lt;property id=&quot;20148&quot; value=&quot;5&quot;/&gt;&lt;property id=&quot;20300&quot; value=&quot;Slide 20 - &amp;quot;How many patients with XXX do you provide care for in a typical week?&amp;quot;&quot;/&gt;&lt;property id=&quot;20307&quot; value=&quot;323&quot;/&gt;&lt;/object&gt;&lt;object type=&quot;3&quot; unique_id=&quot;12127&quot;&gt;&lt;property id=&quot;20148&quot; value=&quot;5&quot;/&gt;&lt;property id=&quot;20300&quot; value=&quot;Slide 42 - &amp;quot;Go Online for More CCO &amp;#x0D;&amp;#x0A;Coverage of XXXXXXXXXXXX!&amp;quot;&quot;/&gt;&lt;property id=&quot;20307&quot; value=&quot;318&quot;/&gt;&lt;/object&gt;&lt;/object&gt;&lt;/object&gt;&lt;/database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8IxDz7OSAjpCNbHghFMQ"/>
</p:tagLst>
</file>

<file path=ppt/theme/theme1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2.xml><?xml version="1.0" encoding="utf-8"?>
<a:theme xmlns:a="http://schemas.openxmlformats.org/drawingml/2006/main" name="2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3.xml><?xml version="1.0" encoding="utf-8"?>
<a:theme xmlns:a="http://schemas.openxmlformats.org/drawingml/2006/main" name="3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4.xml><?xml version="1.0" encoding="utf-8"?>
<a:theme xmlns:a="http://schemas.openxmlformats.org/drawingml/2006/main" name="1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6513CA3E92E542BFE36BA3CF9AA5F9" ma:contentTypeVersion="1" ma:contentTypeDescription="Create a new document." ma:contentTypeScope="" ma:versionID="ec634c8986516fe5fa2698c58d37ab70">
  <xsd:schema xmlns:xsd="http://www.w3.org/2001/XMLSchema" xmlns:xs="http://www.w3.org/2001/XMLSchema" xmlns:p="http://schemas.microsoft.com/office/2006/metadata/properties" xmlns:ns2="d54cbe69-32bd-412a-b004-9152f949605e" xmlns:ns3="fca23a3f-0737-4476-9a05-0522d153d61b" targetNamespace="http://schemas.microsoft.com/office/2006/metadata/properties" ma:root="true" ma:fieldsID="471dbc692ad3c417c0b1bfceb0f13c83" ns2:_="" ns3:_="">
    <xsd:import namespace="d54cbe69-32bd-412a-b004-9152f949605e"/>
    <xsd:import namespace="fca23a3f-0737-4476-9a05-0522d153d61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ocument_x0020_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4cbe69-32bd-412a-b004-9152f949605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a23a3f-0737-4476-9a05-0522d153d61b" elementFormDefault="qualified">
    <xsd:import namespace="http://schemas.microsoft.com/office/2006/documentManagement/types"/>
    <xsd:import namespace="http://schemas.microsoft.com/office/infopath/2007/PartnerControls"/>
    <xsd:element name="Document_x0020_Category" ma:index="11" nillable="true" ma:displayName="Document Category" ma:internalName="Document_x0020_Category">
      <xsd:simpleType>
        <xsd:restriction base="dms:Choice">
          <xsd:enumeration value="Report - Flash"/>
          <xsd:enumeration value="Report - Interim"/>
          <xsd:enumeration value="Report - Final"/>
          <xsd:enumeration value="Report Documentat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54cbe69-32bd-412a-b004-9152f949605e">56M7VY3CDVN5-546637511-9</_dlc_DocId>
    <_dlc_DocIdUrl xmlns="d54cbe69-32bd-412a-b004-9152f949605e">
      <Url>https://intranet.clinicaloptions.com/mews/oncology/ASCO_GU-AUA_Prostate_SS-TU_2019_(PRP2905)/Reports/_layouts/15/DocIdRedir.aspx?ID=56M7VY3CDVN5-546637511-9</Url>
      <Description>56M7VY3CDVN5-546637511-9</Description>
    </_dlc_DocIdUrl>
    <Document_x0020_Category xmlns="fca23a3f-0737-4476-9a05-0522d153d61b">Report Documentation</Document_x0020_Category>
  </documentManagement>
</p:properties>
</file>

<file path=customXml/item5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7C619867-B0F8-4546-B85B-3788EC8A2E16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2555C6D-406E-48A4-98BD-84284C0323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4cbe69-32bd-412a-b004-9152f949605e"/>
    <ds:schemaRef ds:uri="fca23a3f-0737-4476-9a05-0522d153d6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A18F4D2-3653-4F4F-B917-116198900D9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BA55BC3-5A03-47C2-8EC3-D964C3B5E77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54cbe69-32bd-412a-b004-9152f949605e"/>
    <ds:schemaRef ds:uri="fca23a3f-0737-4476-9a05-0522d153d61b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65E151B5-E2EE-4BEC-82C3-105A302A3BE7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69</TotalTime>
  <Words>4830</Words>
  <Application>Microsoft Macintosh PowerPoint</Application>
  <PresentationFormat>Widescreen</PresentationFormat>
  <Paragraphs>1498</Paragraphs>
  <Slides>45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60" baseType="lpstr">
      <vt:lpstr>Arial Unicode MS</vt:lpstr>
      <vt:lpstr>Arial</vt:lpstr>
      <vt:lpstr>Arial Narrow</vt:lpstr>
      <vt:lpstr>Calibri</vt:lpstr>
      <vt:lpstr>Corbel</vt:lpstr>
      <vt:lpstr>Courier</vt:lpstr>
      <vt:lpstr>ff-scala-sans-pro</vt:lpstr>
      <vt:lpstr>Segoe UI</vt:lpstr>
      <vt:lpstr>Times New Roman</vt:lpstr>
      <vt:lpstr>Wingdings</vt:lpstr>
      <vt:lpstr>2017_HTAA_Diabetes</vt:lpstr>
      <vt:lpstr>2_2017_HTAA_Diabetes</vt:lpstr>
      <vt:lpstr>3_2017_HTAA_Diabetes</vt:lpstr>
      <vt:lpstr>1_2017_HTAA_Diabetes</vt:lpstr>
      <vt:lpstr>think-cell Slide</vt:lpstr>
      <vt:lpstr>Parp Inhibitors in Prostate Cancer</vt:lpstr>
      <vt:lpstr>Disclosures </vt:lpstr>
      <vt:lpstr>Overview</vt:lpstr>
      <vt:lpstr>PowerPoint Presentation</vt:lpstr>
      <vt:lpstr>How Does DNA Repair Work in Normal Cells?</vt:lpstr>
      <vt:lpstr>DNA Is Constantly Damaged and Repaired</vt:lpstr>
      <vt:lpstr>Only Germline Mutations Are Inherited Between Generations</vt:lpstr>
      <vt:lpstr>Somatic Mutations Persist and Accumulate in Cells</vt:lpstr>
      <vt:lpstr>Somatic Mutations Persist and Accumulate in Cells</vt:lpstr>
      <vt:lpstr>Somatic Mutations Persist and Accumulate in Cells</vt:lpstr>
      <vt:lpstr>Different Types of Damage Trigger Distinct Repair Mechanisms</vt:lpstr>
      <vt:lpstr>Key DNA Repair Pathways for Single-Stranded DNA Damage</vt:lpstr>
      <vt:lpstr>Key DNA Repair Pathways for Double-Stranded DNA Breaks</vt:lpstr>
      <vt:lpstr>Key DNA Repair Pathways for Double-Stranded DNA Breaks</vt:lpstr>
      <vt:lpstr>HR-Deficient Cells Must Use the NHEJ Pathway for DNA Repair</vt:lpstr>
      <vt:lpstr>Key DNA Repair Pathways for Double-Stranded DNA Breaks: Take-home Messages</vt:lpstr>
      <vt:lpstr>How Do PARP Inhibitors Target  DNA Repair–Deficient Tumor Cells?</vt:lpstr>
      <vt:lpstr>PARP1 Biology in Normal Cells</vt:lpstr>
      <vt:lpstr>PARP1 Detects ssDNA Damage and Attracts Repair Proteins</vt:lpstr>
      <vt:lpstr>PARP1 Detects ssDNA Damage and Attracts Repair Proteins</vt:lpstr>
      <vt:lpstr>Synthetic Lethality With PARPi Is Produced by Conditional Drug Sensitivity in HRR-Deficient Cells </vt:lpstr>
      <vt:lpstr>How PARP1 Inhibition Affects HRR-Deficient Cells</vt:lpstr>
      <vt:lpstr>How PARP1 Inhibition Affects HRR-Deficient Cells</vt:lpstr>
      <vt:lpstr>PARP1 Inhibition in HRR-Deficient Cells:  Take-home Messages</vt:lpstr>
      <vt:lpstr>How Do DNA Repair Mutations Affect Prostate Carcinogenesis and Progression?</vt:lpstr>
      <vt:lpstr>Prostate Cancer Risk Is Highly Heritable</vt:lpstr>
      <vt:lpstr>1 in 10 Men With mCRPC Have Germline DNA Repair Mutations</vt:lpstr>
      <vt:lpstr>Higher Frequency of Mutated BRCA2 and ATM in Metastatic Prostate Cancer</vt:lpstr>
      <vt:lpstr>Cells Become HRR Deficient When Both Copies of a DNA Repair Gene are Inactivated</vt:lpstr>
      <vt:lpstr>Both “Hits” Can Be Somatic: Germline Mutations Not Required!</vt:lpstr>
      <vt:lpstr>DNA Repair Mutations in Prostate Cancer:  Take-home Messages</vt:lpstr>
      <vt:lpstr>Olaparib</vt:lpstr>
      <vt:lpstr>Phase III PROfound: Olaparib vs Physician’s Choice in Progressing mCRPC</vt:lpstr>
      <vt:lpstr>Phase III PROfound: rPFS by BICR With Alterations in BRCA1, BRCA2, or ATM (Cohort A)</vt:lpstr>
      <vt:lpstr>Phase III PROfound: Final OS in Cohort A</vt:lpstr>
      <vt:lpstr>Rucaparib</vt:lpstr>
      <vt:lpstr>TRITON2: PSA Responses Among Patients With  ATM Alterations </vt:lpstr>
      <vt:lpstr>TRITON2: Tumor Response in BRCA1/BRCA2 Cohort by Independent Review</vt:lpstr>
      <vt:lpstr>Phase III PROfound: rPFS by BICR in Both Cohorts (A+B)</vt:lpstr>
      <vt:lpstr>Phase III PROfound: Gene Subgroup Analysis</vt:lpstr>
      <vt:lpstr>PowerPoint Presentation</vt:lpstr>
      <vt:lpstr>TRITON3: Rucaparib vs Physician’s Choice Therapy in mCRPC With HRR Gene Alterations</vt:lpstr>
      <vt:lpstr>TRITON2: PSA Responses Among Other  Non-BRCA Mutations</vt:lpstr>
      <vt:lpstr>PARPi Combinations Under Study in Prostate Cancer</vt:lpstr>
      <vt:lpstr>Parp Inhibitors In Prostate Cancer</vt:lpstr>
    </vt:vector>
  </TitlesOfParts>
  <Company>Preferre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CO ONC Slide Template</dc:title>
  <dc:creator>Preferred User</dc:creator>
  <cp:lastModifiedBy>Tiffany Razzo</cp:lastModifiedBy>
  <cp:revision>648</cp:revision>
  <cp:lastPrinted>2016-09-26T20:21:49Z</cp:lastPrinted>
  <dcterms:created xsi:type="dcterms:W3CDTF">2005-05-27T15:08:01Z</dcterms:created>
  <dcterms:modified xsi:type="dcterms:W3CDTF">2021-08-04T00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gs">
    <vt:lpwstr/>
  </property>
  <property fmtid="{D5CDD505-2E9C-101B-9397-08002B2CF9AE}" pid="3" name="display_urn:schemas-microsoft-com:office:office#Editor">
    <vt:lpwstr>Melanie Couton</vt:lpwstr>
  </property>
  <property fmtid="{D5CDD505-2E9C-101B-9397-08002B2CF9AE}" pid="4" name="display_urn:schemas-microsoft-com:office:office#Author">
    <vt:lpwstr>Melanie Couton</vt:lpwstr>
  </property>
  <property fmtid="{D5CDD505-2E9C-101B-9397-08002B2CF9AE}" pid="5" name="_dlc_DocId">
    <vt:lpwstr>56M7VY3CDVN5-387186687-1</vt:lpwstr>
  </property>
  <property fmtid="{D5CDD505-2E9C-101B-9397-08002B2CF9AE}" pid="6" name="_dlc_DocIdItemGuid">
    <vt:lpwstr>35ab59ce-be84-4986-9898-e2cfdc6705d6</vt:lpwstr>
  </property>
  <property fmtid="{D5CDD505-2E9C-101B-9397-08002B2CF9AE}" pid="7" name="_dlc_DocIdUrl">
    <vt:lpwstr>https://intranet.clinicaloptions.com/mews/oncology/ASH_ALL_Satellite-TU_2016/Template/_layouts/15/DocIdRedir.aspx?ID=56M7VY3CDVN5-387186687-1, 56M7VY3CDVN5-387186687-1</vt:lpwstr>
  </property>
  <property fmtid="{D5CDD505-2E9C-101B-9397-08002B2CF9AE}" pid="8" name="ContentTypeId">
    <vt:lpwstr>0x010100496513CA3E92E542BFE36BA3CF9AA5F9</vt:lpwstr>
  </property>
</Properties>
</file>